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65279;<?xml version="1.0" encoding="utf-8"?><Relationships xmlns="http://schemas.openxmlformats.org/package/2006/relationships"><Relationship Type="http://schemas.openxmlformats.org/officeDocument/2006/relationships/extended-properties" Target="docProps/app.xml" Id="rId3" /><Relationship Type="http://schemas.openxmlformats.org/package/2006/relationships/metadata/core-properties" Target="docProps/core.xml" Id="rId2" /><Relationship Type="http://schemas.openxmlformats.org/officeDocument/2006/relationships/officeDocument" Target="ppt/presentation.xml" Id="rId1" /></Relationships>
</file>

<file path=ppt/presentation.xml><?xml version="1.0" encoding="utf-8"?>
<p:presentatio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159" r:id="rId5"/>
  </p:sldMasterIdLst>
  <p:notesMasterIdLst>
    <p:notesMasterId r:id="rId24"/>
  </p:notesMasterIdLst>
  <p:handoutMasterIdLst>
    <p:handoutMasterId r:id="rId25"/>
  </p:handoutMasterIdLst>
  <p:sldIdLst>
    <p:sldId id="277" r:id="rId6"/>
    <p:sldId id="2134804564" r:id="rId7"/>
    <p:sldId id="2134804563" r:id="rId8"/>
    <p:sldId id="2134804617" r:id="rId9"/>
    <p:sldId id="2134804603" r:id="rId10"/>
    <p:sldId id="2134804622" r:id="rId11"/>
    <p:sldId id="2134804609" r:id="rId12"/>
    <p:sldId id="2134804618" r:id="rId13"/>
    <p:sldId id="2134804613" r:id="rId14"/>
    <p:sldId id="2134804610" r:id="rId15"/>
    <p:sldId id="2134804615" r:id="rId16"/>
    <p:sldId id="2134804623" r:id="rId17"/>
    <p:sldId id="2134804612" r:id="rId18"/>
    <p:sldId id="2134804619" r:id="rId19"/>
    <p:sldId id="2134804624" r:id="rId20"/>
    <p:sldId id="2134804625" r:id="rId21"/>
    <p:sldId id="2134804626" r:id="rId22"/>
    <p:sldId id="379" r:id="rId23"/>
  </p:sldIdLst>
  <p:sldSz cx="12198350" cy="6858000"/>
  <p:notesSz cx="6889750" cy="10021888"/>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E621D8-9377-4ACD-97DB-A77D5FC1F420}">
          <p14:sldIdLst>
            <p14:sldId id="277"/>
            <p14:sldId id="2134804564"/>
            <p14:sldId id="2134804563"/>
            <p14:sldId id="2134804617"/>
            <p14:sldId id="2134804603"/>
            <p14:sldId id="2134804622"/>
            <p14:sldId id="2134804609"/>
            <p14:sldId id="2134804618"/>
            <p14:sldId id="2134804613"/>
            <p14:sldId id="2134804610"/>
            <p14:sldId id="2134804615"/>
            <p14:sldId id="2134804623"/>
            <p14:sldId id="2134804612"/>
            <p14:sldId id="2134804619"/>
            <p14:sldId id="2134804624"/>
            <p14:sldId id="2134804625"/>
            <p14:sldId id="2134804626"/>
            <p14:sldId id="379"/>
          </p14:sldIdLst>
        </p14:section>
      </p14:sectionLst>
    </p:ext>
    <p:ext uri="{EFAFB233-063F-42B5-8137-9DF3F51BA10A}">
      <p15:sldGuideLst xmlns:p15="http://schemas.microsoft.com/office/powerpoint/2012/main">
        <p15:guide id="2" orient="horz" pos="4292" userDrawn="1">
          <p15:clr>
            <a:srgbClr val="A4A3A4"/>
          </p15:clr>
        </p15:guide>
        <p15:guide id="3" pos="3842">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C4C4CD"/>
    <a:srgbClr val="747480"/>
    <a:srgbClr val="2E2E38"/>
    <a:srgbClr val="FFFFFF"/>
    <a:srgbClr val="FFDB33"/>
    <a:srgbClr val="F6F6FA"/>
    <a:srgbClr val="797991"/>
    <a:srgbClr val="E2007A"/>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3FB02E-9E45-4A87-AFE6-4F294DBF31D6}" v="16" dt="2022-10-23T18:08:01.1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74" autoAdjust="0"/>
    <p:restoredTop sz="93294" autoAdjust="0"/>
  </p:normalViewPr>
  <p:slideViewPr>
    <p:cSldViewPr snapToObjects="1" showGuides="1">
      <p:cViewPr varScale="1">
        <p:scale>
          <a:sx n="68" d="100"/>
          <a:sy n="68" d="100"/>
        </p:scale>
        <p:origin x="54" y="1032"/>
      </p:cViewPr>
      <p:guideLst>
        <p:guide orient="horz" pos="4292"/>
        <p:guide pos="3842"/>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showGuides="1">
      <p:cViewPr varScale="1">
        <p:scale>
          <a:sx n="82" d="100"/>
          <a:sy n="82" d="100"/>
        </p:scale>
        <p:origin x="3852" y="102"/>
      </p:cViewPr>
      <p:guideLst>
        <p:guide orient="horz" pos="3157"/>
        <p:guide pos="2171"/>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3.xml" Id="rId8" /><Relationship Type="http://schemas.openxmlformats.org/officeDocument/2006/relationships/slide" Target="slides/slide8.xml" Id="rId13" /><Relationship Type="http://schemas.openxmlformats.org/officeDocument/2006/relationships/slide" Target="slides/slide13.xml" Id="rId18" /><Relationship Type="http://schemas.openxmlformats.org/officeDocument/2006/relationships/tags" Target="tags/tag1.xml" Id="rId26" /><Relationship Type="http://schemas.openxmlformats.org/officeDocument/2006/relationships/customXml" Target="../customXml/item3.xml" Id="rId3" /><Relationship Type="http://schemas.openxmlformats.org/officeDocument/2006/relationships/slide" Target="slides/slide16.xml" Id="rId21" /><Relationship Type="http://schemas.openxmlformats.org/officeDocument/2006/relationships/slide" Target="slides/slide2.xml" Id="rId7" /><Relationship Type="http://schemas.openxmlformats.org/officeDocument/2006/relationships/slide" Target="slides/slide7.xml" Id="rId12" /><Relationship Type="http://schemas.openxmlformats.org/officeDocument/2006/relationships/slide" Target="slides/slide12.xml" Id="rId17" /><Relationship Type="http://schemas.openxmlformats.org/officeDocument/2006/relationships/handoutMaster" Target="handoutMasters/handoutMaster1.xml" Id="rId25" /><Relationship Type="http://schemas.openxmlformats.org/officeDocument/2006/relationships/customXml" Target="../customXml/item2.xml" Id="rId2" /><Relationship Type="http://schemas.openxmlformats.org/officeDocument/2006/relationships/slide" Target="slides/slide11.xml" Id="rId16" /><Relationship Type="http://schemas.openxmlformats.org/officeDocument/2006/relationships/slide" Target="slides/slide15.xml" Id="rId20" /><Relationship Type="http://schemas.openxmlformats.org/officeDocument/2006/relationships/viewProps" Target="viewProps.xml" Id="rId29" /><Relationship Type="http://schemas.openxmlformats.org/officeDocument/2006/relationships/customXml" Target="../customXml/item1.xml" Id="rId1" /><Relationship Type="http://schemas.openxmlformats.org/officeDocument/2006/relationships/slide" Target="slides/slide1.xml" Id="rId6" /><Relationship Type="http://schemas.openxmlformats.org/officeDocument/2006/relationships/slide" Target="slides/slide6.xml" Id="rId11" /><Relationship Type="http://schemas.openxmlformats.org/officeDocument/2006/relationships/notesMaster" Target="notesMasters/notesMaster1.xml" Id="rId24" /><Relationship Type="http://schemas.microsoft.com/office/2015/10/relationships/revisionInfo" Target="revisionInfo.xml" Id="rId32" /><Relationship Type="http://schemas.openxmlformats.org/officeDocument/2006/relationships/slideMaster" Target="slideMasters/slideMaster1.xml" Id="rId5" /><Relationship Type="http://schemas.openxmlformats.org/officeDocument/2006/relationships/slide" Target="slides/slide10.xml" Id="rId15" /><Relationship Type="http://schemas.openxmlformats.org/officeDocument/2006/relationships/slide" Target="slides/slide18.xml" Id="rId23" /><Relationship Type="http://schemas.openxmlformats.org/officeDocument/2006/relationships/presProps" Target="presProps.xml" Id="rId28" /><Relationship Type="http://schemas.openxmlformats.org/officeDocument/2006/relationships/slide" Target="slides/slide5.xml" Id="rId10" /><Relationship Type="http://schemas.openxmlformats.org/officeDocument/2006/relationships/slide" Target="slides/slide14.xml" Id="rId19" /><Relationship Type="http://schemas.openxmlformats.org/officeDocument/2006/relationships/tableStyles" Target="tableStyles.xml" Id="rId31" /><Relationship Type="http://schemas.openxmlformats.org/officeDocument/2006/relationships/customXml" Target="../customXml/item4.xml" Id="rId4" /><Relationship Type="http://schemas.openxmlformats.org/officeDocument/2006/relationships/slide" Target="slides/slide4.xml" Id="rId9" /><Relationship Type="http://schemas.openxmlformats.org/officeDocument/2006/relationships/slide" Target="slides/slide9.xml" Id="rId14" /><Relationship Type="http://schemas.openxmlformats.org/officeDocument/2006/relationships/slide" Target="slides/slide17.xml" Id="rId22" /><Relationship Type="http://schemas.openxmlformats.org/officeDocument/2006/relationships/theme" Target="theme/theme1.xml" Id="rId30"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F9E886-45C4-495E-BBC5-7EA302338BF3}"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en-US"/>
        </a:p>
      </dgm:t>
    </dgm:pt>
    <dgm:pt modelId="{662AFE93-9A2B-422C-8267-7776571904F6}">
      <dgm:prSet phldrT="[Text]" custT="1"/>
      <dgm:spPr>
        <a:noFill/>
        <a:ln>
          <a:solidFill>
            <a:schemeClr val="tx2"/>
          </a:solidFill>
        </a:ln>
      </dgm:spPr>
      <dgm:t>
        <a:bodyPr/>
        <a:lstStyle/>
        <a:p>
          <a:r>
            <a:rPr lang="en-US" sz="1600" b="1" dirty="0">
              <a:solidFill>
                <a:schemeClr val="bg1"/>
              </a:solidFill>
            </a:rPr>
            <a:t>Offer</a:t>
          </a:r>
        </a:p>
      </dgm:t>
    </dgm:pt>
    <dgm:pt modelId="{9335C545-21E5-403A-A0C4-43AC910D86A1}" type="parTrans" cxnId="{78013068-C7EC-4101-A4F5-4FB1915A888D}">
      <dgm:prSet/>
      <dgm:spPr/>
      <dgm:t>
        <a:bodyPr/>
        <a:lstStyle/>
        <a:p>
          <a:endParaRPr lang="en-US" sz="1600" dirty="0"/>
        </a:p>
      </dgm:t>
    </dgm:pt>
    <dgm:pt modelId="{5F019692-3BE3-47C5-9487-AB5E3529BFF5}" type="sibTrans" cxnId="{78013068-C7EC-4101-A4F5-4FB1915A888D}">
      <dgm:prSet/>
      <dgm:spPr/>
      <dgm:t>
        <a:bodyPr/>
        <a:lstStyle/>
        <a:p>
          <a:endParaRPr lang="en-US" sz="1600" dirty="0"/>
        </a:p>
      </dgm:t>
    </dgm:pt>
    <dgm:pt modelId="{CF726AEF-940D-4178-BEAF-22D350C2D73D}">
      <dgm:prSet phldrT="[Text]" custT="1"/>
      <dgm:spPr>
        <a:noFill/>
        <a:ln>
          <a:solidFill>
            <a:srgbClr val="C4C4CD"/>
          </a:solidFill>
        </a:ln>
      </dgm:spPr>
      <dgm:t>
        <a:bodyPr/>
        <a:lstStyle/>
        <a:p>
          <a:r>
            <a:rPr lang="en-US" sz="1600" b="1" dirty="0">
              <a:solidFill>
                <a:schemeClr val="bg1"/>
              </a:solidFill>
            </a:rPr>
            <a:t>Acceptance</a:t>
          </a:r>
        </a:p>
      </dgm:t>
    </dgm:pt>
    <dgm:pt modelId="{AB6EAA4D-DC22-4CDD-82E0-5E6DF42BE6AF}" type="parTrans" cxnId="{AB2A4D0D-8B20-4EF0-A751-FE8C1642CF9B}">
      <dgm:prSet/>
      <dgm:spPr/>
      <dgm:t>
        <a:bodyPr/>
        <a:lstStyle/>
        <a:p>
          <a:endParaRPr lang="en-US" sz="1600" dirty="0"/>
        </a:p>
      </dgm:t>
    </dgm:pt>
    <dgm:pt modelId="{9F6D56BF-F0AC-4A85-94AD-D16EDEBE698B}" type="sibTrans" cxnId="{AB2A4D0D-8B20-4EF0-A751-FE8C1642CF9B}">
      <dgm:prSet/>
      <dgm:spPr/>
      <dgm:t>
        <a:bodyPr/>
        <a:lstStyle/>
        <a:p>
          <a:endParaRPr lang="en-US" sz="1600" dirty="0"/>
        </a:p>
      </dgm:t>
    </dgm:pt>
    <dgm:pt modelId="{DF23D3B2-43F6-4CE2-BF9A-2E63F4FFC6BA}" type="pres">
      <dgm:prSet presAssocID="{EFF9E886-45C4-495E-BBC5-7EA302338BF3}" presName="diagram" presStyleCnt="0">
        <dgm:presLayoutVars>
          <dgm:dir/>
          <dgm:resizeHandles val="exact"/>
        </dgm:presLayoutVars>
      </dgm:prSet>
      <dgm:spPr/>
    </dgm:pt>
    <dgm:pt modelId="{63245BAB-516A-4438-ADE4-245B38DF63D7}" type="pres">
      <dgm:prSet presAssocID="{662AFE93-9A2B-422C-8267-7776571904F6}" presName="arrow" presStyleLbl="node1" presStyleIdx="0" presStyleCnt="2" custRadScaleRad="100043" custRadScaleInc="-436">
        <dgm:presLayoutVars>
          <dgm:bulletEnabled val="1"/>
        </dgm:presLayoutVars>
      </dgm:prSet>
      <dgm:spPr/>
    </dgm:pt>
    <dgm:pt modelId="{975B880C-C2FE-423E-A4FA-107EB73ACE36}" type="pres">
      <dgm:prSet presAssocID="{CF726AEF-940D-4178-BEAF-22D350C2D73D}" presName="arrow" presStyleLbl="node1" presStyleIdx="1" presStyleCnt="2" custRadScaleRad="100089" custRadScaleInc="1094">
        <dgm:presLayoutVars>
          <dgm:bulletEnabled val="1"/>
        </dgm:presLayoutVars>
      </dgm:prSet>
      <dgm:spPr/>
    </dgm:pt>
  </dgm:ptLst>
  <dgm:cxnLst>
    <dgm:cxn modelId="{7E59330D-5A1B-4A54-A66C-F76D04261C81}" type="presOf" srcId="{662AFE93-9A2B-422C-8267-7776571904F6}" destId="{63245BAB-516A-4438-ADE4-245B38DF63D7}" srcOrd="0" destOrd="0" presId="urn:microsoft.com/office/officeart/2005/8/layout/arrow5"/>
    <dgm:cxn modelId="{AB2A4D0D-8B20-4EF0-A751-FE8C1642CF9B}" srcId="{EFF9E886-45C4-495E-BBC5-7EA302338BF3}" destId="{CF726AEF-940D-4178-BEAF-22D350C2D73D}" srcOrd="1" destOrd="0" parTransId="{AB6EAA4D-DC22-4CDD-82E0-5E6DF42BE6AF}" sibTransId="{9F6D56BF-F0AC-4A85-94AD-D16EDEBE698B}"/>
    <dgm:cxn modelId="{97E6CB33-F238-4CE7-BE8B-345E543EC926}" type="presOf" srcId="{CF726AEF-940D-4178-BEAF-22D350C2D73D}" destId="{975B880C-C2FE-423E-A4FA-107EB73ACE36}" srcOrd="0" destOrd="0" presId="urn:microsoft.com/office/officeart/2005/8/layout/arrow5"/>
    <dgm:cxn modelId="{78013068-C7EC-4101-A4F5-4FB1915A888D}" srcId="{EFF9E886-45C4-495E-BBC5-7EA302338BF3}" destId="{662AFE93-9A2B-422C-8267-7776571904F6}" srcOrd="0" destOrd="0" parTransId="{9335C545-21E5-403A-A0C4-43AC910D86A1}" sibTransId="{5F019692-3BE3-47C5-9487-AB5E3529BFF5}"/>
    <dgm:cxn modelId="{020486C5-0E3A-431D-8DF3-4694037275BA}" type="presOf" srcId="{EFF9E886-45C4-495E-BBC5-7EA302338BF3}" destId="{DF23D3B2-43F6-4CE2-BF9A-2E63F4FFC6BA}" srcOrd="0" destOrd="0" presId="urn:microsoft.com/office/officeart/2005/8/layout/arrow5"/>
    <dgm:cxn modelId="{40005077-1B78-48DF-AB37-C683D569280C}" type="presParOf" srcId="{DF23D3B2-43F6-4CE2-BF9A-2E63F4FFC6BA}" destId="{63245BAB-516A-4438-ADE4-245B38DF63D7}" srcOrd="0" destOrd="0" presId="urn:microsoft.com/office/officeart/2005/8/layout/arrow5"/>
    <dgm:cxn modelId="{07BDD138-5A61-4D40-AAD9-1B462AC69E80}" type="presParOf" srcId="{DF23D3B2-43F6-4CE2-BF9A-2E63F4FFC6BA}" destId="{975B880C-C2FE-423E-A4FA-107EB73ACE36}" srcOrd="1" destOrd="0" presId="urn:microsoft.com/office/officeart/2005/8/layout/arrow5"/>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245BAB-516A-4438-ADE4-245B38DF63D7}">
      <dsp:nvSpPr>
        <dsp:cNvPr id="0" name=""/>
        <dsp:cNvSpPr/>
      </dsp:nvSpPr>
      <dsp:spPr>
        <a:xfrm rot="16200000">
          <a:off x="0" y="203237"/>
          <a:ext cx="2162325" cy="2162325"/>
        </a:xfrm>
        <a:prstGeom prst="downArrow">
          <a:avLst>
            <a:gd name="adj1" fmla="val 50000"/>
            <a:gd name="adj2" fmla="val 35000"/>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Offer</a:t>
          </a:r>
        </a:p>
      </dsp:txBody>
      <dsp:txXfrm rot="5400000">
        <a:off x="1" y="743817"/>
        <a:ext cx="1783918" cy="1081163"/>
      </dsp:txXfrm>
    </dsp:sp>
    <dsp:sp modelId="{975B880C-C2FE-423E-A4FA-107EB73ACE36}">
      <dsp:nvSpPr>
        <dsp:cNvPr id="0" name=""/>
        <dsp:cNvSpPr/>
      </dsp:nvSpPr>
      <dsp:spPr>
        <a:xfrm rot="5400000">
          <a:off x="2288368" y="226903"/>
          <a:ext cx="2162325" cy="2162325"/>
        </a:xfrm>
        <a:prstGeom prst="downArrow">
          <a:avLst>
            <a:gd name="adj1" fmla="val 50000"/>
            <a:gd name="adj2" fmla="val 35000"/>
          </a:avLst>
        </a:prstGeom>
        <a:noFill/>
        <a:ln w="25400" cap="flat" cmpd="sng" algn="ctr">
          <a:solidFill>
            <a:srgbClr val="C4C4CD"/>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Acceptance</a:t>
          </a:r>
        </a:p>
      </dsp:txBody>
      <dsp:txXfrm rot="-5400000">
        <a:off x="2666776" y="767484"/>
        <a:ext cx="1783918" cy="1081163"/>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85558" cy="501094"/>
          </a:xfrm>
          <a:prstGeom prst="rect">
            <a:avLst/>
          </a:prstGeom>
        </p:spPr>
        <p:txBody>
          <a:bodyPr vert="horz" lIns="93646" tIns="46823" rIns="93646" bIns="46823"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902600" y="1"/>
            <a:ext cx="2985558" cy="501094"/>
          </a:xfrm>
          <a:prstGeom prst="rect">
            <a:avLst/>
          </a:prstGeom>
        </p:spPr>
        <p:txBody>
          <a:bodyPr vert="horz" lIns="93646" tIns="46823" rIns="93646" bIns="46823" rtlCol="0"/>
          <a:lstStyle>
            <a:lvl1pPr algn="r">
              <a:defRPr sz="1200"/>
            </a:lvl1pPr>
          </a:lstStyle>
          <a:p>
            <a:fld id="{75A85089-C692-4DEA-AC49-04CF34D4FE14}" type="datetimeFigureOut">
              <a:rPr lang="en-GB" smtClean="0">
                <a:latin typeface="EYInterstate Light" panose="02000506000000020004" pitchFamily="2" charset="0"/>
              </a:rPr>
              <a:pPr/>
              <a:t>23/10/2022</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2" y="9519056"/>
            <a:ext cx="2985558" cy="501094"/>
          </a:xfrm>
          <a:prstGeom prst="rect">
            <a:avLst/>
          </a:prstGeom>
        </p:spPr>
        <p:txBody>
          <a:bodyPr vert="horz" lIns="93646" tIns="46823" rIns="93646" bIns="46823"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902600" y="9519056"/>
            <a:ext cx="2985558" cy="501094"/>
          </a:xfrm>
          <a:prstGeom prst="rect">
            <a:avLst/>
          </a:prstGeom>
        </p:spPr>
        <p:txBody>
          <a:bodyPr vert="horz" lIns="93646" tIns="46823" rIns="93646" bIns="46823"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85558" cy="501094"/>
          </a:xfrm>
          <a:prstGeom prst="rect">
            <a:avLst/>
          </a:prstGeom>
        </p:spPr>
        <p:txBody>
          <a:bodyPr vert="horz" lIns="93646" tIns="46823" rIns="93646" bIns="46823"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902600" y="1"/>
            <a:ext cx="2985558" cy="501094"/>
          </a:xfrm>
          <a:prstGeom prst="rect">
            <a:avLst/>
          </a:prstGeom>
        </p:spPr>
        <p:txBody>
          <a:bodyPr vert="horz" lIns="93646" tIns="46823" rIns="93646" bIns="46823" rtlCol="0"/>
          <a:lstStyle>
            <a:lvl1pPr algn="r">
              <a:defRPr sz="1200">
                <a:latin typeface="EYInterstate Light" panose="02000506000000020004" pitchFamily="2" charset="0"/>
              </a:defRPr>
            </a:lvl1pPr>
          </a:lstStyle>
          <a:p>
            <a:fld id="{8045EBA9-A28D-4849-BFEA-AA04F6A21B63}" type="datetimeFigureOut">
              <a:rPr lang="en-GB" smtClean="0"/>
              <a:pPr/>
              <a:t>23/10/2022</a:t>
            </a:fld>
            <a:endParaRPr lang="en-GB" dirty="0"/>
          </a:p>
        </p:txBody>
      </p:sp>
      <p:sp>
        <p:nvSpPr>
          <p:cNvPr id="4" name="Slide Image Placeholder 3"/>
          <p:cNvSpPr>
            <a:spLocks noGrp="1" noRot="1" noChangeAspect="1"/>
          </p:cNvSpPr>
          <p:nvPr>
            <p:ph type="sldImg" idx="2"/>
          </p:nvPr>
        </p:nvSpPr>
        <p:spPr>
          <a:xfrm>
            <a:off x="103188" y="750888"/>
            <a:ext cx="6683375" cy="3757612"/>
          </a:xfrm>
          <a:prstGeom prst="rect">
            <a:avLst/>
          </a:prstGeom>
          <a:noFill/>
          <a:ln w="12700">
            <a:solidFill>
              <a:prstClr val="black"/>
            </a:solidFill>
          </a:ln>
        </p:spPr>
        <p:txBody>
          <a:bodyPr vert="horz" lIns="93646" tIns="46823" rIns="93646" bIns="46823" rtlCol="0" anchor="ctr"/>
          <a:lstStyle/>
          <a:p>
            <a:endParaRPr lang="en-GB" dirty="0"/>
          </a:p>
        </p:txBody>
      </p:sp>
      <p:sp>
        <p:nvSpPr>
          <p:cNvPr id="5" name="Notes Placeholder 4"/>
          <p:cNvSpPr>
            <a:spLocks noGrp="1"/>
          </p:cNvSpPr>
          <p:nvPr>
            <p:ph type="body" sz="quarter" idx="3"/>
          </p:nvPr>
        </p:nvSpPr>
        <p:spPr>
          <a:xfrm>
            <a:off x="688976" y="4760399"/>
            <a:ext cx="5511800" cy="4509850"/>
          </a:xfrm>
          <a:prstGeom prst="rect">
            <a:avLst/>
          </a:prstGeom>
        </p:spPr>
        <p:txBody>
          <a:bodyPr vert="horz" lIns="93646" tIns="46823" rIns="93646" bIns="4682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2" y="9519056"/>
            <a:ext cx="2985558" cy="501094"/>
          </a:xfrm>
          <a:prstGeom prst="rect">
            <a:avLst/>
          </a:prstGeom>
        </p:spPr>
        <p:txBody>
          <a:bodyPr vert="horz" lIns="93646" tIns="46823" rIns="93646" bIns="46823"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902600" y="9519056"/>
            <a:ext cx="2985558" cy="501094"/>
          </a:xfrm>
          <a:prstGeom prst="rect">
            <a:avLst/>
          </a:prstGeom>
        </p:spPr>
        <p:txBody>
          <a:bodyPr vert="horz" lIns="93646" tIns="46823" rIns="93646" bIns="46823"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8" name="Gruppieren 7"/>
          <p:cNvGrpSpPr/>
          <p:nvPr userDrawn="1"/>
        </p:nvGrpSpPr>
        <p:grpSpPr bwMode="invGray">
          <a:xfrm>
            <a:off x="9713775" y="440057"/>
            <a:ext cx="1868402" cy="962657"/>
            <a:chOff x="9731769" y="638177"/>
            <a:chExt cx="2017456" cy="1039454"/>
          </a:xfrm>
        </p:grpSpPr>
        <p:sp>
          <p:nvSpPr>
            <p:cNvPr id="9" name="Freeform 5">
              <a:extLst>
                <a:ext uri="{FF2B5EF4-FFF2-40B4-BE49-F238E27FC236}">
                  <a16:creationId xmlns:a16="http://schemas.microsoft.com/office/drawing/2014/main" id="{8A9BDB58-231B-4B70-8059-20CAA94E9F64}"/>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 name="Freeform 6">
              <a:extLst>
                <a:ext uri="{FF2B5EF4-FFF2-40B4-BE49-F238E27FC236}">
                  <a16:creationId xmlns:a16="http://schemas.microsoft.com/office/drawing/2014/main" id="{97DAE07B-DE87-4358-BA44-6531EF3573CD}"/>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 name="Freeform 7">
              <a:extLst>
                <a:ext uri="{FF2B5EF4-FFF2-40B4-BE49-F238E27FC236}">
                  <a16:creationId xmlns:a16="http://schemas.microsoft.com/office/drawing/2014/main" id="{39829C97-B9FD-4508-8651-C460629865A1}"/>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 name="Freeform 8">
              <a:extLst>
                <a:ext uri="{FF2B5EF4-FFF2-40B4-BE49-F238E27FC236}">
                  <a16:creationId xmlns:a16="http://schemas.microsoft.com/office/drawing/2014/main" id="{E6E8D961-2633-4DD4-9603-DC987B33CBF8}"/>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Freeform 9">
              <a:extLst>
                <a:ext uri="{FF2B5EF4-FFF2-40B4-BE49-F238E27FC236}">
                  <a16:creationId xmlns:a16="http://schemas.microsoft.com/office/drawing/2014/main" id="{F4A1F26E-26EA-44D8-8D11-97229CEC2530}"/>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0">
              <a:extLst>
                <a:ext uri="{FF2B5EF4-FFF2-40B4-BE49-F238E27FC236}">
                  <a16:creationId xmlns:a16="http://schemas.microsoft.com/office/drawing/2014/main" id="{45C1803D-4651-4E80-B712-F3F311657C4D}"/>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11">
              <a:extLst>
                <a:ext uri="{FF2B5EF4-FFF2-40B4-BE49-F238E27FC236}">
                  <a16:creationId xmlns:a16="http://schemas.microsoft.com/office/drawing/2014/main" id="{711CC3A8-EDFC-4EAE-A2DC-ACDC3B1D9DEB}"/>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2">
              <a:extLst>
                <a:ext uri="{FF2B5EF4-FFF2-40B4-BE49-F238E27FC236}">
                  <a16:creationId xmlns:a16="http://schemas.microsoft.com/office/drawing/2014/main" id="{C17A032D-DB72-46B0-B4C8-EE8C8CC504F2}"/>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13">
              <a:extLst>
                <a:ext uri="{FF2B5EF4-FFF2-40B4-BE49-F238E27FC236}">
                  <a16:creationId xmlns:a16="http://schemas.microsoft.com/office/drawing/2014/main" id="{2280FDE2-015D-4B7A-8900-05F5FB783060}"/>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14">
              <a:extLst>
                <a:ext uri="{FF2B5EF4-FFF2-40B4-BE49-F238E27FC236}">
                  <a16:creationId xmlns:a16="http://schemas.microsoft.com/office/drawing/2014/main" id="{D3D1BB3D-6AD6-4BE1-893D-EBCB285005E9}"/>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15">
              <a:extLst>
                <a:ext uri="{FF2B5EF4-FFF2-40B4-BE49-F238E27FC236}">
                  <a16:creationId xmlns:a16="http://schemas.microsoft.com/office/drawing/2014/main" id="{98B7DF92-85DC-454B-9A4B-F9A35E6A3C3A}"/>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16">
              <a:extLst>
                <a:ext uri="{FF2B5EF4-FFF2-40B4-BE49-F238E27FC236}">
                  <a16:creationId xmlns:a16="http://schemas.microsoft.com/office/drawing/2014/main" id="{42944BA6-F9C0-48FA-B96D-E1DF6E30FA74}"/>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AD76CDEE-75C6-43F6-B367-6EF14BC3B7FE}"/>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2" name="Freeform 18">
              <a:extLst>
                <a:ext uri="{FF2B5EF4-FFF2-40B4-BE49-F238E27FC236}">
                  <a16:creationId xmlns:a16="http://schemas.microsoft.com/office/drawing/2014/main" id="{DACB136F-C6ED-433D-9631-749BCDC77B78}"/>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9">
              <a:extLst>
                <a:ext uri="{FF2B5EF4-FFF2-40B4-BE49-F238E27FC236}">
                  <a16:creationId xmlns:a16="http://schemas.microsoft.com/office/drawing/2014/main" id="{922FADCD-4917-47C7-ADDB-1574B3C49CA8}"/>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20">
              <a:extLst>
                <a:ext uri="{FF2B5EF4-FFF2-40B4-BE49-F238E27FC236}">
                  <a16:creationId xmlns:a16="http://schemas.microsoft.com/office/drawing/2014/main" id="{EEA96631-7CCE-49D6-A700-D76FF986E47F}"/>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5" name="Freeform 21">
              <a:extLst>
                <a:ext uri="{FF2B5EF4-FFF2-40B4-BE49-F238E27FC236}">
                  <a16:creationId xmlns:a16="http://schemas.microsoft.com/office/drawing/2014/main" id="{4BB24B6E-8D3D-449A-850B-52F8A8EF40A7}"/>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22">
              <a:extLst>
                <a:ext uri="{FF2B5EF4-FFF2-40B4-BE49-F238E27FC236}">
                  <a16:creationId xmlns:a16="http://schemas.microsoft.com/office/drawing/2014/main" id="{767CA49F-CF78-4517-9D40-459A6165DB66}"/>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23">
              <a:extLst>
                <a:ext uri="{FF2B5EF4-FFF2-40B4-BE49-F238E27FC236}">
                  <a16:creationId xmlns:a16="http://schemas.microsoft.com/office/drawing/2014/main" id="{BCE97B83-65DD-49DB-AC39-56BB28ACA966}"/>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 name="Freeform 24">
              <a:extLst>
                <a:ext uri="{FF2B5EF4-FFF2-40B4-BE49-F238E27FC236}">
                  <a16:creationId xmlns:a16="http://schemas.microsoft.com/office/drawing/2014/main" id="{3A70ECD6-5CB1-4ABC-BD20-5CD3C4FFDF5E}"/>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Freeform 25">
              <a:extLst>
                <a:ext uri="{FF2B5EF4-FFF2-40B4-BE49-F238E27FC236}">
                  <a16:creationId xmlns:a16="http://schemas.microsoft.com/office/drawing/2014/main" id="{5A85C156-A249-4B2C-8A44-A8D8A3A0EEFE}"/>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26">
              <a:extLst>
                <a:ext uri="{FF2B5EF4-FFF2-40B4-BE49-F238E27FC236}">
                  <a16:creationId xmlns:a16="http://schemas.microsoft.com/office/drawing/2014/main" id="{91225174-20DB-4A4F-A5BB-9A114EDC0F3E}"/>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27">
              <a:extLst>
                <a:ext uri="{FF2B5EF4-FFF2-40B4-BE49-F238E27FC236}">
                  <a16:creationId xmlns:a16="http://schemas.microsoft.com/office/drawing/2014/main" id="{43682DD6-D2ED-4863-B27B-40F3CBE0E381}"/>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Freeform 28">
              <a:extLst>
                <a:ext uri="{FF2B5EF4-FFF2-40B4-BE49-F238E27FC236}">
                  <a16:creationId xmlns:a16="http://schemas.microsoft.com/office/drawing/2014/main" id="{3D572001-B851-4D74-9AAD-13EE61D916F6}"/>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29">
              <a:extLst>
                <a:ext uri="{FF2B5EF4-FFF2-40B4-BE49-F238E27FC236}">
                  <a16:creationId xmlns:a16="http://schemas.microsoft.com/office/drawing/2014/main" id="{A827519A-33F0-4CCB-AE07-C95A795FF2FB}"/>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30">
              <a:extLst>
                <a:ext uri="{FF2B5EF4-FFF2-40B4-BE49-F238E27FC236}">
                  <a16:creationId xmlns:a16="http://schemas.microsoft.com/office/drawing/2014/main" id="{4BC09A9F-8959-48BA-9B94-7840D333316F}"/>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31">
              <a:extLst>
                <a:ext uri="{FF2B5EF4-FFF2-40B4-BE49-F238E27FC236}">
                  <a16:creationId xmlns:a16="http://schemas.microsoft.com/office/drawing/2014/main" id="{125CF3D1-4644-4A4C-A605-6CBB28099392}"/>
                </a:ext>
              </a:extLst>
            </p:cNvPr>
            <p:cNvSpPr>
              <a:spLocks/>
            </p:cNvSpPr>
            <p:nvPr/>
          </p:nvSpPr>
          <p:spPr bwMode="invGray">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32">
              <a:extLst>
                <a:ext uri="{FF2B5EF4-FFF2-40B4-BE49-F238E27FC236}">
                  <a16:creationId xmlns:a16="http://schemas.microsoft.com/office/drawing/2014/main" id="{5C66EC1B-AD1B-491B-A19A-A2C96C78BC6A}"/>
                </a:ext>
              </a:extLst>
            </p:cNvPr>
            <p:cNvSpPr>
              <a:spLocks noEditPoints="1"/>
            </p:cNvSpPr>
            <p:nvPr/>
          </p:nvSpPr>
          <p:spPr bwMode="invGray">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33">
              <a:extLst>
                <a:ext uri="{FF2B5EF4-FFF2-40B4-BE49-F238E27FC236}">
                  <a16:creationId xmlns:a16="http://schemas.microsoft.com/office/drawing/2014/main" id="{DE0C7275-54C1-4C0E-A900-3BA9CF18FC7F}"/>
                </a:ext>
              </a:extLst>
            </p:cNvPr>
            <p:cNvSpPr>
              <a:spLocks/>
            </p:cNvSpPr>
            <p:nvPr/>
          </p:nvSpPr>
          <p:spPr bwMode="invGray">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8" name="Freeform 34">
              <a:extLst>
                <a:ext uri="{FF2B5EF4-FFF2-40B4-BE49-F238E27FC236}">
                  <a16:creationId xmlns:a16="http://schemas.microsoft.com/office/drawing/2014/main" id="{0A332B72-1C98-486F-B1D7-FD53CDB0B0EC}"/>
                </a:ext>
              </a:extLst>
            </p:cNvPr>
            <p:cNvSpPr>
              <a:spLocks noEditPoints="1"/>
            </p:cNvSpPr>
            <p:nvPr/>
          </p:nvSpPr>
          <p:spPr bwMode="invGray">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35">
              <a:extLst>
                <a:ext uri="{FF2B5EF4-FFF2-40B4-BE49-F238E27FC236}">
                  <a16:creationId xmlns:a16="http://schemas.microsoft.com/office/drawing/2014/main" id="{B3BCF9E1-0026-4389-B268-FEF82FAE2561}"/>
                </a:ext>
              </a:extLst>
            </p:cNvPr>
            <p:cNvSpPr>
              <a:spLocks/>
            </p:cNvSpPr>
            <p:nvPr/>
          </p:nvSpPr>
          <p:spPr bwMode="invGray">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Freeform 36">
              <a:extLst>
                <a:ext uri="{FF2B5EF4-FFF2-40B4-BE49-F238E27FC236}">
                  <a16:creationId xmlns:a16="http://schemas.microsoft.com/office/drawing/2014/main" id="{649F954E-57A5-4CCA-9CAB-F232FEBD5F36}"/>
                </a:ext>
              </a:extLst>
            </p:cNvPr>
            <p:cNvSpPr>
              <a:spLocks/>
            </p:cNvSpPr>
            <p:nvPr/>
          </p:nvSpPr>
          <p:spPr bwMode="invGray">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37">
              <a:extLst>
                <a:ext uri="{FF2B5EF4-FFF2-40B4-BE49-F238E27FC236}">
                  <a16:creationId xmlns:a16="http://schemas.microsoft.com/office/drawing/2014/main" id="{6DE56CC7-4BD4-440A-97FD-A8FAEC415494}"/>
                </a:ext>
              </a:extLst>
            </p:cNvPr>
            <p:cNvSpPr>
              <a:spLocks/>
            </p:cNvSpPr>
            <p:nvPr/>
          </p:nvSpPr>
          <p:spPr bwMode="invGray">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38">
              <a:extLst>
                <a:ext uri="{FF2B5EF4-FFF2-40B4-BE49-F238E27FC236}">
                  <a16:creationId xmlns:a16="http://schemas.microsoft.com/office/drawing/2014/main" id="{658A3BBD-2F70-448C-911B-74A58B3D4525}"/>
                </a:ext>
              </a:extLst>
            </p:cNvPr>
            <p:cNvSpPr>
              <a:spLocks noEditPoints="1"/>
            </p:cNvSpPr>
            <p:nvPr/>
          </p:nvSpPr>
          <p:spPr bwMode="invGray">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3935108722"/>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AA780F-E7F3-4CB5-AABD-3155B3C9567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
            <a:ext cx="12198350" cy="6858001"/>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141480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C68B86-6CA7-4637-B33E-940FF39FD73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990" y="-1"/>
            <a:ext cx="12207340" cy="6858001"/>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2492896"/>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3651455"/>
            <a:ext cx="4328932" cy="979702"/>
          </a:xfrm>
        </p:spPr>
        <p:txBody>
          <a:bodyPr/>
          <a:lstStyle>
            <a:lvl1pPr>
              <a:defRPr sz="3000"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4743392"/>
            <a:ext cx="4328932" cy="1046323"/>
          </a:xfrm>
        </p:spPr>
        <p:txBody>
          <a:bodyPr/>
          <a:lstStyle>
            <a:lvl1pPr marL="0" indent="0" algn="l">
              <a:spcAft>
                <a:spcPts val="1200"/>
              </a:spcAft>
              <a:buNone/>
              <a:defRPr sz="20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38" name="Picture 37">
            <a:extLst>
              <a:ext uri="{FF2B5EF4-FFF2-40B4-BE49-F238E27FC236}">
                <a16:creationId xmlns:a16="http://schemas.microsoft.com/office/drawing/2014/main" id="{8D8C8EC7-416C-44E8-B659-BC4444DA6386}"/>
              </a:ext>
            </a:extLst>
          </p:cNvPr>
          <p:cNvPicPr>
            <a:picLocks noChangeAspect="1"/>
          </p:cNvPicPr>
          <p:nvPr userDrawn="1"/>
        </p:nvPicPr>
        <p:blipFill>
          <a:blip r:embed="rId3"/>
          <a:stretch>
            <a:fillRect/>
          </a:stretch>
        </p:blipFill>
        <p:spPr>
          <a:xfrm>
            <a:off x="10360042" y="4976372"/>
            <a:ext cx="1268078" cy="1402202"/>
          </a:xfrm>
          <a:prstGeom prst="rect">
            <a:avLst/>
          </a:prstGeom>
        </p:spPr>
      </p:pic>
    </p:spTree>
    <p:extLst>
      <p:ext uri="{BB962C8B-B14F-4D97-AF65-F5344CB8AC3E}">
        <p14:creationId xmlns:p14="http://schemas.microsoft.com/office/powerpoint/2010/main" val="101197579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a:xfrm>
            <a:off x="1428928" y="6471244"/>
            <a:ext cx="1191258" cy="180000"/>
          </a:xfrm>
          <a:prstGeom prst="rect">
            <a:avLst/>
          </a:prstGeom>
        </p:spPr>
        <p:txBody>
          <a:bodyPr/>
          <a:lstStyle/>
          <a:p>
            <a:r>
              <a:rPr lang="de-DE"/>
              <a:t>28 September 2021</a:t>
            </a:r>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a:xfrm>
            <a:off x="3239188" y="6471244"/>
            <a:ext cx="3086100" cy="180000"/>
          </a:xfrm>
          <a:prstGeom prst="rect">
            <a:avLst/>
          </a:prstGeom>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a:xfrm>
            <a:off x="617221" y="6471244"/>
            <a:ext cx="663066" cy="180000"/>
          </a:xfrm>
          <a:prstGeom prst="rect">
            <a:avLst/>
          </a:prstGeom>
        </p:spPr>
        <p:txBody>
          <a:bodyPr/>
          <a:lstStyle/>
          <a:p>
            <a:r>
              <a:rPr lang="de-AT" dirty="0"/>
              <a:t>Page </a:t>
            </a:r>
            <a:fld id="{F1BC30E3-FFE5-4B91-AA19-87A149EBB9EE}" type="slidenum">
              <a:rPr smtClean="0"/>
              <a:pPr/>
              <a:t>‹#›</a:t>
            </a:fld>
            <a:endParaRPr dirty="0"/>
          </a:p>
        </p:txBody>
      </p:sp>
    </p:spTree>
    <p:extLst>
      <p:ext uri="{BB962C8B-B14F-4D97-AF65-F5344CB8AC3E}">
        <p14:creationId xmlns:p14="http://schemas.microsoft.com/office/powerpoint/2010/main" val="4067168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9632125-840A-4D84-8686-44C28CCC144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52100" b="36350"/>
          <a:stretch/>
        </p:blipFill>
        <p:spPr>
          <a:xfrm>
            <a:off x="-7481" y="-24236"/>
            <a:ext cx="12205831" cy="939836"/>
          </a:xfrm>
          <a:prstGeom prst="rect">
            <a:avLst/>
          </a:prstGeom>
        </p:spPr>
      </p:pic>
      <p:sp>
        <p:nvSpPr>
          <p:cNvPr id="9" name="Rectangle 8">
            <a:extLst>
              <a:ext uri="{FF2B5EF4-FFF2-40B4-BE49-F238E27FC236}">
                <a16:creationId xmlns:a16="http://schemas.microsoft.com/office/drawing/2014/main" id="{71716AE8-A2AB-48A3-97FC-52C462806491}"/>
              </a:ext>
            </a:extLst>
          </p:cNvPr>
          <p:cNvSpPr/>
          <p:nvPr userDrawn="1"/>
        </p:nvSpPr>
        <p:spPr>
          <a:xfrm>
            <a:off x="0" y="0"/>
            <a:ext cx="12198349" cy="939836"/>
          </a:xfrm>
          <a:prstGeom prst="rect">
            <a:avLst/>
          </a:prstGeom>
          <a:gradFill>
            <a:gsLst>
              <a:gs pos="44000">
                <a:srgbClr val="2E2E38">
                  <a:alpha val="38000"/>
                </a:srgbClr>
              </a:gs>
              <a:gs pos="0">
                <a:schemeClr val="tx1"/>
              </a:gs>
              <a:gs pos="100000">
                <a:schemeClr val="tx1">
                  <a:alpha val="82000"/>
                </a:schemeClr>
              </a:gs>
            </a:gsLst>
            <a:lin ang="5400000" scaled="1"/>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sp>
        <p:nvSpPr>
          <p:cNvPr id="2" name="Title 1"/>
          <p:cNvSpPr>
            <a:spLocks noGrp="1"/>
          </p:cNvSpPr>
          <p:nvPr>
            <p:ph type="title" hasCustomPrompt="1"/>
          </p:nvPr>
        </p:nvSpPr>
        <p:spPr>
          <a:xfrm>
            <a:off x="609920" y="249728"/>
            <a:ext cx="8657608" cy="383378"/>
          </a:xfrm>
        </p:spPr>
        <p:txBody>
          <a:bodyPr/>
          <a:lstStyle>
            <a:lvl1pPr>
              <a:defRPr sz="2000">
                <a:solidFill>
                  <a:schemeClr val="bg1"/>
                </a:solidFill>
                <a:latin typeface="+mn-lt"/>
                <a:cs typeface="Arial" panose="020B0604020202020204" pitchFamily="34" charset="0"/>
              </a:defRPr>
            </a:lvl1pPr>
          </a:lstStyle>
          <a:p>
            <a:r>
              <a:rPr lang="en-US" noProof="0" dirty="0"/>
              <a:t>Click to edit Master title style</a:t>
            </a:r>
          </a:p>
        </p:txBody>
      </p:sp>
      <p:sp>
        <p:nvSpPr>
          <p:cNvPr id="8" name="Freeform: Shape 7">
            <a:extLst>
              <a:ext uri="{FF2B5EF4-FFF2-40B4-BE49-F238E27FC236}">
                <a16:creationId xmlns:a16="http://schemas.microsoft.com/office/drawing/2014/main" id="{BA307240-B5F0-4A69-AE00-2107A0F038E2}"/>
              </a:ext>
            </a:extLst>
          </p:cNvPr>
          <p:cNvSpPr/>
          <p:nvPr userDrawn="1"/>
        </p:nvSpPr>
        <p:spPr>
          <a:xfrm rot="2700000">
            <a:off x="9883784" y="-311207"/>
            <a:ext cx="1926687" cy="1977571"/>
          </a:xfrm>
          <a:custGeom>
            <a:avLst/>
            <a:gdLst>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2984" h="6865034">
                <a:moveTo>
                  <a:pt x="0" y="6865034"/>
                </a:moveTo>
                <a:cubicBezTo>
                  <a:pt x="2246142" y="6339840"/>
                  <a:pt x="3736706" y="5733371"/>
                  <a:pt x="4487594" y="3038622"/>
                </a:cubicBezTo>
                <a:cubicBezTo>
                  <a:pt x="5319312" y="-18314"/>
                  <a:pt x="7976382" y="32824"/>
                  <a:pt x="8932984" y="0"/>
                </a:cubicBezTo>
                <a:cubicBezTo>
                  <a:pt x="7845083" y="206327"/>
                  <a:pt x="5631766" y="-79718"/>
                  <a:pt x="4783015" y="3151163"/>
                </a:cubicBezTo>
                <a:cubicBezTo>
                  <a:pt x="4416480" y="4730798"/>
                  <a:pt x="3577883" y="6386732"/>
                  <a:pt x="0" y="6865034"/>
                </a:cubicBezTo>
                <a:close/>
              </a:path>
            </a:pathLst>
          </a:cu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 name="Text Placeholder 11">
            <a:extLst>
              <a:ext uri="{FF2B5EF4-FFF2-40B4-BE49-F238E27FC236}">
                <a16:creationId xmlns:a16="http://schemas.microsoft.com/office/drawing/2014/main" id="{094E2106-3D67-4EF0-A3E5-A7E59FD3F022}"/>
              </a:ext>
            </a:extLst>
          </p:cNvPr>
          <p:cNvSpPr>
            <a:spLocks noGrp="1"/>
          </p:cNvSpPr>
          <p:nvPr>
            <p:ph type="body" sz="quarter" idx="15"/>
          </p:nvPr>
        </p:nvSpPr>
        <p:spPr>
          <a:xfrm>
            <a:off x="609920" y="633391"/>
            <a:ext cx="8657608" cy="261937"/>
          </a:xfrm>
        </p:spPr>
        <p:txBody>
          <a:bodyPr>
            <a:noAutofit/>
          </a:bodyPr>
          <a:lstStyle>
            <a:lvl1pPr>
              <a:defRPr sz="1600">
                <a:latin typeface="+mn-lt"/>
                <a:cs typeface="Arial" panose="020B0604020202020204" pitchFamily="34" charset="0"/>
              </a:defRPr>
            </a:lvl1pPr>
          </a:lstStyle>
          <a:p>
            <a:pPr lvl="0"/>
            <a:r>
              <a:rPr lang="en-US" dirty="0"/>
              <a:t>Click to edit Master text styles</a:t>
            </a:r>
          </a:p>
        </p:txBody>
      </p:sp>
      <p:sp>
        <p:nvSpPr>
          <p:cNvPr id="13" name="Rectangle 12">
            <a:extLst>
              <a:ext uri="{FF2B5EF4-FFF2-40B4-BE49-F238E27FC236}">
                <a16:creationId xmlns:a16="http://schemas.microsoft.com/office/drawing/2014/main" id="{6E0AC2FA-AD09-43BC-972E-E1A7C7DE196A}"/>
              </a:ext>
            </a:extLst>
          </p:cNvPr>
          <p:cNvSpPr>
            <a:spLocks/>
          </p:cNvSpPr>
          <p:nvPr userDrawn="1"/>
        </p:nvSpPr>
        <p:spPr>
          <a:xfrm>
            <a:off x="-7481" y="6822000"/>
            <a:ext cx="12205831" cy="36000"/>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sp>
        <p:nvSpPr>
          <p:cNvPr id="14" name="Rectangle 13">
            <a:extLst>
              <a:ext uri="{FF2B5EF4-FFF2-40B4-BE49-F238E27FC236}">
                <a16:creationId xmlns:a16="http://schemas.microsoft.com/office/drawing/2014/main" id="{49950CC5-C56D-47D4-AC9D-FDF3BD3BC20A}"/>
              </a:ext>
            </a:extLst>
          </p:cNvPr>
          <p:cNvSpPr/>
          <p:nvPr userDrawn="1"/>
        </p:nvSpPr>
        <p:spPr>
          <a:xfrm>
            <a:off x="0" y="0"/>
            <a:ext cx="45719" cy="903836"/>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sp>
        <p:nvSpPr>
          <p:cNvPr id="24" name="Footer Placeholder 4">
            <a:extLst>
              <a:ext uri="{FF2B5EF4-FFF2-40B4-BE49-F238E27FC236}">
                <a16:creationId xmlns:a16="http://schemas.microsoft.com/office/drawing/2014/main" id="{F0A1C746-F6B5-42E7-8A69-B68F1A25AA5B}"/>
              </a:ext>
            </a:extLst>
          </p:cNvPr>
          <p:cNvSpPr txBox="1">
            <a:spLocks/>
          </p:cNvSpPr>
          <p:nvPr userDrawn="1"/>
        </p:nvSpPr>
        <p:spPr>
          <a:xfrm>
            <a:off x="3239188" y="6471244"/>
            <a:ext cx="3086100" cy="180000"/>
          </a:xfrm>
          <a:prstGeom prst="rect">
            <a:avLst/>
          </a:prstGeom>
        </p:spPr>
        <p:txBody>
          <a:bodyPr vert="horz" lIns="0" tIns="0" rIns="0" bIns="0" rtlCol="0" anchor="ctr"/>
          <a:lstStyle>
            <a:defPPr>
              <a:defRPr lang="en-US"/>
            </a:defPPr>
            <a:lvl1pPr marL="0" algn="l" defTabSz="913943" rtl="0" eaLnBrk="1" latinLnBrk="0" hangingPunct="1">
              <a:lnSpc>
                <a:spcPct val="100000"/>
              </a:lnSpc>
              <a:defRPr lang="en-IN" sz="800" b="1" kern="1200" dirty="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latin typeface="+mn-lt"/>
                <a:cs typeface="Arial" panose="020B0604020202020204" pitchFamily="34" charset="0"/>
              </a:rPr>
              <a:t>Smart </a:t>
            </a:r>
            <a:r>
              <a:rPr lang="de-DE" dirty="0" err="1">
                <a:latin typeface="+mn-lt"/>
                <a:cs typeface="Arial" panose="020B0604020202020204" pitchFamily="34" charset="0"/>
              </a:rPr>
              <a:t>Contracts</a:t>
            </a:r>
            <a:r>
              <a:rPr lang="de-DE" dirty="0">
                <a:latin typeface="+mn-lt"/>
                <a:cs typeface="Arial" panose="020B0604020202020204" pitchFamily="34" charset="0"/>
              </a:rPr>
              <a:t> – Technical </a:t>
            </a:r>
            <a:r>
              <a:rPr lang="de-DE" dirty="0" err="1">
                <a:latin typeface="+mn-lt"/>
                <a:cs typeface="Arial" panose="020B0604020202020204" pitchFamily="34" charset="0"/>
              </a:rPr>
              <a:t>Aspects</a:t>
            </a:r>
            <a:r>
              <a:rPr lang="de-DE" dirty="0">
                <a:latin typeface="+mn-lt"/>
                <a:cs typeface="Arial" panose="020B0604020202020204" pitchFamily="34" charset="0"/>
              </a:rPr>
              <a:t> and Legal </a:t>
            </a:r>
            <a:r>
              <a:rPr lang="de-DE" dirty="0" err="1">
                <a:latin typeface="+mn-lt"/>
                <a:cs typeface="Arial" panose="020B0604020202020204" pitchFamily="34" charset="0"/>
              </a:rPr>
              <a:t>Implications</a:t>
            </a:r>
            <a:endParaRPr lang="en-US" dirty="0">
              <a:latin typeface="+mn-lt"/>
              <a:cs typeface="Arial" panose="020B0604020202020204" pitchFamily="34" charset="0"/>
            </a:endParaRPr>
          </a:p>
        </p:txBody>
      </p:sp>
      <p:sp>
        <p:nvSpPr>
          <p:cNvPr id="17" name="Slide Number Placeholder 5">
            <a:extLst>
              <a:ext uri="{FF2B5EF4-FFF2-40B4-BE49-F238E27FC236}">
                <a16:creationId xmlns:a16="http://schemas.microsoft.com/office/drawing/2014/main" id="{B17A6339-4130-4947-90F4-BA44E535B152}"/>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Arial" panose="020B0604020202020204" pitchFamily="34" charset="0"/>
                <a:ea typeface="+mn-ea"/>
                <a:cs typeface="Arial" panose="020B0604020202020204" pitchFamily="34" charset="0"/>
              </a:defRPr>
            </a:lvl1pPr>
          </a:lstStyle>
          <a:p>
            <a:r>
              <a:rPr lang="en-US"/>
              <a:t>Page </a:t>
            </a:r>
            <a:fld id="{F1BC30E3-FFE5-4B91-AA19-87A149EBB9EE}" type="slidenum">
              <a:rPr lang="en-US" smtClean="0"/>
              <a:pPr/>
              <a:t>‹#›</a:t>
            </a:fld>
            <a:endParaRPr lang="en-US" dirty="0"/>
          </a:p>
        </p:txBody>
      </p:sp>
      <p:sp>
        <p:nvSpPr>
          <p:cNvPr id="18" name="Date Placeholder 3">
            <a:extLst>
              <a:ext uri="{FF2B5EF4-FFF2-40B4-BE49-F238E27FC236}">
                <a16:creationId xmlns:a16="http://schemas.microsoft.com/office/drawing/2014/main" id="{9FE47EDB-61D7-44C8-ABA0-A9B739D32367}"/>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Arial" panose="020B0604020202020204" pitchFamily="34" charset="0"/>
                <a:ea typeface="+mn-ea"/>
                <a:cs typeface="Arial" panose="020B0604020202020204" pitchFamily="34" charset="0"/>
              </a:defRPr>
            </a:lvl1pPr>
          </a:lstStyle>
          <a:p>
            <a:r>
              <a:rPr lang="de-DE"/>
              <a:t>28 September 2021</a:t>
            </a:r>
            <a:endParaRPr lang="en-US" dirty="0"/>
          </a:p>
        </p:txBody>
      </p:sp>
    </p:spTree>
    <p:extLst>
      <p:ext uri="{BB962C8B-B14F-4D97-AF65-F5344CB8AC3E}">
        <p14:creationId xmlns:p14="http://schemas.microsoft.com/office/powerpoint/2010/main" val="204681601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wo columns, no heading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8E8E55-E692-42C4-8194-EAB7F52F946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graphicFrame>
        <p:nvGraphicFramePr>
          <p:cNvPr id="2" name="Object 1" hidden="1">
            <a:extLst>
              <a:ext uri="{FF2B5EF4-FFF2-40B4-BE49-F238E27FC236}">
                <a16:creationId xmlns:a16="http://schemas.microsoft.com/office/drawing/2014/main" id="{2DAB9761-A7F4-44BB-AD5F-AF33F233AC4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530" imgH="531" progId="TCLayout.ActiveDocument.1">
                  <p:embed/>
                </p:oleObj>
              </mc:Choice>
              <mc:Fallback>
                <p:oleObj name="think-cell Slide" r:id="rId5" imgW="530" imgH="531" progId="TCLayout.ActiveDocument.1">
                  <p:embed/>
                  <p:pic>
                    <p:nvPicPr>
                      <p:cNvPr id="2" name="Object 1" hidden="1">
                        <a:extLst>
                          <a:ext uri="{FF2B5EF4-FFF2-40B4-BE49-F238E27FC236}">
                            <a16:creationId xmlns:a16="http://schemas.microsoft.com/office/drawing/2014/main" id="{2DAB9761-A7F4-44BB-AD5F-AF33F233AC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4"/>
          <p:cNvSpPr txBox="1">
            <a:spLocks/>
          </p:cNvSpPr>
          <p:nvPr userDrawn="1"/>
        </p:nvSpPr>
        <p:spPr bwMode="gray">
          <a:xfrm>
            <a:off x="4541593" y="6498643"/>
            <a:ext cx="2983189" cy="107722"/>
          </a:xfrm>
          <a:prstGeom prst="rect">
            <a:avLst/>
          </a:prstGeom>
        </p:spPr>
        <p:txBody>
          <a:bodyPr vert="horz" wrap="none" lIns="0" tIns="0" rIns="0" bIns="0" rtlCol="0" anchor="b" anchorCtr="0">
            <a:noAutofit/>
          </a:bodyPr>
          <a:lstStyle>
            <a:defPPr>
              <a:defRPr lang="en-US"/>
            </a:defPPr>
            <a:lvl1pPr marL="0" algn="l" defTabSz="994511" rtl="0" eaLnBrk="1" fontAlgn="auto" latinLnBrk="0" hangingPunct="1">
              <a:spcBef>
                <a:spcPts val="0"/>
              </a:spcBef>
              <a:spcAft>
                <a:spcPct val="0"/>
              </a:spcAft>
              <a:buClrTx/>
              <a:buSzTx/>
              <a:buFontTx/>
              <a:buNone/>
              <a:defRPr lang="de-DE" sz="700" b="1" kern="1200" smtClean="0">
                <a:solidFill>
                  <a:schemeClr val="bg2"/>
                </a:solidFill>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94014" rtl="0" eaLnBrk="1" fontAlgn="auto" latinLnBrk="0" hangingPunct="1">
              <a:lnSpc>
                <a:spcPct val="100000"/>
              </a:lnSpc>
              <a:spcBef>
                <a:spcPts val="0"/>
              </a:spcBef>
              <a:spcAft>
                <a:spcPct val="0"/>
              </a:spcAft>
              <a:buClrTx/>
              <a:buSzTx/>
              <a:buFontTx/>
              <a:buNone/>
              <a:tabLst/>
              <a:defRPr/>
            </a:pPr>
            <a:r>
              <a:rPr kumimoji="0" lang="en-US" sz="700" b="1" i="0" u="none" strike="noStrike" kern="1200" cap="none" spc="0" normalizeH="0" baseline="0" noProof="0" dirty="0">
                <a:ln>
                  <a:noFill/>
                </a:ln>
                <a:solidFill>
                  <a:srgbClr val="646464"/>
                </a:solidFill>
                <a:effectLst/>
                <a:uLnTx/>
                <a:uFillTx/>
                <a:latin typeface="EYInterstate Light" panose="02000506000000020004" pitchFamily="2" charset="0"/>
                <a:ea typeface="+mn-ea"/>
                <a:cs typeface="+mn-cs"/>
              </a:rPr>
              <a:t>Intelligent Automation</a:t>
            </a:r>
          </a:p>
        </p:txBody>
      </p:sp>
      <p:sp>
        <p:nvSpPr>
          <p:cNvPr id="12" name="Rechteck 5"/>
          <p:cNvSpPr>
            <a:spLocks noChangeAspect="1"/>
          </p:cNvSpPr>
          <p:nvPr userDrawn="1"/>
        </p:nvSpPr>
        <p:spPr bwMode="gray">
          <a:xfrm>
            <a:off x="0" y="0"/>
            <a:ext cx="12198350" cy="6858000"/>
          </a:xfrm>
          <a:prstGeom prst="rect">
            <a:avLst/>
          </a:prstGeom>
          <a:solidFill>
            <a:srgbClr val="0000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lstStyle/>
          <a:p>
            <a:pPr algn="ctr" eaLnBrk="1">
              <a:lnSpc>
                <a:spcPct val="90000"/>
              </a:lnSpc>
              <a:spcAft>
                <a:spcPts val="999"/>
              </a:spcAft>
            </a:pPr>
            <a:endParaRPr lang="en-US" sz="1799" dirty="0">
              <a:latin typeface="Bebas Neue" panose="020B0506020202020201"/>
            </a:endParaRPr>
          </a:p>
        </p:txBody>
      </p:sp>
      <p:sp>
        <p:nvSpPr>
          <p:cNvPr id="13" name="Footer Placeholder 4">
            <a:extLst>
              <a:ext uri="{FF2B5EF4-FFF2-40B4-BE49-F238E27FC236}">
                <a16:creationId xmlns:a16="http://schemas.microsoft.com/office/drawing/2014/main" id="{DD2F20A3-A75C-4FBB-86CC-3CAA4F8BE25C}"/>
              </a:ext>
            </a:extLst>
          </p:cNvPr>
          <p:cNvSpPr txBox="1">
            <a:spLocks/>
          </p:cNvSpPr>
          <p:nvPr userDrawn="1"/>
        </p:nvSpPr>
        <p:spPr>
          <a:xfrm>
            <a:off x="3239188" y="6471244"/>
            <a:ext cx="3086100" cy="180000"/>
          </a:xfrm>
          <a:prstGeom prst="rect">
            <a:avLst/>
          </a:prstGeom>
        </p:spPr>
        <p:txBody>
          <a:bodyPr vert="horz" lIns="0" tIns="0" rIns="0" bIns="0" rtlCol="0" anchor="ctr"/>
          <a:lstStyle>
            <a:defPPr>
              <a:defRPr lang="en-US"/>
            </a:defPPr>
            <a:lvl1pPr marL="0" algn="l" defTabSz="913943" rtl="0" eaLnBrk="1" latinLnBrk="0" hangingPunct="1">
              <a:lnSpc>
                <a:spcPct val="100000"/>
              </a:lnSpc>
              <a:defRPr lang="en-IN" sz="800" b="1" kern="1200" dirty="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latin typeface="Arial" panose="020B0604020202020204" pitchFamily="34" charset="0"/>
                <a:cs typeface="Arial" panose="020B0604020202020204" pitchFamily="34" charset="0"/>
              </a:rPr>
              <a:t>Smart </a:t>
            </a:r>
            <a:r>
              <a:rPr lang="de-DE" dirty="0" err="1">
                <a:latin typeface="Arial" panose="020B0604020202020204" pitchFamily="34" charset="0"/>
                <a:cs typeface="Arial" panose="020B0604020202020204" pitchFamily="34" charset="0"/>
              </a:rPr>
              <a:t>Contracts</a:t>
            </a:r>
            <a:r>
              <a:rPr lang="de-DE" dirty="0">
                <a:latin typeface="Arial" panose="020B0604020202020204" pitchFamily="34" charset="0"/>
                <a:cs typeface="Arial" panose="020B0604020202020204" pitchFamily="34" charset="0"/>
              </a:rPr>
              <a:t> – Technical </a:t>
            </a:r>
            <a:r>
              <a:rPr lang="de-DE" dirty="0" err="1">
                <a:latin typeface="Arial" panose="020B0604020202020204" pitchFamily="34" charset="0"/>
                <a:cs typeface="Arial" panose="020B0604020202020204" pitchFamily="34" charset="0"/>
              </a:rPr>
              <a:t>Aspects</a:t>
            </a:r>
            <a:r>
              <a:rPr lang="de-DE" dirty="0">
                <a:latin typeface="Arial" panose="020B0604020202020204" pitchFamily="34" charset="0"/>
                <a:cs typeface="Arial" panose="020B0604020202020204" pitchFamily="34" charset="0"/>
              </a:rPr>
              <a:t> and Legal </a:t>
            </a:r>
            <a:r>
              <a:rPr lang="de-DE" dirty="0" err="1">
                <a:latin typeface="Arial" panose="020B0604020202020204" pitchFamily="34" charset="0"/>
                <a:cs typeface="Arial" panose="020B0604020202020204" pitchFamily="34" charset="0"/>
              </a:rPr>
              <a:t>Implications</a:t>
            </a:r>
            <a:endParaRPr lang="en-US" dirty="0">
              <a:latin typeface="Arial" panose="020B0604020202020204" pitchFamily="34" charset="0"/>
              <a:cs typeface="Arial" panose="020B0604020202020204" pitchFamily="34" charset="0"/>
            </a:endParaRPr>
          </a:p>
        </p:txBody>
      </p:sp>
      <p:sp>
        <p:nvSpPr>
          <p:cNvPr id="26" name="Slide Number Placeholder 5">
            <a:extLst>
              <a:ext uri="{FF2B5EF4-FFF2-40B4-BE49-F238E27FC236}">
                <a16:creationId xmlns:a16="http://schemas.microsoft.com/office/drawing/2014/main" id="{33255B81-4D89-4333-9080-D85542206DF9}"/>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Arial" panose="020B0604020202020204" pitchFamily="34" charset="0"/>
                <a:ea typeface="+mn-ea"/>
                <a:cs typeface="Arial" panose="020B0604020202020204" pitchFamily="34" charset="0"/>
              </a:defRPr>
            </a:lvl1pPr>
          </a:lstStyle>
          <a:p>
            <a:r>
              <a:rPr lang="en-US"/>
              <a:t>Page </a:t>
            </a:r>
            <a:fld id="{F1BC30E3-FFE5-4B91-AA19-87A149EBB9EE}" type="slidenum">
              <a:rPr lang="en-US" smtClean="0"/>
              <a:pPr/>
              <a:t>‹#›</a:t>
            </a:fld>
            <a:endParaRPr lang="en-US" dirty="0"/>
          </a:p>
        </p:txBody>
      </p:sp>
      <p:sp>
        <p:nvSpPr>
          <p:cNvPr id="27" name="Date Placeholder 3">
            <a:extLst>
              <a:ext uri="{FF2B5EF4-FFF2-40B4-BE49-F238E27FC236}">
                <a16:creationId xmlns:a16="http://schemas.microsoft.com/office/drawing/2014/main" id="{D275E235-AC54-4E72-82DC-2DC99DDD7324}"/>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Arial" panose="020B0604020202020204" pitchFamily="34" charset="0"/>
                <a:ea typeface="+mn-ea"/>
                <a:cs typeface="Arial" panose="020B0604020202020204" pitchFamily="34" charset="0"/>
              </a:defRPr>
            </a:lvl1pPr>
          </a:lstStyle>
          <a:p>
            <a:r>
              <a:rPr lang="de-DE"/>
              <a:t>28 September 2021</a:t>
            </a:r>
            <a:endParaRPr lang="en-US" dirty="0"/>
          </a:p>
        </p:txBody>
      </p:sp>
      <p:pic>
        <p:nvPicPr>
          <p:cNvPr id="16" name="Picture 15">
            <a:extLst>
              <a:ext uri="{FF2B5EF4-FFF2-40B4-BE49-F238E27FC236}">
                <a16:creationId xmlns:a16="http://schemas.microsoft.com/office/drawing/2014/main" id="{567E4401-E50F-4CE0-AB37-D552CBE3D56E}"/>
              </a:ext>
            </a:extLst>
          </p:cNvPr>
          <p:cNvPicPr>
            <a:picLocks noChangeAspect="1"/>
          </p:cNvPicPr>
          <p:nvPr userDrawn="1"/>
        </p:nvPicPr>
        <p:blipFill rotWithShape="1">
          <a:blip r:embed="rId7"/>
          <a:srcRect r="10516" b="29265"/>
          <a:stretch/>
        </p:blipFill>
        <p:spPr>
          <a:xfrm>
            <a:off x="11220271" y="6403532"/>
            <a:ext cx="360858" cy="315423"/>
          </a:xfrm>
          <a:prstGeom prst="rect">
            <a:avLst/>
          </a:prstGeom>
        </p:spPr>
      </p:pic>
    </p:spTree>
    <p:extLst>
      <p:ext uri="{BB962C8B-B14F-4D97-AF65-F5344CB8AC3E}">
        <p14:creationId xmlns:p14="http://schemas.microsoft.com/office/powerpoint/2010/main" val="4116073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2243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0" y="-1"/>
            <a:ext cx="12198349" cy="6861931"/>
          </a:xfrm>
          <a:prstGeom prst="rect">
            <a:avLst/>
          </a:prstGeom>
        </p:spPr>
      </p:pic>
      <p:sp>
        <p:nvSpPr>
          <p:cNvPr id="6" name="Textplatzhalter 2"/>
          <p:cNvSpPr>
            <a:spLocks noGrp="1"/>
          </p:cNvSpPr>
          <p:nvPr>
            <p:ph type="body" sz="quarter" idx="10" hasCustomPrompt="1"/>
          </p:nvPr>
        </p:nvSpPr>
        <p:spPr bwMode="gray">
          <a:xfrm>
            <a:off x="628566" y="292413"/>
            <a:ext cx="3142800" cy="5210175"/>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rgbClr val="FFD200"/>
              </a:buClr>
              <a:buSzPct val="70000"/>
              <a:buFontTx/>
              <a:buNone/>
              <a:tabLst/>
              <a:defRPr kumimoji="0" lang="de-DE" sz="11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2482858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3" imgW="180" imgH="180" progId="TCLayout.ActiveDocument.1">
                  <p:embed/>
                </p:oleObj>
              </mc:Choice>
              <mc:Fallback>
                <p:oleObj name="think-cell Slide" r:id="rId13" imgW="180" imgH="180" progId="TCLayout.ActiveDocument.1">
                  <p:embed/>
                  <p:pic>
                    <p:nvPicPr>
                      <p:cNvPr id="4" name="Object 3"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1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rm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dirty="0"/>
              <a:t>Click to edit Master title style</a:t>
            </a:r>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Arial" panose="020B0604020202020204" pitchFamily="34" charset="0"/>
                <a:ea typeface="+mn-ea"/>
                <a:cs typeface="Arial" panose="020B0604020202020204" pitchFamily="34" charset="0"/>
              </a:defRPr>
            </a:lvl1pPr>
          </a:lstStyle>
          <a:p>
            <a:r>
              <a:rPr lang="de-DE"/>
              <a:t>28 September 2021</a:t>
            </a:r>
            <a:endParaRPr lang="en-US"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5"/>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Arial" panose="020B0604020202020204" pitchFamily="34" charset="0"/>
                <a:ea typeface="+mn-ea"/>
                <a:cs typeface="Arial" panose="020B0604020202020204" pitchFamily="34" charset="0"/>
              </a:defRPr>
            </a:lvl1pPr>
          </a:lstStyle>
          <a:p>
            <a:endParaRPr lang="en-US"/>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Arial" panose="020B0604020202020204" pitchFamily="34" charset="0"/>
                <a:ea typeface="+mn-ea"/>
                <a:cs typeface="Arial" panose="020B0604020202020204" pitchFamily="34" charset="0"/>
              </a:defRPr>
            </a:lvl1pPr>
          </a:lstStyle>
          <a:p>
            <a:r>
              <a:rPr lang="en-US"/>
              <a:t>Page </a:t>
            </a:r>
            <a:fld id="{F1BC30E3-FFE5-4B91-AA19-87A149EBB9EE}" type="slidenum">
              <a:rPr lang="en-US" smtClean="0"/>
              <a:pPr/>
              <a:t>‹#›</a:t>
            </a:fld>
            <a:endParaRPr lang="en-US" dirty="0"/>
          </a:p>
        </p:txBody>
      </p:sp>
    </p:spTree>
    <p:extLst>
      <p:ext uri="{BB962C8B-B14F-4D97-AF65-F5344CB8AC3E}">
        <p14:creationId xmlns:p14="http://schemas.microsoft.com/office/powerpoint/2010/main" val="3865335214"/>
      </p:ext>
    </p:extLst>
  </p:cSld>
  <p:clrMap bg1="lt1" tx1="dk1" bg2="lt2" tx2="dk2" accent1="accent1" accent2="accent2" accent3="accent3" accent4="accent4" accent5="accent5" accent6="accent6" hlink="hlink" folHlink="folHlink"/>
  <p:sldLayoutIdLst>
    <p:sldLayoutId id="2147484160" r:id="rId1"/>
    <p:sldLayoutId id="2147484210" r:id="rId2"/>
    <p:sldLayoutId id="2147484211" r:id="rId3"/>
    <p:sldLayoutId id="2147484203" r:id="rId4"/>
    <p:sldLayoutId id="2147484205" r:id="rId5"/>
    <p:sldLayoutId id="2147484212" r:id="rId6"/>
    <p:sldLayoutId id="2147484213" r:id="rId7"/>
    <p:sldLayoutId id="2147484214" r:id="rId8"/>
  </p:sldLayoutIdLst>
  <p:hf hdr="0" ftr="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2.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s://nl.linkedin.com/in/sjefvanerp" TargetMode="External"/><Relationship Id="rId7"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hyperlink" Target="https://www.linkedin.com/in/martin-hanzl-442218112/" TargetMode="Externa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a:xfrm>
            <a:off x="743081" y="1838944"/>
            <a:ext cx="4328932" cy="979702"/>
          </a:xfrm>
        </p:spPr>
        <p:txBody>
          <a:bodyPr/>
          <a:lstStyle/>
          <a:p>
            <a:r>
              <a:rPr lang="en-GB" dirty="0">
                <a:solidFill>
                  <a:srgbClr val="2E2E38"/>
                </a:solidFill>
                <a:latin typeface="+mn-lt"/>
              </a:rPr>
              <a:t>Blockchain Technology, Smart Contracts and Consumer Protection</a:t>
            </a:r>
          </a:p>
        </p:txBody>
      </p:sp>
      <p:sp>
        <p:nvSpPr>
          <p:cNvPr id="9" name="Subtitle 8">
            <a:extLst>
              <a:ext uri="{FF2B5EF4-FFF2-40B4-BE49-F238E27FC236}">
                <a16:creationId xmlns:a16="http://schemas.microsoft.com/office/drawing/2014/main" id="{EB7A34C3-2793-480B-8362-6EE4F3992080}"/>
              </a:ext>
            </a:extLst>
          </p:cNvPr>
          <p:cNvSpPr>
            <a:spLocks noGrp="1"/>
          </p:cNvSpPr>
          <p:nvPr>
            <p:ph type="subTitle" idx="1"/>
          </p:nvPr>
        </p:nvSpPr>
        <p:spPr>
          <a:xfrm>
            <a:off x="743081" y="3573016"/>
            <a:ext cx="4361355" cy="648071"/>
          </a:xfrm>
        </p:spPr>
        <p:txBody>
          <a:bodyPr>
            <a:noAutofit/>
          </a:bodyPr>
          <a:lstStyle/>
          <a:p>
            <a:pPr lvl="1"/>
            <a:r>
              <a:rPr lang="de-AT" b="0" kern="0" dirty="0">
                <a:solidFill>
                  <a:srgbClr val="2E2E38"/>
                </a:solidFill>
                <a:latin typeface="+mn-lt"/>
              </a:rPr>
              <a:t>Webinar of European Law Institute </a:t>
            </a:r>
            <a:endParaRPr lang="en-US" b="0" kern="0" dirty="0">
              <a:solidFill>
                <a:srgbClr val="2E2E38"/>
              </a:solidFill>
              <a:latin typeface="+mn-lt"/>
              <a:cs typeface="Arial" panose="020B0604020202020204" pitchFamily="34" charset="0"/>
            </a:endParaRPr>
          </a:p>
          <a:p>
            <a:pPr lvl="1"/>
            <a:r>
              <a:rPr kumimoji="0" lang="en-US" i="0" u="none" strike="noStrike" kern="0" cap="none" spc="0" normalizeH="0" baseline="0" noProof="0" dirty="0">
                <a:ln>
                  <a:noFill/>
                </a:ln>
                <a:solidFill>
                  <a:srgbClr val="2E2E38"/>
                </a:solidFill>
                <a:effectLst/>
                <a:uLnTx/>
                <a:uFillTx/>
                <a:latin typeface="+mn-lt"/>
                <a:cs typeface="Arial" panose="020B0604020202020204" pitchFamily="34" charset="0"/>
              </a:rPr>
              <a:t>24 October 2022</a:t>
            </a:r>
            <a:endParaRPr kumimoji="0" lang="de-AT" i="0" u="none" strike="noStrike" kern="0" cap="none" spc="0" normalizeH="0" baseline="0" noProof="0" dirty="0">
              <a:ln>
                <a:noFill/>
              </a:ln>
              <a:solidFill>
                <a:srgbClr val="2E2E38"/>
              </a:solidFill>
              <a:effectLst/>
              <a:uLnTx/>
              <a:uFillTx/>
              <a:latin typeface="+mn-lt"/>
            </a:endParaRPr>
          </a:p>
        </p:txBody>
      </p:sp>
    </p:spTree>
    <p:extLst>
      <p:ext uri="{BB962C8B-B14F-4D97-AF65-F5344CB8AC3E}">
        <p14:creationId xmlns:p14="http://schemas.microsoft.com/office/powerpoint/2010/main" val="1242318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FBF79-FAF1-4E12-B8DD-D5863B4ED040}"/>
              </a:ext>
            </a:extLst>
          </p:cNvPr>
          <p:cNvSpPr>
            <a:spLocks noGrp="1"/>
          </p:cNvSpPr>
          <p:nvPr>
            <p:ph type="title"/>
          </p:nvPr>
        </p:nvSpPr>
        <p:spPr/>
        <p:txBody>
          <a:bodyPr/>
          <a:lstStyle/>
          <a:p>
            <a:r>
              <a:rPr lang="de-AT" dirty="0" err="1"/>
              <a:t>Principle</a:t>
            </a:r>
            <a:r>
              <a:rPr lang="de-AT" dirty="0"/>
              <a:t> 8</a:t>
            </a:r>
          </a:p>
        </p:txBody>
      </p:sp>
      <p:sp>
        <p:nvSpPr>
          <p:cNvPr id="3" name="Text Placeholder 2">
            <a:extLst>
              <a:ext uri="{FF2B5EF4-FFF2-40B4-BE49-F238E27FC236}">
                <a16:creationId xmlns:a16="http://schemas.microsoft.com/office/drawing/2014/main" id="{05CDF4AC-974E-4DD8-9F86-2C7F7B65AA80}"/>
              </a:ext>
            </a:extLst>
          </p:cNvPr>
          <p:cNvSpPr>
            <a:spLocks noGrp="1"/>
          </p:cNvSpPr>
          <p:nvPr>
            <p:ph type="body" sz="quarter" idx="15"/>
          </p:nvPr>
        </p:nvSpPr>
        <p:spPr/>
        <p:txBody>
          <a:bodyPr>
            <a:normAutofit/>
          </a:bodyPr>
          <a:lstStyle/>
          <a:p>
            <a:r>
              <a:rPr lang="de-AT" dirty="0"/>
              <a:t>Language – in a </a:t>
            </a:r>
            <a:r>
              <a:rPr lang="de-AT" dirty="0">
                <a:solidFill>
                  <a:schemeClr val="tx2"/>
                </a:solidFill>
              </a:rPr>
              <a:t>B2B Setting</a:t>
            </a:r>
          </a:p>
        </p:txBody>
      </p:sp>
      <p:sp>
        <p:nvSpPr>
          <p:cNvPr id="4" name="Slide Number Placeholder 3">
            <a:extLst>
              <a:ext uri="{FF2B5EF4-FFF2-40B4-BE49-F238E27FC236}">
                <a16:creationId xmlns:a16="http://schemas.microsoft.com/office/drawing/2014/main" id="{77B09D1F-20BA-4AF4-B69F-AF6F0D6CC142}"/>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0</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03974611-66D1-4DCE-A220-7EC87C2A3B0C}"/>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grpSp>
        <p:nvGrpSpPr>
          <p:cNvPr id="21" name="Group 20">
            <a:extLst>
              <a:ext uri="{FF2B5EF4-FFF2-40B4-BE49-F238E27FC236}">
                <a16:creationId xmlns:a16="http://schemas.microsoft.com/office/drawing/2014/main" id="{71355D21-4B50-4BA4-89A9-010A92E00921}"/>
              </a:ext>
            </a:extLst>
          </p:cNvPr>
          <p:cNvGrpSpPr/>
          <p:nvPr/>
        </p:nvGrpSpPr>
        <p:grpSpPr>
          <a:xfrm>
            <a:off x="609601" y="1135296"/>
            <a:ext cx="10981142" cy="778819"/>
            <a:chOff x="609601" y="1135296"/>
            <a:chExt cx="10981142" cy="778819"/>
          </a:xfrm>
        </p:grpSpPr>
        <p:sp>
          <p:nvSpPr>
            <p:cNvPr id="22" name="Rectangle 21">
              <a:extLst>
                <a:ext uri="{FF2B5EF4-FFF2-40B4-BE49-F238E27FC236}">
                  <a16:creationId xmlns:a16="http://schemas.microsoft.com/office/drawing/2014/main" id="{39E20B38-FB5E-478A-8CB3-429BCFA04995}"/>
                </a:ext>
              </a:extLst>
            </p:cNvPr>
            <p:cNvSpPr/>
            <p:nvPr/>
          </p:nvSpPr>
          <p:spPr>
            <a:xfrm>
              <a:off x="609601" y="1135296"/>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de-AT" sz="1600" kern="0" dirty="0" err="1">
                  <a:solidFill>
                    <a:schemeClr val="bg1"/>
                  </a:solidFill>
                </a:rPr>
                <a:t>Parties</a:t>
              </a:r>
              <a:r>
                <a:rPr lang="de-AT" sz="1600" kern="0" dirty="0">
                  <a:solidFill>
                    <a:schemeClr val="bg1"/>
                  </a:solidFill>
                </a:rPr>
                <a:t> (</a:t>
              </a:r>
              <a:r>
                <a:rPr lang="de-AT" sz="1600" kern="0" dirty="0" err="1">
                  <a:solidFill>
                    <a:schemeClr val="bg1"/>
                  </a:solidFill>
                </a:rPr>
                <a:t>Businesses</a:t>
              </a:r>
              <a:r>
                <a:rPr lang="de-AT" sz="1600" kern="0" dirty="0">
                  <a:solidFill>
                    <a:schemeClr val="bg1"/>
                  </a:solidFill>
                </a:rPr>
                <a:t>) can </a:t>
              </a:r>
              <a:r>
                <a:rPr lang="en-US" sz="1600" kern="0" dirty="0">
                  <a:solidFill>
                    <a:schemeClr val="bg1"/>
                  </a:solidFill>
                </a:rPr>
                <a:t>agree</a:t>
              </a:r>
              <a:r>
                <a:rPr lang="de-AT" sz="1600" kern="0" dirty="0">
                  <a:solidFill>
                    <a:schemeClr val="bg1"/>
                  </a:solidFill>
                </a:rPr>
                <a:t> that the contractual lanuage is </a:t>
              </a:r>
              <a:r>
                <a:rPr lang="de-AT" sz="1600" b="1" kern="0" dirty="0">
                  <a:solidFill>
                    <a:schemeClr val="bg1"/>
                  </a:solidFill>
                </a:rPr>
                <a:t>programming language</a:t>
              </a:r>
            </a:p>
          </p:txBody>
        </p:sp>
        <p:grpSp>
          <p:nvGrpSpPr>
            <p:cNvPr id="23" name="Group 22">
              <a:extLst>
                <a:ext uri="{FF2B5EF4-FFF2-40B4-BE49-F238E27FC236}">
                  <a16:creationId xmlns:a16="http://schemas.microsoft.com/office/drawing/2014/main" id="{BBBC7C1A-CF1D-4EC4-B723-0B0C32B513E1}"/>
                </a:ext>
              </a:extLst>
            </p:cNvPr>
            <p:cNvGrpSpPr/>
            <p:nvPr/>
          </p:nvGrpSpPr>
          <p:grpSpPr>
            <a:xfrm>
              <a:off x="11444402" y="1393610"/>
              <a:ext cx="146341" cy="239780"/>
              <a:chOff x="4011103" y="2105333"/>
              <a:chExt cx="146341" cy="239780"/>
            </a:xfrm>
          </p:grpSpPr>
          <p:grpSp>
            <p:nvGrpSpPr>
              <p:cNvPr id="28" name="Group 27">
                <a:extLst>
                  <a:ext uri="{FF2B5EF4-FFF2-40B4-BE49-F238E27FC236}">
                    <a16:creationId xmlns:a16="http://schemas.microsoft.com/office/drawing/2014/main" id="{2E1FF89A-4155-4D08-A2E9-61CCDD79D0C4}"/>
                  </a:ext>
                </a:extLst>
              </p:cNvPr>
              <p:cNvGrpSpPr/>
              <p:nvPr/>
            </p:nvGrpSpPr>
            <p:grpSpPr>
              <a:xfrm rot="10800000">
                <a:off x="4011103" y="2137035"/>
                <a:ext cx="40849" cy="208078"/>
                <a:chOff x="906170" y="2076504"/>
                <a:chExt cx="79774" cy="406348"/>
              </a:xfrm>
            </p:grpSpPr>
            <p:sp>
              <p:nvSpPr>
                <p:cNvPr id="39" name="Rectangle 38">
                  <a:extLst>
                    <a:ext uri="{FF2B5EF4-FFF2-40B4-BE49-F238E27FC236}">
                      <a16:creationId xmlns:a16="http://schemas.microsoft.com/office/drawing/2014/main" id="{76DD8B59-840A-4416-95B2-CA2A059158AE}"/>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40" name="Rectangle 39">
                  <a:extLst>
                    <a:ext uri="{FF2B5EF4-FFF2-40B4-BE49-F238E27FC236}">
                      <a16:creationId xmlns:a16="http://schemas.microsoft.com/office/drawing/2014/main" id="{15751B5A-AEB3-4222-9A61-8CE65C61B9E6}"/>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41" name="Rectangle 40">
                  <a:extLst>
                    <a:ext uri="{FF2B5EF4-FFF2-40B4-BE49-F238E27FC236}">
                      <a16:creationId xmlns:a16="http://schemas.microsoft.com/office/drawing/2014/main" id="{2A0CD22E-D520-415C-86CB-3D2BAD7E5B85}"/>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29" name="Straight Connector 28">
                <a:extLst>
                  <a:ext uri="{FF2B5EF4-FFF2-40B4-BE49-F238E27FC236}">
                    <a16:creationId xmlns:a16="http://schemas.microsoft.com/office/drawing/2014/main" id="{AC57ED2B-8687-4338-B048-CAAE5439F178}"/>
                  </a:ext>
                </a:extLst>
              </p:cNvPr>
              <p:cNvCxnSpPr>
                <a:stCxn id="41"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F989E35-C36B-4195-87A0-8FCE7C426363}"/>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0EE47D19-7087-44E2-82A5-A67065C80672}"/>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32" name="Straight Connector 31">
                <a:extLst>
                  <a:ext uri="{FF2B5EF4-FFF2-40B4-BE49-F238E27FC236}">
                    <a16:creationId xmlns:a16="http://schemas.microsoft.com/office/drawing/2014/main" id="{03B23559-D822-4973-8759-5A8FD8DF8F45}"/>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AD0CBB4-E1DD-42B1-9C6C-1BED07AB5683}"/>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67A9061-9199-41D6-A0C1-9927AA8BDF73}"/>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F3C82500-FD9C-414F-A1CE-ABF8DFA6A5BF}"/>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36" name="Group 35">
                <a:extLst>
                  <a:ext uri="{FF2B5EF4-FFF2-40B4-BE49-F238E27FC236}">
                    <a16:creationId xmlns:a16="http://schemas.microsoft.com/office/drawing/2014/main" id="{83BECEA9-7C05-4B09-8A12-F90DBCA11FC1}"/>
                  </a:ext>
                </a:extLst>
              </p:cNvPr>
              <p:cNvGrpSpPr/>
              <p:nvPr/>
            </p:nvGrpSpPr>
            <p:grpSpPr>
              <a:xfrm rot="10800000">
                <a:off x="4051953" y="2312907"/>
                <a:ext cx="105491" cy="26825"/>
                <a:chOff x="1476522" y="2083779"/>
                <a:chExt cx="206012" cy="52386"/>
              </a:xfrm>
            </p:grpSpPr>
            <p:cxnSp>
              <p:nvCxnSpPr>
                <p:cNvPr id="37" name="Straight Connector 36">
                  <a:extLst>
                    <a:ext uri="{FF2B5EF4-FFF2-40B4-BE49-F238E27FC236}">
                      <a16:creationId xmlns:a16="http://schemas.microsoft.com/office/drawing/2014/main" id="{32270104-9C62-453B-A989-1A905999CA68}"/>
                    </a:ext>
                  </a:extLst>
                </p:cNvPr>
                <p:cNvCxnSpPr>
                  <a:stCxn id="39" idx="1"/>
                  <a:endCxn id="38"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7C78BFB9-D610-466B-9289-A10E4D9F0D1E}"/>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24" name="Group 23">
              <a:extLst>
                <a:ext uri="{FF2B5EF4-FFF2-40B4-BE49-F238E27FC236}">
                  <a16:creationId xmlns:a16="http://schemas.microsoft.com/office/drawing/2014/main" id="{2F2E6006-CE50-4030-9701-6A83ABD034B9}"/>
                </a:ext>
              </a:extLst>
            </p:cNvPr>
            <p:cNvGrpSpPr/>
            <p:nvPr/>
          </p:nvGrpSpPr>
          <p:grpSpPr>
            <a:xfrm>
              <a:off x="10735874" y="1859016"/>
              <a:ext cx="384181" cy="55099"/>
              <a:chOff x="3609347" y="2150884"/>
              <a:chExt cx="323386" cy="72179"/>
            </a:xfrm>
          </p:grpSpPr>
          <p:sp>
            <p:nvSpPr>
              <p:cNvPr id="25" name="Rectangle: Rounded Corners 24">
                <a:extLst>
                  <a:ext uri="{FF2B5EF4-FFF2-40B4-BE49-F238E27FC236}">
                    <a16:creationId xmlns:a16="http://schemas.microsoft.com/office/drawing/2014/main" id="{1848E428-2AF8-4D32-801D-92943B832DB1}"/>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26" name="Rectangle: Rounded Corners 25">
                <a:extLst>
                  <a:ext uri="{FF2B5EF4-FFF2-40B4-BE49-F238E27FC236}">
                    <a16:creationId xmlns:a16="http://schemas.microsoft.com/office/drawing/2014/main" id="{02793F6C-ABF6-4642-91A5-C748BC9EA9E7}"/>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27" name="Rectangle 26">
                <a:extLst>
                  <a:ext uri="{FF2B5EF4-FFF2-40B4-BE49-F238E27FC236}">
                    <a16:creationId xmlns:a16="http://schemas.microsoft.com/office/drawing/2014/main" id="{E3106327-4E48-4723-B963-48F0C2502747}"/>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grpSp>
        <p:nvGrpSpPr>
          <p:cNvPr id="6" name="Group 5">
            <a:extLst>
              <a:ext uri="{FF2B5EF4-FFF2-40B4-BE49-F238E27FC236}">
                <a16:creationId xmlns:a16="http://schemas.microsoft.com/office/drawing/2014/main" id="{1A580651-3D8B-48C0-9AD6-EC394A8B0E2D}"/>
              </a:ext>
            </a:extLst>
          </p:cNvPr>
          <p:cNvGrpSpPr/>
          <p:nvPr/>
        </p:nvGrpSpPr>
        <p:grpSpPr>
          <a:xfrm>
            <a:off x="609381" y="2436348"/>
            <a:ext cx="4865843" cy="908143"/>
            <a:chOff x="609381" y="2060856"/>
            <a:chExt cx="4865843" cy="908143"/>
          </a:xfrm>
        </p:grpSpPr>
        <p:sp>
          <p:nvSpPr>
            <p:cNvPr id="56" name="Freeform: Shape 55">
              <a:extLst>
                <a:ext uri="{FF2B5EF4-FFF2-40B4-BE49-F238E27FC236}">
                  <a16:creationId xmlns:a16="http://schemas.microsoft.com/office/drawing/2014/main" id="{D7660DD2-B811-42BD-A9B3-A6684FA259D6}"/>
                </a:ext>
              </a:extLst>
            </p:cNvPr>
            <p:cNvSpPr/>
            <p:nvPr/>
          </p:nvSpPr>
          <p:spPr>
            <a:xfrm>
              <a:off x="609381" y="2081033"/>
              <a:ext cx="4861779" cy="865872"/>
            </a:xfrm>
            <a:custGeom>
              <a:avLst/>
              <a:gdLst>
                <a:gd name="connsiteX0" fmla="*/ 216468 w 5521164"/>
                <a:gd name="connsiteY0" fmla="*/ 0 h 865872"/>
                <a:gd name="connsiteX1" fmla="*/ 1355655 w 5521164"/>
                <a:gd name="connsiteY1" fmla="*/ 0 h 865872"/>
                <a:gd name="connsiteX2" fmla="*/ 1357373 w 5521164"/>
                <a:gd name="connsiteY2" fmla="*/ 3435 h 865872"/>
                <a:gd name="connsiteX3" fmla="*/ 5521164 w 5521164"/>
                <a:gd name="connsiteY3" fmla="*/ 3435 h 865872"/>
                <a:gd name="connsiteX4" fmla="*/ 5521164 w 5521164"/>
                <a:gd name="connsiteY4" fmla="*/ 865871 h 865872"/>
                <a:gd name="connsiteX5" fmla="*/ 1355656 w 5521164"/>
                <a:gd name="connsiteY5" fmla="*/ 865871 h 865872"/>
                <a:gd name="connsiteX6" fmla="*/ 1355655 w 5521164"/>
                <a:gd name="connsiteY6" fmla="*/ 865872 h 865872"/>
                <a:gd name="connsiteX7" fmla="*/ 216468 w 5521164"/>
                <a:gd name="connsiteY7" fmla="*/ 865872 h 865872"/>
                <a:gd name="connsiteX8" fmla="*/ 0 w 5521164"/>
                <a:gd name="connsiteY8" fmla="*/ 432936 h 86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1164" h="865872">
                  <a:moveTo>
                    <a:pt x="216468" y="0"/>
                  </a:moveTo>
                  <a:lnTo>
                    <a:pt x="1355655" y="0"/>
                  </a:lnTo>
                  <a:lnTo>
                    <a:pt x="1357373" y="3435"/>
                  </a:lnTo>
                  <a:lnTo>
                    <a:pt x="5521164" y="3435"/>
                  </a:lnTo>
                  <a:lnTo>
                    <a:pt x="5521164" y="865871"/>
                  </a:lnTo>
                  <a:lnTo>
                    <a:pt x="1355656" y="865871"/>
                  </a:lnTo>
                  <a:lnTo>
                    <a:pt x="1355655" y="865872"/>
                  </a:lnTo>
                  <a:lnTo>
                    <a:pt x="216468" y="865872"/>
                  </a:lnTo>
                  <a:lnTo>
                    <a:pt x="0" y="432936"/>
                  </a:lnTo>
                  <a:close/>
                </a:path>
              </a:pathLst>
            </a:custGeom>
            <a:noFill/>
            <a:ln w="317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dirty="0">
                  <a:solidFill>
                    <a:schemeClr val="bg1"/>
                  </a:solidFill>
                  <a:effectLst/>
                  <a:ea typeface="Calibri" panose="020F0502020204030204" pitchFamily="34" charset="0"/>
                </a:rPr>
                <a:t>‘</a:t>
              </a:r>
              <a:r>
                <a:rPr lang="en-GB" sz="1400" i="1" dirty="0">
                  <a:solidFill>
                    <a:schemeClr val="bg1"/>
                  </a:solidFill>
                  <a:effectLst/>
                  <a:ea typeface="Calibri" panose="020F0502020204030204" pitchFamily="34" charset="0"/>
                </a:rPr>
                <a:t>ownership passes upon full payment</a:t>
              </a:r>
              <a:r>
                <a:rPr lang="en-GB" sz="1400" dirty="0">
                  <a:solidFill>
                    <a:schemeClr val="bg1"/>
                  </a:solidFill>
                  <a:effectLst/>
                  <a:ea typeface="Calibri" panose="020F0502020204030204" pitchFamily="34" charset="0"/>
                </a:rPr>
                <a:t>’</a:t>
              </a:r>
              <a:endParaRPr lang="en-IN" sz="1400" b="1" dirty="0">
                <a:solidFill>
                  <a:schemeClr val="bg1"/>
                </a:solidFill>
              </a:endParaRPr>
            </a:p>
          </p:txBody>
        </p:sp>
        <p:grpSp>
          <p:nvGrpSpPr>
            <p:cNvPr id="44" name="Group 43">
              <a:extLst>
                <a:ext uri="{FF2B5EF4-FFF2-40B4-BE49-F238E27FC236}">
                  <a16:creationId xmlns:a16="http://schemas.microsoft.com/office/drawing/2014/main" id="{39098AC2-9C9A-4941-81F6-123384CD0B92}"/>
                </a:ext>
              </a:extLst>
            </p:cNvPr>
            <p:cNvGrpSpPr/>
            <p:nvPr/>
          </p:nvGrpSpPr>
          <p:grpSpPr>
            <a:xfrm>
              <a:off x="3874699" y="2912593"/>
              <a:ext cx="1600525" cy="56406"/>
              <a:chOff x="1484594" y="2544086"/>
              <a:chExt cx="1642782" cy="73891"/>
            </a:xfrm>
          </p:grpSpPr>
          <p:sp>
            <p:nvSpPr>
              <p:cNvPr id="52" name="Rectangle 51">
                <a:extLst>
                  <a:ext uri="{FF2B5EF4-FFF2-40B4-BE49-F238E27FC236}">
                    <a16:creationId xmlns:a16="http://schemas.microsoft.com/office/drawing/2014/main" id="{B8DA1114-8552-48CD-BF7F-36B2C77CBD53}"/>
                  </a:ext>
                </a:extLst>
              </p:cNvPr>
              <p:cNvSpPr/>
              <p:nvPr/>
            </p:nvSpPr>
            <p:spPr>
              <a:xfrm>
                <a:off x="1686874" y="2544086"/>
                <a:ext cx="1440502" cy="73891"/>
              </a:xfrm>
              <a:prstGeom prst="rect">
                <a:avLst/>
              </a:prstGeom>
              <a:solidFill>
                <a:srgbClr val="C4C4CD"/>
              </a:solidFill>
              <a:ln w="9525"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53" name="Rectangle 52">
                <a:extLst>
                  <a:ext uri="{FF2B5EF4-FFF2-40B4-BE49-F238E27FC236}">
                    <a16:creationId xmlns:a16="http://schemas.microsoft.com/office/drawing/2014/main" id="{919151F7-2473-4850-9CE0-F8C183C71337}"/>
                  </a:ext>
                </a:extLst>
              </p:cNvPr>
              <p:cNvSpPr/>
              <p:nvPr/>
            </p:nvSpPr>
            <p:spPr>
              <a:xfrm>
                <a:off x="1585734" y="2544086"/>
                <a:ext cx="83128" cy="73891"/>
              </a:xfrm>
              <a:prstGeom prst="rect">
                <a:avLst/>
              </a:prstGeom>
              <a:solidFill>
                <a:schemeClr val="tx2"/>
              </a:solidFill>
              <a:ln w="9525" cap="flat" cmpd="sng" algn="ctr">
                <a:solidFill>
                  <a:schemeClr val="tx2"/>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ea typeface="+mn-ea"/>
                  <a:cs typeface="+mn-cs"/>
                </a:endParaRPr>
              </a:p>
            </p:txBody>
          </p:sp>
          <p:sp>
            <p:nvSpPr>
              <p:cNvPr id="54" name="Rectangle 53">
                <a:extLst>
                  <a:ext uri="{FF2B5EF4-FFF2-40B4-BE49-F238E27FC236}">
                    <a16:creationId xmlns:a16="http://schemas.microsoft.com/office/drawing/2014/main" id="{845B62A6-2608-4620-BD1C-AFBC703CADE9}"/>
                  </a:ext>
                </a:extLst>
              </p:cNvPr>
              <p:cNvSpPr/>
              <p:nvPr/>
            </p:nvSpPr>
            <p:spPr>
              <a:xfrm>
                <a:off x="1484594" y="2544086"/>
                <a:ext cx="83128" cy="73891"/>
              </a:xfrm>
              <a:prstGeom prst="rect">
                <a:avLst/>
              </a:prstGeom>
              <a:solidFill>
                <a:sysClr val="window" lastClr="FFFFFF"/>
              </a:solidFill>
              <a:ln w="9525" cap="flat" cmpd="sng" algn="ctr">
                <a:solidFill>
                  <a:schemeClr val="tx1"/>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nvGrpSpPr>
            <p:cNvPr id="45" name="Group 44">
              <a:extLst>
                <a:ext uri="{FF2B5EF4-FFF2-40B4-BE49-F238E27FC236}">
                  <a16:creationId xmlns:a16="http://schemas.microsoft.com/office/drawing/2014/main" id="{EA4B98FC-A10D-4C64-9BC3-A915C510CA97}"/>
                </a:ext>
              </a:extLst>
            </p:cNvPr>
            <p:cNvGrpSpPr/>
            <p:nvPr/>
          </p:nvGrpSpPr>
          <p:grpSpPr>
            <a:xfrm>
              <a:off x="2153700" y="2060856"/>
              <a:ext cx="384181" cy="55099"/>
              <a:chOff x="3609347" y="2150884"/>
              <a:chExt cx="323386" cy="72179"/>
            </a:xfrm>
          </p:grpSpPr>
          <p:sp>
            <p:nvSpPr>
              <p:cNvPr id="49" name="Rectangle: Rounded Corners 48">
                <a:extLst>
                  <a:ext uri="{FF2B5EF4-FFF2-40B4-BE49-F238E27FC236}">
                    <a16:creationId xmlns:a16="http://schemas.microsoft.com/office/drawing/2014/main" id="{08FB3AA3-CBD0-4B35-BC9F-C05696715FCB}"/>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50" name="Rectangle: Rounded Corners 49">
                <a:extLst>
                  <a:ext uri="{FF2B5EF4-FFF2-40B4-BE49-F238E27FC236}">
                    <a16:creationId xmlns:a16="http://schemas.microsoft.com/office/drawing/2014/main" id="{ECF8D29B-43F8-46DC-9D28-13D29EDBAB0D}"/>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51" name="Rectangle 50">
                <a:extLst>
                  <a:ext uri="{FF2B5EF4-FFF2-40B4-BE49-F238E27FC236}">
                    <a16:creationId xmlns:a16="http://schemas.microsoft.com/office/drawing/2014/main" id="{AB180EE4-D78A-4193-B39A-56B5C7604940}"/>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grpSp>
        <p:nvGrpSpPr>
          <p:cNvPr id="57" name="Group 56">
            <a:extLst>
              <a:ext uri="{FF2B5EF4-FFF2-40B4-BE49-F238E27FC236}">
                <a16:creationId xmlns:a16="http://schemas.microsoft.com/office/drawing/2014/main" id="{3283FF54-34BE-42F8-BDE3-F5777A1A1BAF}"/>
              </a:ext>
            </a:extLst>
          </p:cNvPr>
          <p:cNvGrpSpPr/>
          <p:nvPr/>
        </p:nvGrpSpPr>
        <p:grpSpPr>
          <a:xfrm>
            <a:off x="6597579" y="2436348"/>
            <a:ext cx="4865843" cy="908143"/>
            <a:chOff x="609381" y="2060856"/>
            <a:chExt cx="4865843" cy="908143"/>
          </a:xfrm>
        </p:grpSpPr>
        <p:sp>
          <p:nvSpPr>
            <p:cNvPr id="58" name="Freeform: Shape 57">
              <a:extLst>
                <a:ext uri="{FF2B5EF4-FFF2-40B4-BE49-F238E27FC236}">
                  <a16:creationId xmlns:a16="http://schemas.microsoft.com/office/drawing/2014/main" id="{AC56E01C-C7B2-42C8-B2EC-28524DBDF2A3}"/>
                </a:ext>
              </a:extLst>
            </p:cNvPr>
            <p:cNvSpPr/>
            <p:nvPr/>
          </p:nvSpPr>
          <p:spPr>
            <a:xfrm>
              <a:off x="609381" y="2081033"/>
              <a:ext cx="4861779" cy="865872"/>
            </a:xfrm>
            <a:custGeom>
              <a:avLst/>
              <a:gdLst>
                <a:gd name="connsiteX0" fmla="*/ 216468 w 5521164"/>
                <a:gd name="connsiteY0" fmla="*/ 0 h 865872"/>
                <a:gd name="connsiteX1" fmla="*/ 1355655 w 5521164"/>
                <a:gd name="connsiteY1" fmla="*/ 0 h 865872"/>
                <a:gd name="connsiteX2" fmla="*/ 1357373 w 5521164"/>
                <a:gd name="connsiteY2" fmla="*/ 3435 h 865872"/>
                <a:gd name="connsiteX3" fmla="*/ 5521164 w 5521164"/>
                <a:gd name="connsiteY3" fmla="*/ 3435 h 865872"/>
                <a:gd name="connsiteX4" fmla="*/ 5521164 w 5521164"/>
                <a:gd name="connsiteY4" fmla="*/ 865871 h 865872"/>
                <a:gd name="connsiteX5" fmla="*/ 1355656 w 5521164"/>
                <a:gd name="connsiteY5" fmla="*/ 865871 h 865872"/>
                <a:gd name="connsiteX6" fmla="*/ 1355655 w 5521164"/>
                <a:gd name="connsiteY6" fmla="*/ 865872 h 865872"/>
                <a:gd name="connsiteX7" fmla="*/ 216468 w 5521164"/>
                <a:gd name="connsiteY7" fmla="*/ 865872 h 865872"/>
                <a:gd name="connsiteX8" fmla="*/ 0 w 5521164"/>
                <a:gd name="connsiteY8" fmla="*/ 432936 h 86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1164" h="865872">
                  <a:moveTo>
                    <a:pt x="216468" y="0"/>
                  </a:moveTo>
                  <a:lnTo>
                    <a:pt x="1355655" y="0"/>
                  </a:lnTo>
                  <a:lnTo>
                    <a:pt x="1357373" y="3435"/>
                  </a:lnTo>
                  <a:lnTo>
                    <a:pt x="5521164" y="3435"/>
                  </a:lnTo>
                  <a:lnTo>
                    <a:pt x="5521164" y="865871"/>
                  </a:lnTo>
                  <a:lnTo>
                    <a:pt x="1355656" y="865871"/>
                  </a:lnTo>
                  <a:lnTo>
                    <a:pt x="1355655" y="865872"/>
                  </a:lnTo>
                  <a:lnTo>
                    <a:pt x="216468" y="865872"/>
                  </a:lnTo>
                  <a:lnTo>
                    <a:pt x="0" y="432936"/>
                  </a:lnTo>
                  <a:close/>
                </a:path>
              </a:pathLst>
            </a:custGeom>
            <a:noFill/>
            <a:ln w="317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sz="1400" i="1" dirty="0">
                  <a:solidFill>
                    <a:schemeClr val="bg1"/>
                  </a:solidFill>
                  <a:effectLst/>
                  <a:ea typeface="Calibri" panose="020F0502020204030204" pitchFamily="34" charset="0"/>
                </a:rPr>
                <a:t>‘if ($</a:t>
              </a:r>
              <a:r>
                <a:rPr lang="en-IN" sz="1400" i="1" dirty="0" err="1">
                  <a:solidFill>
                    <a:schemeClr val="bg1"/>
                  </a:solidFill>
                  <a:effectLst/>
                  <a:ea typeface="Calibri" panose="020F0502020204030204" pitchFamily="34" charset="0"/>
                </a:rPr>
                <a:t>AmountReceived</a:t>
              </a:r>
              <a:r>
                <a:rPr lang="en-IN" sz="1400" i="1" dirty="0">
                  <a:solidFill>
                    <a:schemeClr val="bg1"/>
                  </a:solidFill>
                  <a:effectLst/>
                  <a:ea typeface="Calibri" panose="020F0502020204030204" pitchFamily="34" charset="0"/>
                </a:rPr>
                <a:t> &gt;= $Price) {§</a:t>
              </a:r>
              <a:r>
                <a:rPr lang="en-IN" sz="1400" i="1" dirty="0" err="1">
                  <a:solidFill>
                    <a:schemeClr val="bg1"/>
                  </a:solidFill>
                  <a:effectLst/>
                  <a:ea typeface="Calibri" panose="020F0502020204030204" pitchFamily="34" charset="0"/>
                </a:rPr>
                <a:t>OwnerDB</a:t>
              </a:r>
              <a:r>
                <a:rPr lang="en-IN" sz="1400" i="1" dirty="0">
                  <a:solidFill>
                    <a:schemeClr val="bg1"/>
                  </a:solidFill>
                  <a:effectLst/>
                  <a:ea typeface="Calibri" panose="020F0502020204030204" pitchFamily="34" charset="0"/>
                </a:rPr>
                <a:t>[§</a:t>
              </a:r>
              <a:r>
                <a:rPr lang="en-IN" sz="1400" i="1" dirty="0" err="1">
                  <a:solidFill>
                    <a:schemeClr val="bg1"/>
                  </a:solidFill>
                  <a:effectLst/>
                  <a:ea typeface="Calibri" panose="020F0502020204030204" pitchFamily="34" charset="0"/>
                </a:rPr>
                <a:t>AssetID</a:t>
              </a:r>
              <a:r>
                <a:rPr lang="en-IN" sz="1400" i="1" dirty="0">
                  <a:solidFill>
                    <a:schemeClr val="bg1"/>
                  </a:solidFill>
                  <a:effectLst/>
                  <a:ea typeface="Calibri" panose="020F0502020204030204" pitchFamily="34" charset="0"/>
                </a:rPr>
                <a:t>] =$</a:t>
              </a:r>
              <a:r>
                <a:rPr lang="en-IN" sz="1400" i="1" dirty="0" err="1">
                  <a:solidFill>
                    <a:schemeClr val="bg1"/>
                  </a:solidFill>
                  <a:effectLst/>
                  <a:ea typeface="Calibri" panose="020F0502020204030204" pitchFamily="34" charset="0"/>
                </a:rPr>
                <a:t>BuyerID</a:t>
              </a:r>
              <a:r>
                <a:rPr lang="en-IN" sz="1400" i="1" dirty="0">
                  <a:solidFill>
                    <a:schemeClr val="bg1"/>
                  </a:solidFill>
                  <a:effectLst/>
                  <a:ea typeface="Calibri" panose="020F0502020204030204" pitchFamily="34" charset="0"/>
                </a:rPr>
                <a:t>;}’</a:t>
              </a:r>
            </a:p>
          </p:txBody>
        </p:sp>
        <p:grpSp>
          <p:nvGrpSpPr>
            <p:cNvPr id="59" name="Group 58">
              <a:extLst>
                <a:ext uri="{FF2B5EF4-FFF2-40B4-BE49-F238E27FC236}">
                  <a16:creationId xmlns:a16="http://schemas.microsoft.com/office/drawing/2014/main" id="{6585F36B-664C-4B2A-B9AF-F153BBD2C143}"/>
                </a:ext>
              </a:extLst>
            </p:cNvPr>
            <p:cNvGrpSpPr/>
            <p:nvPr/>
          </p:nvGrpSpPr>
          <p:grpSpPr>
            <a:xfrm>
              <a:off x="3874699" y="2912593"/>
              <a:ext cx="1600525" cy="56406"/>
              <a:chOff x="1484594" y="2544086"/>
              <a:chExt cx="1642782" cy="73891"/>
            </a:xfrm>
          </p:grpSpPr>
          <p:sp>
            <p:nvSpPr>
              <p:cNvPr id="64" name="Rectangle 63">
                <a:extLst>
                  <a:ext uri="{FF2B5EF4-FFF2-40B4-BE49-F238E27FC236}">
                    <a16:creationId xmlns:a16="http://schemas.microsoft.com/office/drawing/2014/main" id="{82D7ECB3-78CA-4F73-B67B-46CA4640DA5F}"/>
                  </a:ext>
                </a:extLst>
              </p:cNvPr>
              <p:cNvSpPr/>
              <p:nvPr/>
            </p:nvSpPr>
            <p:spPr>
              <a:xfrm>
                <a:off x="1686874" y="2544086"/>
                <a:ext cx="1440502" cy="73891"/>
              </a:xfrm>
              <a:prstGeom prst="rect">
                <a:avLst/>
              </a:prstGeom>
              <a:solidFill>
                <a:srgbClr val="C4C4CD"/>
              </a:solidFill>
              <a:ln w="9525"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65" name="Rectangle 64">
                <a:extLst>
                  <a:ext uri="{FF2B5EF4-FFF2-40B4-BE49-F238E27FC236}">
                    <a16:creationId xmlns:a16="http://schemas.microsoft.com/office/drawing/2014/main" id="{53AB6B57-5C2A-45F0-80B7-E8C360DC7673}"/>
                  </a:ext>
                </a:extLst>
              </p:cNvPr>
              <p:cNvSpPr/>
              <p:nvPr/>
            </p:nvSpPr>
            <p:spPr>
              <a:xfrm>
                <a:off x="1585734" y="2544086"/>
                <a:ext cx="83128" cy="73891"/>
              </a:xfrm>
              <a:prstGeom prst="rect">
                <a:avLst/>
              </a:prstGeom>
              <a:solidFill>
                <a:schemeClr val="tx2"/>
              </a:solidFill>
              <a:ln w="9525" cap="flat" cmpd="sng" algn="ctr">
                <a:solidFill>
                  <a:schemeClr val="tx2"/>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ea typeface="+mn-ea"/>
                  <a:cs typeface="+mn-cs"/>
                </a:endParaRPr>
              </a:p>
            </p:txBody>
          </p:sp>
          <p:sp>
            <p:nvSpPr>
              <p:cNvPr id="66" name="Rectangle 65">
                <a:extLst>
                  <a:ext uri="{FF2B5EF4-FFF2-40B4-BE49-F238E27FC236}">
                    <a16:creationId xmlns:a16="http://schemas.microsoft.com/office/drawing/2014/main" id="{F5ACE482-C0A9-4A5B-80B1-5138DAD2E320}"/>
                  </a:ext>
                </a:extLst>
              </p:cNvPr>
              <p:cNvSpPr/>
              <p:nvPr/>
            </p:nvSpPr>
            <p:spPr>
              <a:xfrm>
                <a:off x="1484594" y="2544086"/>
                <a:ext cx="83128" cy="73891"/>
              </a:xfrm>
              <a:prstGeom prst="rect">
                <a:avLst/>
              </a:prstGeom>
              <a:solidFill>
                <a:sysClr val="window" lastClr="FFFFFF"/>
              </a:solidFill>
              <a:ln w="9525" cap="flat" cmpd="sng" algn="ctr">
                <a:solidFill>
                  <a:schemeClr val="tx1"/>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nvGrpSpPr>
            <p:cNvPr id="60" name="Group 59">
              <a:extLst>
                <a:ext uri="{FF2B5EF4-FFF2-40B4-BE49-F238E27FC236}">
                  <a16:creationId xmlns:a16="http://schemas.microsoft.com/office/drawing/2014/main" id="{B5007D51-CB5C-484C-9A88-AD1BC13C5F1F}"/>
                </a:ext>
              </a:extLst>
            </p:cNvPr>
            <p:cNvGrpSpPr/>
            <p:nvPr/>
          </p:nvGrpSpPr>
          <p:grpSpPr>
            <a:xfrm>
              <a:off x="2153700" y="2060856"/>
              <a:ext cx="384181" cy="55099"/>
              <a:chOff x="3609347" y="2150884"/>
              <a:chExt cx="323386" cy="72179"/>
            </a:xfrm>
          </p:grpSpPr>
          <p:sp>
            <p:nvSpPr>
              <p:cNvPr id="61" name="Rectangle: Rounded Corners 60">
                <a:extLst>
                  <a:ext uri="{FF2B5EF4-FFF2-40B4-BE49-F238E27FC236}">
                    <a16:creationId xmlns:a16="http://schemas.microsoft.com/office/drawing/2014/main" id="{B001A221-0E25-48E1-B589-07BA8503724F}"/>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62" name="Rectangle: Rounded Corners 61">
                <a:extLst>
                  <a:ext uri="{FF2B5EF4-FFF2-40B4-BE49-F238E27FC236}">
                    <a16:creationId xmlns:a16="http://schemas.microsoft.com/office/drawing/2014/main" id="{26042EA7-CAFD-4200-887A-A02618525675}"/>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63" name="Rectangle 62">
                <a:extLst>
                  <a:ext uri="{FF2B5EF4-FFF2-40B4-BE49-F238E27FC236}">
                    <a16:creationId xmlns:a16="http://schemas.microsoft.com/office/drawing/2014/main" id="{1476A3C3-2750-4D13-A51E-8014133BB9F3}"/>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grpSp>
        <p:nvGrpSpPr>
          <p:cNvPr id="67" name="Group 66">
            <a:extLst>
              <a:ext uri="{FF2B5EF4-FFF2-40B4-BE49-F238E27FC236}">
                <a16:creationId xmlns:a16="http://schemas.microsoft.com/office/drawing/2014/main" id="{F085B6BC-2473-48EA-A319-AAEF78D5C732}"/>
              </a:ext>
            </a:extLst>
          </p:cNvPr>
          <p:cNvGrpSpPr/>
          <p:nvPr/>
        </p:nvGrpSpPr>
        <p:grpSpPr>
          <a:xfrm>
            <a:off x="609381" y="3866724"/>
            <a:ext cx="10849556" cy="908143"/>
            <a:chOff x="510322" y="2626616"/>
            <a:chExt cx="10849556" cy="908143"/>
          </a:xfrm>
        </p:grpSpPr>
        <p:sp>
          <p:nvSpPr>
            <p:cNvPr id="68" name="Rectangle 67">
              <a:extLst>
                <a:ext uri="{FF2B5EF4-FFF2-40B4-BE49-F238E27FC236}">
                  <a16:creationId xmlns:a16="http://schemas.microsoft.com/office/drawing/2014/main" id="{CCF092D2-56BE-46F8-BF47-0570D92A8D55}"/>
                </a:ext>
              </a:extLst>
            </p:cNvPr>
            <p:cNvSpPr/>
            <p:nvPr/>
          </p:nvSpPr>
          <p:spPr>
            <a:xfrm>
              <a:off x="1665015" y="2650228"/>
              <a:ext cx="9694863" cy="862436"/>
            </a:xfrm>
            <a:prstGeom prst="rect">
              <a:avLst/>
            </a:prstGeom>
            <a:noFill/>
            <a:ln w="3175" cap="flat" cmpd="sng" algn="ctr">
              <a:solidFill>
                <a:srgbClr val="747480"/>
              </a:solidFill>
              <a:prstDash val="solid"/>
            </a:ln>
            <a:effectLst/>
          </p:spPr>
          <p:txBody>
            <a:bodyPr lIns="140400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621689">
                <a:spcBef>
                  <a:spcPct val="20000"/>
                </a:spcBef>
                <a:spcAft>
                  <a:spcPts val="600"/>
                </a:spcAft>
                <a:buClr>
                  <a:srgbClr val="FFE600"/>
                </a:buClr>
                <a:buSzPct val="80000"/>
                <a:defRPr/>
              </a:pPr>
              <a:endParaRPr lang="en-IN" sz="1600" b="1" kern="0" dirty="0">
                <a:solidFill>
                  <a:prstClr val="white"/>
                </a:solidFill>
                <a:latin typeface="EYInterstate Light" panose="02000506000000020004" pitchFamily="2" charset="0"/>
              </a:endParaRPr>
            </a:p>
            <a:p>
              <a:pPr lvl="0" defTabSz="621689">
                <a:spcBef>
                  <a:spcPct val="20000"/>
                </a:spcBef>
                <a:spcAft>
                  <a:spcPts val="600"/>
                </a:spcAft>
                <a:buClr>
                  <a:srgbClr val="FFE600"/>
                </a:buClr>
                <a:buSzPct val="80000"/>
                <a:defRPr/>
              </a:pPr>
              <a:r>
                <a:rPr lang="en-IN" sz="1600" kern="0" dirty="0">
                  <a:solidFill>
                    <a:prstClr val="white"/>
                  </a:solidFill>
                  <a:latin typeface="EYInterstate Light" panose="02000506000000020004" pitchFamily="2" charset="0"/>
                </a:rPr>
                <a:t>Smart Contracts used for </a:t>
              </a:r>
              <a:r>
                <a:rPr lang="en-IN" sz="1600" b="1" kern="0" dirty="0">
                  <a:solidFill>
                    <a:prstClr val="white"/>
                  </a:solidFill>
                  <a:latin typeface="EYInterstate Light" panose="02000506000000020004" pitchFamily="2" charset="0"/>
                </a:rPr>
                <a:t>consumers</a:t>
              </a:r>
              <a:r>
                <a:rPr lang="en-IN" sz="1600" kern="0" dirty="0">
                  <a:solidFill>
                    <a:prstClr val="white"/>
                  </a:solidFill>
                  <a:latin typeface="EYInterstate Light" panose="02000506000000020004" pitchFamily="2" charset="0"/>
                </a:rPr>
                <a:t> always have to be translated into </a:t>
              </a:r>
              <a:r>
                <a:rPr lang="en-IN" sz="1600" b="1" i="1" kern="0" dirty="0">
                  <a:solidFill>
                    <a:prstClr val="white"/>
                  </a:solidFill>
                  <a:latin typeface="EYInterstate Light" panose="02000506000000020004" pitchFamily="2" charset="0"/>
                </a:rPr>
                <a:t>natural language</a:t>
              </a:r>
              <a:r>
                <a:rPr lang="en-IN" sz="1600" b="1" kern="0" dirty="0">
                  <a:solidFill>
                    <a:prstClr val="white"/>
                  </a:solidFill>
                  <a:latin typeface="EYInterstate Light" panose="02000506000000020004" pitchFamily="2" charset="0"/>
                </a:rPr>
                <a:t>.</a:t>
              </a:r>
            </a:p>
            <a:p>
              <a:pPr lvl="0" defTabSz="621689">
                <a:spcBef>
                  <a:spcPct val="20000"/>
                </a:spcBef>
                <a:spcAft>
                  <a:spcPts val="600"/>
                </a:spcAft>
                <a:buClr>
                  <a:srgbClr val="FFE600"/>
                </a:buClr>
                <a:buSzPct val="80000"/>
                <a:defRPr/>
              </a:pPr>
              <a:endParaRPr lang="en-IN" sz="1600" b="1" kern="0" dirty="0">
                <a:solidFill>
                  <a:prstClr val="white"/>
                </a:solidFill>
                <a:latin typeface="EYInterstate Light" panose="02000506000000020004" pitchFamily="2" charset="0"/>
              </a:endParaRPr>
            </a:p>
          </p:txBody>
        </p:sp>
        <p:grpSp>
          <p:nvGrpSpPr>
            <p:cNvPr id="69" name="Group 68">
              <a:extLst>
                <a:ext uri="{FF2B5EF4-FFF2-40B4-BE49-F238E27FC236}">
                  <a16:creationId xmlns:a16="http://schemas.microsoft.com/office/drawing/2014/main" id="{FF1F5A18-EE30-4ECE-B4CB-B46F17D61206}"/>
                </a:ext>
              </a:extLst>
            </p:cNvPr>
            <p:cNvGrpSpPr/>
            <p:nvPr/>
          </p:nvGrpSpPr>
          <p:grpSpPr>
            <a:xfrm>
              <a:off x="4430959" y="3478353"/>
              <a:ext cx="1600525" cy="56406"/>
              <a:chOff x="1484594" y="2544086"/>
              <a:chExt cx="1642782" cy="73891"/>
            </a:xfrm>
          </p:grpSpPr>
          <p:sp>
            <p:nvSpPr>
              <p:cNvPr id="78" name="Rectangle 77">
                <a:extLst>
                  <a:ext uri="{FF2B5EF4-FFF2-40B4-BE49-F238E27FC236}">
                    <a16:creationId xmlns:a16="http://schemas.microsoft.com/office/drawing/2014/main" id="{FEA8187C-DBC8-464A-9E89-3BBB9B840E57}"/>
                  </a:ext>
                </a:extLst>
              </p:cNvPr>
              <p:cNvSpPr/>
              <p:nvPr/>
            </p:nvSpPr>
            <p:spPr>
              <a:xfrm>
                <a:off x="1686874" y="2544086"/>
                <a:ext cx="1440502" cy="73891"/>
              </a:xfrm>
              <a:prstGeom prst="rect">
                <a:avLst/>
              </a:prstGeom>
              <a:solidFill>
                <a:srgbClr val="C4C4CD"/>
              </a:solidFill>
              <a:ln w="9525" cap="flat" cmpd="sng" algn="ctr">
                <a:solidFill>
                  <a:srgbClr val="C4C4CD"/>
                </a:solid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9" name="Rectangle 78">
                <a:extLst>
                  <a:ext uri="{FF2B5EF4-FFF2-40B4-BE49-F238E27FC236}">
                    <a16:creationId xmlns:a16="http://schemas.microsoft.com/office/drawing/2014/main" id="{4C23FD31-2B5C-46F6-9334-59A75B329525}"/>
                  </a:ext>
                </a:extLst>
              </p:cNvPr>
              <p:cNvSpPr/>
              <p:nvPr/>
            </p:nvSpPr>
            <p:spPr>
              <a:xfrm>
                <a:off x="1585734" y="2544086"/>
                <a:ext cx="83128" cy="73891"/>
              </a:xfrm>
              <a:prstGeom prst="rect">
                <a:avLst/>
              </a:prstGeom>
              <a:solidFill>
                <a:schemeClr val="tx2"/>
              </a:solidFill>
              <a:ln w="9525" cap="flat" cmpd="sng" algn="ctr">
                <a:solidFill>
                  <a:schemeClr val="tx2"/>
                </a:solid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ea typeface="+mn-ea"/>
                  <a:cs typeface="+mn-cs"/>
                </a:endParaRPr>
              </a:p>
            </p:txBody>
          </p:sp>
          <p:sp>
            <p:nvSpPr>
              <p:cNvPr id="80" name="Rectangle 79">
                <a:extLst>
                  <a:ext uri="{FF2B5EF4-FFF2-40B4-BE49-F238E27FC236}">
                    <a16:creationId xmlns:a16="http://schemas.microsoft.com/office/drawing/2014/main" id="{9EAFEA46-0919-4B4F-BF09-206406418A53}"/>
                  </a:ext>
                </a:extLst>
              </p:cNvPr>
              <p:cNvSpPr/>
              <p:nvPr/>
            </p:nvSpPr>
            <p:spPr>
              <a:xfrm>
                <a:off x="1484594" y="2544086"/>
                <a:ext cx="83128" cy="73891"/>
              </a:xfrm>
              <a:prstGeom prst="rect">
                <a:avLst/>
              </a:prstGeom>
              <a:solidFill>
                <a:sysClr val="window" lastClr="FFFFFF"/>
              </a:solidFill>
              <a:ln w="9525" cap="flat" cmpd="sng" algn="ctr">
                <a:solidFill>
                  <a:schemeClr val="tx1"/>
                </a:solid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nvGrpSpPr>
            <p:cNvPr id="70" name="Group 69">
              <a:extLst>
                <a:ext uri="{FF2B5EF4-FFF2-40B4-BE49-F238E27FC236}">
                  <a16:creationId xmlns:a16="http://schemas.microsoft.com/office/drawing/2014/main" id="{4E6A199B-A18B-41AC-843A-FE5A9D126DF9}"/>
                </a:ext>
              </a:extLst>
            </p:cNvPr>
            <p:cNvGrpSpPr/>
            <p:nvPr/>
          </p:nvGrpSpPr>
          <p:grpSpPr>
            <a:xfrm>
              <a:off x="2054640" y="2626616"/>
              <a:ext cx="384181" cy="55099"/>
              <a:chOff x="3609347" y="2150884"/>
              <a:chExt cx="323386" cy="72179"/>
            </a:xfrm>
          </p:grpSpPr>
          <p:sp>
            <p:nvSpPr>
              <p:cNvPr id="75" name="Rectangle: Rounded Corners 74">
                <a:extLst>
                  <a:ext uri="{FF2B5EF4-FFF2-40B4-BE49-F238E27FC236}">
                    <a16:creationId xmlns:a16="http://schemas.microsoft.com/office/drawing/2014/main" id="{5E619D99-204C-43A9-A569-899D4F28E684}"/>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6" name="Rectangle: Rounded Corners 75">
                <a:extLst>
                  <a:ext uri="{FF2B5EF4-FFF2-40B4-BE49-F238E27FC236}">
                    <a16:creationId xmlns:a16="http://schemas.microsoft.com/office/drawing/2014/main" id="{C680472E-136B-4D21-84AD-0C057A325CF9}"/>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7" name="Rectangle 76">
                <a:extLst>
                  <a:ext uri="{FF2B5EF4-FFF2-40B4-BE49-F238E27FC236}">
                    <a16:creationId xmlns:a16="http://schemas.microsoft.com/office/drawing/2014/main" id="{9E583020-1714-4C73-BF61-BFEFB0C54330}"/>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nvGrpSpPr>
            <p:cNvPr id="71" name="Group 70">
              <a:extLst>
                <a:ext uri="{FF2B5EF4-FFF2-40B4-BE49-F238E27FC236}">
                  <a16:creationId xmlns:a16="http://schemas.microsoft.com/office/drawing/2014/main" id="{07FD2FAD-EB4A-428F-83B2-7D2996D439B5}"/>
                </a:ext>
              </a:extLst>
            </p:cNvPr>
            <p:cNvGrpSpPr/>
            <p:nvPr/>
          </p:nvGrpSpPr>
          <p:grpSpPr>
            <a:xfrm>
              <a:off x="510322" y="2646793"/>
              <a:ext cx="1572123" cy="865872"/>
              <a:chOff x="765175" y="1752600"/>
              <a:chExt cx="1600200" cy="1371600"/>
            </a:xfrm>
          </p:grpSpPr>
          <p:sp>
            <p:nvSpPr>
              <p:cNvPr id="73" name="Hexagon 72">
                <a:extLst>
                  <a:ext uri="{FF2B5EF4-FFF2-40B4-BE49-F238E27FC236}">
                    <a16:creationId xmlns:a16="http://schemas.microsoft.com/office/drawing/2014/main" id="{ADF525BC-22EC-4664-989D-6041C3CBDA5D}"/>
                  </a:ext>
                </a:extLst>
              </p:cNvPr>
              <p:cNvSpPr/>
              <p:nvPr/>
            </p:nvSpPr>
            <p:spPr>
              <a:xfrm>
                <a:off x="765175" y="1752600"/>
                <a:ext cx="1600200" cy="1371600"/>
              </a:xfrm>
              <a:prstGeom prst="hexagon">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sz="1200" dirty="0">
                  <a:solidFill>
                    <a:schemeClr val="tx1"/>
                  </a:solidFill>
                </a:endParaRPr>
              </a:p>
            </p:txBody>
          </p:sp>
          <p:sp>
            <p:nvSpPr>
              <p:cNvPr id="74" name="Oval 73">
                <a:extLst>
                  <a:ext uri="{FF2B5EF4-FFF2-40B4-BE49-F238E27FC236}">
                    <a16:creationId xmlns:a16="http://schemas.microsoft.com/office/drawing/2014/main" id="{06DD5C08-73E0-4BD2-8515-06C1F53FB872}"/>
                  </a:ext>
                </a:extLst>
              </p:cNvPr>
              <p:cNvSpPr/>
              <p:nvPr/>
            </p:nvSpPr>
            <p:spPr>
              <a:xfrm>
                <a:off x="1222663" y="1905000"/>
                <a:ext cx="685223" cy="106680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IN" b="1" dirty="0">
                    <a:solidFill>
                      <a:schemeClr val="bg1"/>
                    </a:solidFill>
                  </a:rPr>
                  <a:t>B2C</a:t>
                </a:r>
              </a:p>
            </p:txBody>
          </p:sp>
        </p:grpSp>
      </p:grpSp>
    </p:spTree>
    <p:extLst>
      <p:ext uri="{BB962C8B-B14F-4D97-AF65-F5344CB8AC3E}">
        <p14:creationId xmlns:p14="http://schemas.microsoft.com/office/powerpoint/2010/main" val="7496924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2706D-AA00-496A-91CC-DD3FC1A76565}"/>
              </a:ext>
            </a:extLst>
          </p:cNvPr>
          <p:cNvSpPr>
            <a:spLocks noGrp="1"/>
          </p:cNvSpPr>
          <p:nvPr>
            <p:ph type="title"/>
          </p:nvPr>
        </p:nvSpPr>
        <p:spPr/>
        <p:txBody>
          <a:bodyPr/>
          <a:lstStyle/>
          <a:p>
            <a:r>
              <a:rPr lang="de-AT" dirty="0" err="1"/>
              <a:t>Principle</a:t>
            </a:r>
            <a:r>
              <a:rPr lang="de-AT" dirty="0"/>
              <a:t> 11</a:t>
            </a:r>
          </a:p>
        </p:txBody>
      </p:sp>
      <p:sp>
        <p:nvSpPr>
          <p:cNvPr id="3" name="Text Placeholder 2">
            <a:extLst>
              <a:ext uri="{FF2B5EF4-FFF2-40B4-BE49-F238E27FC236}">
                <a16:creationId xmlns:a16="http://schemas.microsoft.com/office/drawing/2014/main" id="{501E4347-26F9-4ED3-BABA-11B803B2F85B}"/>
              </a:ext>
            </a:extLst>
          </p:cNvPr>
          <p:cNvSpPr>
            <a:spLocks noGrp="1"/>
          </p:cNvSpPr>
          <p:nvPr>
            <p:ph type="body" sz="quarter" idx="15"/>
          </p:nvPr>
        </p:nvSpPr>
        <p:spPr/>
        <p:txBody>
          <a:bodyPr>
            <a:normAutofit/>
          </a:bodyPr>
          <a:lstStyle/>
          <a:p>
            <a:r>
              <a:rPr lang="de-AT" dirty="0"/>
              <a:t>On Chain Dispute Resolution Agreements </a:t>
            </a:r>
          </a:p>
        </p:txBody>
      </p:sp>
      <p:sp>
        <p:nvSpPr>
          <p:cNvPr id="4" name="Slide Number Placeholder 3">
            <a:extLst>
              <a:ext uri="{FF2B5EF4-FFF2-40B4-BE49-F238E27FC236}">
                <a16:creationId xmlns:a16="http://schemas.microsoft.com/office/drawing/2014/main" id="{BD620FF8-B9B9-4EA3-AB6F-0A809786CE35}"/>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1</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DE28356F-8C3D-4519-B226-7E97C7086B5B}"/>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grpSp>
        <p:nvGrpSpPr>
          <p:cNvPr id="86" name="Group 85">
            <a:extLst>
              <a:ext uri="{FF2B5EF4-FFF2-40B4-BE49-F238E27FC236}">
                <a16:creationId xmlns:a16="http://schemas.microsoft.com/office/drawing/2014/main" id="{62304C89-D0EB-4328-A8D0-F3C6617D3EA7}"/>
              </a:ext>
            </a:extLst>
          </p:cNvPr>
          <p:cNvGrpSpPr/>
          <p:nvPr/>
        </p:nvGrpSpPr>
        <p:grpSpPr>
          <a:xfrm>
            <a:off x="609601" y="1135296"/>
            <a:ext cx="10981142" cy="778819"/>
            <a:chOff x="609601" y="1135296"/>
            <a:chExt cx="10981142" cy="778819"/>
          </a:xfrm>
        </p:grpSpPr>
        <p:sp>
          <p:nvSpPr>
            <p:cNvPr id="87" name="Rectangle 86">
              <a:extLst>
                <a:ext uri="{FF2B5EF4-FFF2-40B4-BE49-F238E27FC236}">
                  <a16:creationId xmlns:a16="http://schemas.microsoft.com/office/drawing/2014/main" id="{956C25CE-9E14-4512-B1A8-465DB71F32D8}"/>
                </a:ext>
              </a:extLst>
            </p:cNvPr>
            <p:cNvSpPr/>
            <p:nvPr/>
          </p:nvSpPr>
          <p:spPr>
            <a:xfrm>
              <a:off x="609601" y="1135296"/>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Aft>
                  <a:spcPts val="0"/>
                </a:spcAft>
                <a:buClr>
                  <a:srgbClr val="FFE600"/>
                </a:buClr>
                <a:buSzPct val="80000"/>
                <a:tabLst/>
              </a:pPr>
              <a:r>
                <a:rPr lang="en-GB" sz="1600" b="1" kern="0" dirty="0">
                  <a:solidFill>
                    <a:schemeClr val="bg1"/>
                  </a:solidFill>
                </a:rPr>
                <a:t>Arbitration agreements </a:t>
              </a:r>
              <a:r>
                <a:rPr lang="en-GB" sz="1600" kern="0" dirty="0">
                  <a:solidFill>
                    <a:schemeClr val="bg1"/>
                  </a:solidFill>
                </a:rPr>
                <a:t>implemented in the respective executing Smart Contract may be agreed upon between businesses</a:t>
              </a:r>
              <a:endParaRPr lang="de-AT" sz="1600" b="1" kern="0" dirty="0">
                <a:solidFill>
                  <a:schemeClr val="bg1"/>
                </a:solidFill>
              </a:endParaRPr>
            </a:p>
          </p:txBody>
        </p:sp>
        <p:grpSp>
          <p:nvGrpSpPr>
            <p:cNvPr id="88" name="Group 87">
              <a:extLst>
                <a:ext uri="{FF2B5EF4-FFF2-40B4-BE49-F238E27FC236}">
                  <a16:creationId xmlns:a16="http://schemas.microsoft.com/office/drawing/2014/main" id="{5881B4DD-B6A5-4346-8475-8FB051019E60}"/>
                </a:ext>
              </a:extLst>
            </p:cNvPr>
            <p:cNvGrpSpPr/>
            <p:nvPr/>
          </p:nvGrpSpPr>
          <p:grpSpPr>
            <a:xfrm>
              <a:off x="11444402" y="1393610"/>
              <a:ext cx="146341" cy="239780"/>
              <a:chOff x="4011103" y="2105333"/>
              <a:chExt cx="146341" cy="239780"/>
            </a:xfrm>
          </p:grpSpPr>
          <p:grpSp>
            <p:nvGrpSpPr>
              <p:cNvPr id="93" name="Group 92">
                <a:extLst>
                  <a:ext uri="{FF2B5EF4-FFF2-40B4-BE49-F238E27FC236}">
                    <a16:creationId xmlns:a16="http://schemas.microsoft.com/office/drawing/2014/main" id="{FDB99207-A3DD-41BC-ACD9-789730D03EC8}"/>
                  </a:ext>
                </a:extLst>
              </p:cNvPr>
              <p:cNvGrpSpPr/>
              <p:nvPr/>
            </p:nvGrpSpPr>
            <p:grpSpPr>
              <a:xfrm rot="10800000">
                <a:off x="4011103" y="2137035"/>
                <a:ext cx="40849" cy="208078"/>
                <a:chOff x="906170" y="2076504"/>
                <a:chExt cx="79774" cy="406348"/>
              </a:xfrm>
            </p:grpSpPr>
            <p:sp>
              <p:nvSpPr>
                <p:cNvPr id="104" name="Rectangle 103">
                  <a:extLst>
                    <a:ext uri="{FF2B5EF4-FFF2-40B4-BE49-F238E27FC236}">
                      <a16:creationId xmlns:a16="http://schemas.microsoft.com/office/drawing/2014/main" id="{1E1F560F-D4B1-4C70-A3DB-B8B862AC690E}"/>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105" name="Rectangle 104">
                  <a:extLst>
                    <a:ext uri="{FF2B5EF4-FFF2-40B4-BE49-F238E27FC236}">
                      <a16:creationId xmlns:a16="http://schemas.microsoft.com/office/drawing/2014/main" id="{7D98A69A-7B08-451F-BF35-FB75B77E68E6}"/>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106" name="Rectangle 105">
                  <a:extLst>
                    <a:ext uri="{FF2B5EF4-FFF2-40B4-BE49-F238E27FC236}">
                      <a16:creationId xmlns:a16="http://schemas.microsoft.com/office/drawing/2014/main" id="{9CE61C1B-DBD2-4988-AA79-BD927F52B835}"/>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94" name="Straight Connector 93">
                <a:extLst>
                  <a:ext uri="{FF2B5EF4-FFF2-40B4-BE49-F238E27FC236}">
                    <a16:creationId xmlns:a16="http://schemas.microsoft.com/office/drawing/2014/main" id="{95533773-ED5B-4F2F-9002-9DF2B82E9F5C}"/>
                  </a:ext>
                </a:extLst>
              </p:cNvPr>
              <p:cNvCxnSpPr>
                <a:stCxn id="106"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08A461E-8A91-41EA-AB16-ABD0EC566612}"/>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96" name="Oval 95">
                <a:extLst>
                  <a:ext uri="{FF2B5EF4-FFF2-40B4-BE49-F238E27FC236}">
                    <a16:creationId xmlns:a16="http://schemas.microsoft.com/office/drawing/2014/main" id="{5698E31A-6EA5-4BF4-AA4A-97E6BDAEC46B}"/>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97" name="Straight Connector 96">
                <a:extLst>
                  <a:ext uri="{FF2B5EF4-FFF2-40B4-BE49-F238E27FC236}">
                    <a16:creationId xmlns:a16="http://schemas.microsoft.com/office/drawing/2014/main" id="{49D35FD4-2243-41CA-BBD5-386E36FACD69}"/>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D7147A3-5F2F-4C3B-9212-D74DA2CAFC8E}"/>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5B35134-E701-4CB1-9C9E-217CA4FC3793}"/>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CABCBA20-D5E2-4738-A247-E3D3CB74D26C}"/>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101" name="Group 100">
                <a:extLst>
                  <a:ext uri="{FF2B5EF4-FFF2-40B4-BE49-F238E27FC236}">
                    <a16:creationId xmlns:a16="http://schemas.microsoft.com/office/drawing/2014/main" id="{5AF994B8-89CD-47A7-8F9C-867AD0BCB6FB}"/>
                  </a:ext>
                </a:extLst>
              </p:cNvPr>
              <p:cNvGrpSpPr/>
              <p:nvPr/>
            </p:nvGrpSpPr>
            <p:grpSpPr>
              <a:xfrm rot="10800000">
                <a:off x="4051953" y="2312907"/>
                <a:ext cx="105491" cy="26825"/>
                <a:chOff x="1476522" y="2083779"/>
                <a:chExt cx="206012" cy="52386"/>
              </a:xfrm>
            </p:grpSpPr>
            <p:cxnSp>
              <p:nvCxnSpPr>
                <p:cNvPr id="102" name="Straight Connector 101">
                  <a:extLst>
                    <a:ext uri="{FF2B5EF4-FFF2-40B4-BE49-F238E27FC236}">
                      <a16:creationId xmlns:a16="http://schemas.microsoft.com/office/drawing/2014/main" id="{9444F990-A018-4311-B179-BBF0E1897697}"/>
                    </a:ext>
                  </a:extLst>
                </p:cNvPr>
                <p:cNvCxnSpPr>
                  <a:stCxn id="104" idx="1"/>
                  <a:endCxn id="103"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04797F10-7388-4DC3-A07C-A1866A0CCA42}"/>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89" name="Group 88">
              <a:extLst>
                <a:ext uri="{FF2B5EF4-FFF2-40B4-BE49-F238E27FC236}">
                  <a16:creationId xmlns:a16="http://schemas.microsoft.com/office/drawing/2014/main" id="{8F24C482-D8EC-4F0C-9EEA-F138822F56A7}"/>
                </a:ext>
              </a:extLst>
            </p:cNvPr>
            <p:cNvGrpSpPr/>
            <p:nvPr/>
          </p:nvGrpSpPr>
          <p:grpSpPr>
            <a:xfrm>
              <a:off x="10735874" y="1859016"/>
              <a:ext cx="384181" cy="55099"/>
              <a:chOff x="3609347" y="2150884"/>
              <a:chExt cx="323386" cy="72179"/>
            </a:xfrm>
          </p:grpSpPr>
          <p:sp>
            <p:nvSpPr>
              <p:cNvPr id="90" name="Rectangle: Rounded Corners 89">
                <a:extLst>
                  <a:ext uri="{FF2B5EF4-FFF2-40B4-BE49-F238E27FC236}">
                    <a16:creationId xmlns:a16="http://schemas.microsoft.com/office/drawing/2014/main" id="{CF3D4963-8CC7-4724-97CF-BCCE56C9D755}"/>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91" name="Rectangle: Rounded Corners 90">
                <a:extLst>
                  <a:ext uri="{FF2B5EF4-FFF2-40B4-BE49-F238E27FC236}">
                    <a16:creationId xmlns:a16="http://schemas.microsoft.com/office/drawing/2014/main" id="{7342AB55-E77C-46F1-9631-63867C0F1407}"/>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92" name="Rectangle 91">
                <a:extLst>
                  <a:ext uri="{FF2B5EF4-FFF2-40B4-BE49-F238E27FC236}">
                    <a16:creationId xmlns:a16="http://schemas.microsoft.com/office/drawing/2014/main" id="{4830FA6F-FC35-4561-AFBB-547FEC63F71B}"/>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sp>
        <p:nvSpPr>
          <p:cNvPr id="107" name="TextBox 106">
            <a:extLst>
              <a:ext uri="{FF2B5EF4-FFF2-40B4-BE49-F238E27FC236}">
                <a16:creationId xmlns:a16="http://schemas.microsoft.com/office/drawing/2014/main" id="{2BDC8D11-FE4D-440D-8FFC-3652039CA203}"/>
              </a:ext>
            </a:extLst>
          </p:cNvPr>
          <p:cNvSpPr txBox="1"/>
          <p:nvPr/>
        </p:nvSpPr>
        <p:spPr>
          <a:xfrm>
            <a:off x="609600" y="2184616"/>
            <a:ext cx="5272236" cy="2597570"/>
          </a:xfrm>
          <a:prstGeom prst="rect">
            <a:avLst/>
          </a:prstGeom>
          <a:solidFill>
            <a:srgbClr val="747480">
              <a:alpha val="21000"/>
            </a:srgbClr>
          </a:solidFill>
          <a:ln w="0" cap="flat">
            <a:noFill/>
            <a:prstDash val="solid"/>
            <a:miter/>
          </a:ln>
        </p:spPr>
        <p:txBody>
          <a:bodyPr lIns="73025" tIns="73025" rIns="73025" bIns="73025" rtlCol="0" anchor="ctr"/>
          <a:lstStyle>
            <a:defPPr>
              <a:defRPr lang="en-US"/>
            </a:defPPr>
            <a:lvl1pPr algn="ctr">
              <a:defRPr sz="1100"/>
            </a:lvl1pPr>
          </a:lstStyle>
          <a:p>
            <a:pPr marL="216000" indent="-216000" algn="l">
              <a:buClr>
                <a:schemeClr val="tx2"/>
              </a:buClr>
              <a:buFont typeface="EYInterstate Light" panose="02000506000000020004" pitchFamily="2" charset="0"/>
              <a:buChar char="•"/>
            </a:pPr>
            <a:r>
              <a:rPr lang="en-IN" sz="1400" dirty="0">
                <a:solidFill>
                  <a:schemeClr val="bg1"/>
                </a:solidFill>
              </a:rPr>
              <a:t>Such arbitration agreements may also agree upon a dispute resolution on-chain.</a:t>
            </a:r>
          </a:p>
          <a:p>
            <a:pPr marL="216000" indent="-216000" algn="l">
              <a:buClr>
                <a:schemeClr val="tx2"/>
              </a:buClr>
              <a:buFont typeface="EYInterstate Light" panose="02000506000000020004" pitchFamily="2" charset="0"/>
              <a:buChar char="•"/>
            </a:pPr>
            <a:endParaRPr lang="en-IN" sz="1400" dirty="0">
              <a:solidFill>
                <a:schemeClr val="bg1"/>
              </a:solidFill>
            </a:endParaRPr>
          </a:p>
          <a:p>
            <a:pPr marL="216000" indent="-216000" algn="l">
              <a:buClr>
                <a:schemeClr val="tx2"/>
              </a:buClr>
              <a:buFont typeface="EYInterstate Light" panose="02000506000000020004" pitchFamily="2" charset="0"/>
              <a:buChar char="•"/>
            </a:pPr>
            <a:r>
              <a:rPr lang="en-IN" sz="1400" dirty="0">
                <a:solidFill>
                  <a:schemeClr val="bg1"/>
                </a:solidFill>
              </a:rPr>
              <a:t>Natural language text string could theoretically be inserted into bytecode</a:t>
            </a:r>
          </a:p>
          <a:p>
            <a:pPr marL="432000" indent="-216000" algn="l">
              <a:buClr>
                <a:schemeClr val="tx2"/>
              </a:buClr>
              <a:buFont typeface="EYInterstate Light" panose="02000506000000020004" pitchFamily="2" charset="0"/>
              <a:buChar char="•"/>
            </a:pPr>
            <a:r>
              <a:rPr lang="en-IN" sz="1400" dirty="0">
                <a:solidFill>
                  <a:schemeClr val="bg1"/>
                </a:solidFill>
              </a:rPr>
              <a:t>Visual inspection of the bytecode would reveal the arbitration clause</a:t>
            </a:r>
          </a:p>
          <a:p>
            <a:pPr marL="432000" indent="-216000" algn="l">
              <a:buClr>
                <a:schemeClr val="tx2"/>
              </a:buClr>
              <a:buFont typeface="EYInterstate Light" panose="02000506000000020004" pitchFamily="2" charset="0"/>
              <a:buChar char="•"/>
            </a:pPr>
            <a:r>
              <a:rPr lang="en-IN" sz="1400" dirty="0">
                <a:solidFill>
                  <a:schemeClr val="bg1"/>
                </a:solidFill>
              </a:rPr>
              <a:t>Legal qualification depends upon the rules as to conclusion of legally binding agreements</a:t>
            </a:r>
          </a:p>
          <a:p>
            <a:pPr marL="285750" indent="-285750" algn="l">
              <a:buClr>
                <a:schemeClr val="tx2"/>
              </a:buClr>
              <a:buFont typeface="EYInterstate Light" panose="02000506000000020004" pitchFamily="2" charset="0"/>
              <a:buChar char="•"/>
            </a:pPr>
            <a:endParaRPr lang="en-IN" sz="1400" dirty="0">
              <a:solidFill>
                <a:schemeClr val="bg1"/>
              </a:solidFill>
            </a:endParaRPr>
          </a:p>
          <a:p>
            <a:pPr marL="216000" indent="-216000" algn="l">
              <a:buClr>
                <a:schemeClr val="tx2"/>
              </a:buClr>
              <a:buFont typeface="EYInterstate Light" panose="02000506000000020004" pitchFamily="2" charset="0"/>
              <a:buChar char="•"/>
            </a:pPr>
            <a:r>
              <a:rPr lang="en-IN" sz="1400" dirty="0">
                <a:solidFill>
                  <a:schemeClr val="bg1"/>
                </a:solidFill>
              </a:rPr>
              <a:t>No such agreement if party is consumer</a:t>
            </a:r>
          </a:p>
        </p:txBody>
      </p:sp>
      <p:sp>
        <p:nvSpPr>
          <p:cNvPr id="109" name="Freeform: Shape 108">
            <a:extLst>
              <a:ext uri="{FF2B5EF4-FFF2-40B4-BE49-F238E27FC236}">
                <a16:creationId xmlns:a16="http://schemas.microsoft.com/office/drawing/2014/main" id="{D6723813-FFBD-4215-A9A0-46796D2387C4}"/>
              </a:ext>
            </a:extLst>
          </p:cNvPr>
          <p:cNvSpPr/>
          <p:nvPr/>
        </p:nvSpPr>
        <p:spPr>
          <a:xfrm>
            <a:off x="7806199" y="3125134"/>
            <a:ext cx="37556" cy="15024"/>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110" name="Freeform: Shape 109">
            <a:extLst>
              <a:ext uri="{FF2B5EF4-FFF2-40B4-BE49-F238E27FC236}">
                <a16:creationId xmlns:a16="http://schemas.microsoft.com/office/drawing/2014/main" id="{F6D38A8E-DB84-4928-89A7-87E45DF403B3}"/>
              </a:ext>
            </a:extLst>
          </p:cNvPr>
          <p:cNvSpPr/>
          <p:nvPr/>
        </p:nvSpPr>
        <p:spPr>
          <a:xfrm>
            <a:off x="7765185" y="2972498"/>
            <a:ext cx="37556" cy="751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111" name="Freeform: Shape 110">
            <a:extLst>
              <a:ext uri="{FF2B5EF4-FFF2-40B4-BE49-F238E27FC236}">
                <a16:creationId xmlns:a16="http://schemas.microsoft.com/office/drawing/2014/main" id="{6E174DB1-50B5-432C-A83C-BB76E1E99973}"/>
              </a:ext>
            </a:extLst>
          </p:cNvPr>
          <p:cNvSpPr/>
          <p:nvPr/>
        </p:nvSpPr>
        <p:spPr>
          <a:xfrm>
            <a:off x="8169305" y="2246887"/>
            <a:ext cx="22537" cy="37556"/>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112" name="Freeform: Shape 111">
            <a:extLst>
              <a:ext uri="{FF2B5EF4-FFF2-40B4-BE49-F238E27FC236}">
                <a16:creationId xmlns:a16="http://schemas.microsoft.com/office/drawing/2014/main" id="{EEC82CB9-A7A1-4E79-A6B4-0EE00D21B1D9}"/>
              </a:ext>
            </a:extLst>
          </p:cNvPr>
          <p:cNvSpPr/>
          <p:nvPr/>
        </p:nvSpPr>
        <p:spPr>
          <a:xfrm>
            <a:off x="7788167" y="3075331"/>
            <a:ext cx="37556" cy="15024"/>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113" name="Freeform: Shape 112">
            <a:extLst>
              <a:ext uri="{FF2B5EF4-FFF2-40B4-BE49-F238E27FC236}">
                <a16:creationId xmlns:a16="http://schemas.microsoft.com/office/drawing/2014/main" id="{44503A66-0B87-4656-A615-20CDEB6F7F4E}"/>
              </a:ext>
            </a:extLst>
          </p:cNvPr>
          <p:cNvSpPr/>
          <p:nvPr/>
        </p:nvSpPr>
        <p:spPr>
          <a:xfrm>
            <a:off x="7760304" y="2920142"/>
            <a:ext cx="37556" cy="751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114" name="Freeform: Shape 113">
            <a:extLst>
              <a:ext uri="{FF2B5EF4-FFF2-40B4-BE49-F238E27FC236}">
                <a16:creationId xmlns:a16="http://schemas.microsoft.com/office/drawing/2014/main" id="{DBA202E5-9C47-4408-B3FD-68E5CD1E632B}"/>
              </a:ext>
            </a:extLst>
          </p:cNvPr>
          <p:cNvSpPr/>
          <p:nvPr/>
        </p:nvSpPr>
        <p:spPr>
          <a:xfrm>
            <a:off x="7783662" y="2700130"/>
            <a:ext cx="37556" cy="15024"/>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115" name="Freeform: Shape 114">
            <a:extLst>
              <a:ext uri="{FF2B5EF4-FFF2-40B4-BE49-F238E27FC236}">
                <a16:creationId xmlns:a16="http://schemas.microsoft.com/office/drawing/2014/main" id="{79DEACF2-4680-4CB1-A2A9-D4B952C4EB12}"/>
              </a:ext>
            </a:extLst>
          </p:cNvPr>
          <p:cNvSpPr/>
          <p:nvPr/>
        </p:nvSpPr>
        <p:spPr>
          <a:xfrm>
            <a:off x="7759702" y="2866060"/>
            <a:ext cx="37556" cy="751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116" name="Freeform: Shape 115">
            <a:extLst>
              <a:ext uri="{FF2B5EF4-FFF2-40B4-BE49-F238E27FC236}">
                <a16:creationId xmlns:a16="http://schemas.microsoft.com/office/drawing/2014/main" id="{264F3BA7-CC66-46F0-86E3-1775CF808E11}"/>
              </a:ext>
            </a:extLst>
          </p:cNvPr>
          <p:cNvSpPr/>
          <p:nvPr/>
        </p:nvSpPr>
        <p:spPr>
          <a:xfrm>
            <a:off x="7800413" y="2646723"/>
            <a:ext cx="37556" cy="15024"/>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117" name="Freeform: Shape 116">
            <a:extLst>
              <a:ext uri="{FF2B5EF4-FFF2-40B4-BE49-F238E27FC236}">
                <a16:creationId xmlns:a16="http://schemas.microsoft.com/office/drawing/2014/main" id="{E21031FF-9E98-4450-B367-59D1E6E2A996}"/>
              </a:ext>
            </a:extLst>
          </p:cNvPr>
          <p:cNvSpPr/>
          <p:nvPr/>
        </p:nvSpPr>
        <p:spPr>
          <a:xfrm>
            <a:off x="7763233" y="2810173"/>
            <a:ext cx="37556" cy="751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118" name="Freeform: Shape 117">
            <a:extLst>
              <a:ext uri="{FF2B5EF4-FFF2-40B4-BE49-F238E27FC236}">
                <a16:creationId xmlns:a16="http://schemas.microsoft.com/office/drawing/2014/main" id="{A80036C3-0F67-419B-804B-132773687484}"/>
              </a:ext>
            </a:extLst>
          </p:cNvPr>
          <p:cNvSpPr/>
          <p:nvPr/>
        </p:nvSpPr>
        <p:spPr>
          <a:xfrm>
            <a:off x="7771269" y="2754741"/>
            <a:ext cx="37556" cy="751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119" name="Freeform: Shape 118">
            <a:extLst>
              <a:ext uri="{FF2B5EF4-FFF2-40B4-BE49-F238E27FC236}">
                <a16:creationId xmlns:a16="http://schemas.microsoft.com/office/drawing/2014/main" id="{BF31012C-59AF-4AA5-BDC3-052D19421AED}"/>
              </a:ext>
            </a:extLst>
          </p:cNvPr>
          <p:cNvSpPr/>
          <p:nvPr/>
        </p:nvSpPr>
        <p:spPr>
          <a:xfrm>
            <a:off x="8039279" y="3415304"/>
            <a:ext cx="30048" cy="37556"/>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120" name="Freeform: Shape 119">
            <a:extLst>
              <a:ext uri="{FF2B5EF4-FFF2-40B4-BE49-F238E27FC236}">
                <a16:creationId xmlns:a16="http://schemas.microsoft.com/office/drawing/2014/main" id="{4B58453F-8E01-43EF-9AAE-9EB6ABE1E0C4}"/>
              </a:ext>
            </a:extLst>
          </p:cNvPr>
          <p:cNvSpPr/>
          <p:nvPr/>
        </p:nvSpPr>
        <p:spPr>
          <a:xfrm>
            <a:off x="7995937" y="3381949"/>
            <a:ext cx="30048" cy="30048"/>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121" name="Freeform: Shape 120">
            <a:extLst>
              <a:ext uri="{FF2B5EF4-FFF2-40B4-BE49-F238E27FC236}">
                <a16:creationId xmlns:a16="http://schemas.microsoft.com/office/drawing/2014/main" id="{A2764CA8-84A9-4008-9217-452E4EB1C1E6}"/>
              </a:ext>
            </a:extLst>
          </p:cNvPr>
          <p:cNvSpPr/>
          <p:nvPr/>
        </p:nvSpPr>
        <p:spPr>
          <a:xfrm>
            <a:off x="8085252" y="3445421"/>
            <a:ext cx="22537" cy="37556"/>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122" name="Freeform: Shape 121">
            <a:extLst>
              <a:ext uri="{FF2B5EF4-FFF2-40B4-BE49-F238E27FC236}">
                <a16:creationId xmlns:a16="http://schemas.microsoft.com/office/drawing/2014/main" id="{11BC0517-43D3-4CC7-AFC2-C88A679C1232}"/>
              </a:ext>
            </a:extLst>
          </p:cNvPr>
          <p:cNvSpPr/>
          <p:nvPr/>
        </p:nvSpPr>
        <p:spPr>
          <a:xfrm>
            <a:off x="7828354" y="3173431"/>
            <a:ext cx="37556" cy="22537"/>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123" name="Freeform: Shape 122">
            <a:extLst>
              <a:ext uri="{FF2B5EF4-FFF2-40B4-BE49-F238E27FC236}">
                <a16:creationId xmlns:a16="http://schemas.microsoft.com/office/drawing/2014/main" id="{0763D1D4-3D30-4FD5-8C54-382D010F3F52}"/>
              </a:ext>
            </a:extLst>
          </p:cNvPr>
          <p:cNvSpPr/>
          <p:nvPr/>
        </p:nvSpPr>
        <p:spPr>
          <a:xfrm>
            <a:off x="8133700" y="3472013"/>
            <a:ext cx="22537" cy="37556"/>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124" name="Freeform: Shape 123">
            <a:extLst>
              <a:ext uri="{FF2B5EF4-FFF2-40B4-BE49-F238E27FC236}">
                <a16:creationId xmlns:a16="http://schemas.microsoft.com/office/drawing/2014/main" id="{E360D2A3-CDFC-476C-B9F9-D958A6F2FB10}"/>
              </a:ext>
            </a:extLst>
          </p:cNvPr>
          <p:cNvSpPr/>
          <p:nvPr/>
        </p:nvSpPr>
        <p:spPr>
          <a:xfrm>
            <a:off x="7955525" y="3345444"/>
            <a:ext cx="30048" cy="30048"/>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125" name="Freeform: Shape 124">
            <a:extLst>
              <a:ext uri="{FF2B5EF4-FFF2-40B4-BE49-F238E27FC236}">
                <a16:creationId xmlns:a16="http://schemas.microsoft.com/office/drawing/2014/main" id="{3274676C-E725-4151-9C6D-D09DC448123A}"/>
              </a:ext>
            </a:extLst>
          </p:cNvPr>
          <p:cNvSpPr/>
          <p:nvPr/>
        </p:nvSpPr>
        <p:spPr>
          <a:xfrm>
            <a:off x="7854573" y="3219776"/>
            <a:ext cx="37556" cy="22537"/>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126" name="Freeform: Shape 125">
            <a:extLst>
              <a:ext uri="{FF2B5EF4-FFF2-40B4-BE49-F238E27FC236}">
                <a16:creationId xmlns:a16="http://schemas.microsoft.com/office/drawing/2014/main" id="{A438FA36-4D5D-4B45-8906-6FC6C48FAFC6}"/>
              </a:ext>
            </a:extLst>
          </p:cNvPr>
          <p:cNvSpPr/>
          <p:nvPr/>
        </p:nvSpPr>
        <p:spPr>
          <a:xfrm>
            <a:off x="7884691" y="3264096"/>
            <a:ext cx="37556" cy="22537"/>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127" name="Freeform: Shape 126">
            <a:extLst>
              <a:ext uri="{FF2B5EF4-FFF2-40B4-BE49-F238E27FC236}">
                <a16:creationId xmlns:a16="http://schemas.microsoft.com/office/drawing/2014/main" id="{4B5363E0-24B5-4741-8484-B47F512A2C17}"/>
              </a:ext>
            </a:extLst>
          </p:cNvPr>
          <p:cNvSpPr/>
          <p:nvPr/>
        </p:nvSpPr>
        <p:spPr>
          <a:xfrm>
            <a:off x="7918418" y="3306083"/>
            <a:ext cx="30048" cy="30048"/>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128" name="Freeform: Shape 127">
            <a:extLst>
              <a:ext uri="{FF2B5EF4-FFF2-40B4-BE49-F238E27FC236}">
                <a16:creationId xmlns:a16="http://schemas.microsoft.com/office/drawing/2014/main" id="{E19495C9-DF82-4493-8C39-9BC49C4555D3}"/>
              </a:ext>
            </a:extLst>
          </p:cNvPr>
          <p:cNvSpPr/>
          <p:nvPr/>
        </p:nvSpPr>
        <p:spPr>
          <a:xfrm>
            <a:off x="7774424" y="3024403"/>
            <a:ext cx="37556" cy="751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129" name="Freeform: Shape 128">
            <a:extLst>
              <a:ext uri="{FF2B5EF4-FFF2-40B4-BE49-F238E27FC236}">
                <a16:creationId xmlns:a16="http://schemas.microsoft.com/office/drawing/2014/main" id="{E31031B4-2230-4895-A8C3-E2903BDE93F6}"/>
              </a:ext>
            </a:extLst>
          </p:cNvPr>
          <p:cNvSpPr/>
          <p:nvPr/>
        </p:nvSpPr>
        <p:spPr>
          <a:xfrm>
            <a:off x="8956588" y="2421454"/>
            <a:ext cx="30048" cy="30048"/>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58DABF75-1EEA-467F-85EC-7B123B6BE4BB}"/>
              </a:ext>
            </a:extLst>
          </p:cNvPr>
          <p:cNvSpPr/>
          <p:nvPr/>
        </p:nvSpPr>
        <p:spPr>
          <a:xfrm>
            <a:off x="9046500" y="2559066"/>
            <a:ext cx="37556" cy="22537"/>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7286DBE7-B63F-4B61-B76B-AA22CBF478A0}"/>
              </a:ext>
            </a:extLst>
          </p:cNvPr>
          <p:cNvSpPr/>
          <p:nvPr/>
        </p:nvSpPr>
        <p:spPr>
          <a:xfrm>
            <a:off x="9069335" y="2609543"/>
            <a:ext cx="37556" cy="15024"/>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30D417F3-30C0-4C52-A27E-D7072575F5D2}"/>
              </a:ext>
            </a:extLst>
          </p:cNvPr>
          <p:cNvSpPr/>
          <p:nvPr/>
        </p:nvSpPr>
        <p:spPr>
          <a:xfrm>
            <a:off x="8989938" y="2464796"/>
            <a:ext cx="37556" cy="30048"/>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95DA541C-9AFA-4CA1-8A46-F97989E8A613}"/>
              </a:ext>
            </a:extLst>
          </p:cNvPr>
          <p:cNvSpPr/>
          <p:nvPr/>
        </p:nvSpPr>
        <p:spPr>
          <a:xfrm>
            <a:off x="9088267" y="2661747"/>
            <a:ext cx="37556" cy="15024"/>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965A0FA5-91E2-4ED2-84BB-7AB1DAA977D5}"/>
              </a:ext>
            </a:extLst>
          </p:cNvPr>
          <p:cNvSpPr/>
          <p:nvPr/>
        </p:nvSpPr>
        <p:spPr>
          <a:xfrm>
            <a:off x="9103213" y="2715531"/>
            <a:ext cx="37556" cy="15024"/>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135" name="Freeform: Shape 134">
            <a:extLst>
              <a:ext uri="{FF2B5EF4-FFF2-40B4-BE49-F238E27FC236}">
                <a16:creationId xmlns:a16="http://schemas.microsoft.com/office/drawing/2014/main" id="{B663AB98-E5A9-4BF3-A1F2-25D58114733F}"/>
              </a:ext>
            </a:extLst>
          </p:cNvPr>
          <p:cNvSpPr/>
          <p:nvPr/>
        </p:nvSpPr>
        <p:spPr>
          <a:xfrm>
            <a:off x="9123417" y="2881906"/>
            <a:ext cx="37556" cy="751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136" name="Freeform: Shape 135">
            <a:extLst>
              <a:ext uri="{FF2B5EF4-FFF2-40B4-BE49-F238E27FC236}">
                <a16:creationId xmlns:a16="http://schemas.microsoft.com/office/drawing/2014/main" id="{D7B1E147-789B-4E95-A57E-B7A41C29DF80}"/>
              </a:ext>
            </a:extLst>
          </p:cNvPr>
          <p:cNvSpPr/>
          <p:nvPr/>
        </p:nvSpPr>
        <p:spPr>
          <a:xfrm>
            <a:off x="9120791" y="2825873"/>
            <a:ext cx="37556" cy="751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137" name="Freeform: Shape 136">
            <a:extLst>
              <a:ext uri="{FF2B5EF4-FFF2-40B4-BE49-F238E27FC236}">
                <a16:creationId xmlns:a16="http://schemas.microsoft.com/office/drawing/2014/main" id="{2557B205-D539-47E6-9A55-C749452CB3D9}"/>
              </a:ext>
            </a:extLst>
          </p:cNvPr>
          <p:cNvSpPr/>
          <p:nvPr/>
        </p:nvSpPr>
        <p:spPr>
          <a:xfrm>
            <a:off x="9114105" y="2770362"/>
            <a:ext cx="37556" cy="751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138" name="Freeform: Shape 137">
            <a:extLst>
              <a:ext uri="{FF2B5EF4-FFF2-40B4-BE49-F238E27FC236}">
                <a16:creationId xmlns:a16="http://schemas.microsoft.com/office/drawing/2014/main" id="{856A9A2A-F476-48D1-ACAC-EACCE73653F5}"/>
              </a:ext>
            </a:extLst>
          </p:cNvPr>
          <p:cNvSpPr/>
          <p:nvPr/>
        </p:nvSpPr>
        <p:spPr>
          <a:xfrm>
            <a:off x="8071729" y="2301043"/>
            <a:ext cx="22537" cy="37556"/>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139" name="Freeform: Shape 138">
            <a:extLst>
              <a:ext uri="{FF2B5EF4-FFF2-40B4-BE49-F238E27FC236}">
                <a16:creationId xmlns:a16="http://schemas.microsoft.com/office/drawing/2014/main" id="{37EEAEDA-8E91-45EB-BE92-4A2E0E44B0BF}"/>
              </a:ext>
            </a:extLst>
          </p:cNvPr>
          <p:cNvSpPr/>
          <p:nvPr/>
        </p:nvSpPr>
        <p:spPr>
          <a:xfrm>
            <a:off x="7875604" y="2497168"/>
            <a:ext cx="37556" cy="22537"/>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BD056633-8CFF-479C-89FF-DEDAB2FED7C2}"/>
              </a:ext>
            </a:extLst>
          </p:cNvPr>
          <p:cNvSpPr/>
          <p:nvPr/>
        </p:nvSpPr>
        <p:spPr>
          <a:xfrm>
            <a:off x="7908353" y="2451874"/>
            <a:ext cx="30048" cy="30048"/>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141" name="Freeform: Shape 140">
            <a:extLst>
              <a:ext uri="{FF2B5EF4-FFF2-40B4-BE49-F238E27FC236}">
                <a16:creationId xmlns:a16="http://schemas.microsoft.com/office/drawing/2014/main" id="{A44507D8-0498-46D9-8347-E7BBE039CF26}"/>
              </a:ext>
            </a:extLst>
          </p:cNvPr>
          <p:cNvSpPr/>
          <p:nvPr/>
        </p:nvSpPr>
        <p:spPr>
          <a:xfrm>
            <a:off x="7846533" y="2544868"/>
            <a:ext cx="37556" cy="22537"/>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285B7349-05E6-44A1-9D1C-F071964A742A}"/>
              </a:ext>
            </a:extLst>
          </p:cNvPr>
          <p:cNvSpPr/>
          <p:nvPr/>
        </p:nvSpPr>
        <p:spPr>
          <a:xfrm>
            <a:off x="7944559" y="2409363"/>
            <a:ext cx="30048" cy="30048"/>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3E7E785B-81AA-4FC2-9C12-9587AAC3E351}"/>
              </a:ext>
            </a:extLst>
          </p:cNvPr>
          <p:cNvSpPr/>
          <p:nvPr/>
        </p:nvSpPr>
        <p:spPr>
          <a:xfrm>
            <a:off x="7983993" y="2369925"/>
            <a:ext cx="30048" cy="30048"/>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144" name="Freeform: Shape 143">
            <a:extLst>
              <a:ext uri="{FF2B5EF4-FFF2-40B4-BE49-F238E27FC236}">
                <a16:creationId xmlns:a16="http://schemas.microsoft.com/office/drawing/2014/main" id="{134ADC60-6CC2-43DB-A454-6D0D1C312EBC}"/>
              </a:ext>
            </a:extLst>
          </p:cNvPr>
          <p:cNvSpPr/>
          <p:nvPr/>
        </p:nvSpPr>
        <p:spPr>
          <a:xfrm>
            <a:off x="8920156" y="2381042"/>
            <a:ext cx="30048" cy="30048"/>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145" name="Freeform: Shape 144">
            <a:extLst>
              <a:ext uri="{FF2B5EF4-FFF2-40B4-BE49-F238E27FC236}">
                <a16:creationId xmlns:a16="http://schemas.microsoft.com/office/drawing/2014/main" id="{19091082-EA25-4A97-8D81-056D1BFEC875}"/>
              </a:ext>
            </a:extLst>
          </p:cNvPr>
          <p:cNvSpPr/>
          <p:nvPr/>
        </p:nvSpPr>
        <p:spPr>
          <a:xfrm>
            <a:off x="8119351" y="2272050"/>
            <a:ext cx="22537" cy="37556"/>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146" name="Freeform: Shape 145">
            <a:extLst>
              <a:ext uri="{FF2B5EF4-FFF2-40B4-BE49-F238E27FC236}">
                <a16:creationId xmlns:a16="http://schemas.microsoft.com/office/drawing/2014/main" id="{23ADA890-271C-44A3-9E2E-685B454D5ECD}"/>
              </a:ext>
            </a:extLst>
          </p:cNvPr>
          <p:cNvSpPr/>
          <p:nvPr/>
        </p:nvSpPr>
        <p:spPr>
          <a:xfrm>
            <a:off x="7821444" y="2594895"/>
            <a:ext cx="37556" cy="22537"/>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B613CC1D-615A-4DD1-AB07-67EEEF9A9996}"/>
              </a:ext>
            </a:extLst>
          </p:cNvPr>
          <p:cNvSpPr/>
          <p:nvPr/>
        </p:nvSpPr>
        <p:spPr>
          <a:xfrm>
            <a:off x="8026436" y="2333645"/>
            <a:ext cx="30048" cy="30048"/>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148" name="Freeform: Shape 147">
            <a:extLst>
              <a:ext uri="{FF2B5EF4-FFF2-40B4-BE49-F238E27FC236}">
                <a16:creationId xmlns:a16="http://schemas.microsoft.com/office/drawing/2014/main" id="{74F11DFE-845B-447C-ABEE-5EC8A354C136}"/>
              </a:ext>
            </a:extLst>
          </p:cNvPr>
          <p:cNvSpPr/>
          <p:nvPr/>
        </p:nvSpPr>
        <p:spPr>
          <a:xfrm>
            <a:off x="9019987" y="2510765"/>
            <a:ext cx="37556" cy="22537"/>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149" name="Freeform: Shape 148">
            <a:extLst>
              <a:ext uri="{FF2B5EF4-FFF2-40B4-BE49-F238E27FC236}">
                <a16:creationId xmlns:a16="http://schemas.microsoft.com/office/drawing/2014/main" id="{A29679A8-B0A6-468E-806A-D273146682BE}"/>
              </a:ext>
            </a:extLst>
          </p:cNvPr>
          <p:cNvSpPr/>
          <p:nvPr/>
        </p:nvSpPr>
        <p:spPr>
          <a:xfrm>
            <a:off x="8880722" y="2343862"/>
            <a:ext cx="30048" cy="30048"/>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150" name="Freeform: Shape 149">
            <a:extLst>
              <a:ext uri="{FF2B5EF4-FFF2-40B4-BE49-F238E27FC236}">
                <a16:creationId xmlns:a16="http://schemas.microsoft.com/office/drawing/2014/main" id="{6721437E-822F-47C2-A86B-C7683F4D5A4F}"/>
              </a:ext>
            </a:extLst>
          </p:cNvPr>
          <p:cNvSpPr/>
          <p:nvPr/>
        </p:nvSpPr>
        <p:spPr>
          <a:xfrm>
            <a:off x="8844364" y="3424465"/>
            <a:ext cx="22537" cy="37556"/>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151" name="Freeform: Shape 150">
            <a:extLst>
              <a:ext uri="{FF2B5EF4-FFF2-40B4-BE49-F238E27FC236}">
                <a16:creationId xmlns:a16="http://schemas.microsoft.com/office/drawing/2014/main" id="{9DE1D6D1-9ED1-4CC0-AC4A-7ED8E9561443}"/>
              </a:ext>
            </a:extLst>
          </p:cNvPr>
          <p:cNvSpPr/>
          <p:nvPr/>
        </p:nvSpPr>
        <p:spPr>
          <a:xfrm>
            <a:off x="8838730" y="2310135"/>
            <a:ext cx="22537" cy="37556"/>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49D7E74C-85A6-404A-AA12-8DE29912EB6D}"/>
              </a:ext>
            </a:extLst>
          </p:cNvPr>
          <p:cNvSpPr/>
          <p:nvPr/>
        </p:nvSpPr>
        <p:spPr>
          <a:xfrm>
            <a:off x="8885980" y="3392014"/>
            <a:ext cx="30048" cy="30048"/>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8A0F92FE-33BE-4A29-974D-4E99D560F558}"/>
              </a:ext>
            </a:extLst>
          </p:cNvPr>
          <p:cNvSpPr/>
          <p:nvPr/>
        </p:nvSpPr>
        <p:spPr>
          <a:xfrm>
            <a:off x="8800347" y="3453461"/>
            <a:ext cx="22537" cy="37556"/>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2A12DB91-ECCB-40C7-BBAB-9C2482FCCEA3}"/>
              </a:ext>
            </a:extLst>
          </p:cNvPr>
          <p:cNvSpPr/>
          <p:nvPr/>
        </p:nvSpPr>
        <p:spPr>
          <a:xfrm>
            <a:off x="8754154" y="3478923"/>
            <a:ext cx="22537" cy="37556"/>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C6C23713-2192-4EC0-9D51-C24E6A1E5FEC}"/>
              </a:ext>
            </a:extLst>
          </p:cNvPr>
          <p:cNvSpPr/>
          <p:nvPr/>
        </p:nvSpPr>
        <p:spPr>
          <a:xfrm>
            <a:off x="8925042" y="3356336"/>
            <a:ext cx="30048" cy="30048"/>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76D1319D-1799-4433-BCC6-3FF868070454}"/>
              </a:ext>
            </a:extLst>
          </p:cNvPr>
          <p:cNvSpPr/>
          <p:nvPr/>
        </p:nvSpPr>
        <p:spPr>
          <a:xfrm>
            <a:off x="8747766" y="2253724"/>
            <a:ext cx="22537" cy="37556"/>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157" name="Freeform: Shape 156">
            <a:extLst>
              <a:ext uri="{FF2B5EF4-FFF2-40B4-BE49-F238E27FC236}">
                <a16:creationId xmlns:a16="http://schemas.microsoft.com/office/drawing/2014/main" id="{3EE6EBF2-28D3-4E64-8DE5-DA1606BB6EA6}"/>
              </a:ext>
            </a:extLst>
          </p:cNvPr>
          <p:cNvSpPr/>
          <p:nvPr/>
        </p:nvSpPr>
        <p:spPr>
          <a:xfrm>
            <a:off x="8794341" y="2280013"/>
            <a:ext cx="22537" cy="37556"/>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158" name="Freeform: Shape 157">
            <a:extLst>
              <a:ext uri="{FF2B5EF4-FFF2-40B4-BE49-F238E27FC236}">
                <a16:creationId xmlns:a16="http://schemas.microsoft.com/office/drawing/2014/main" id="{D6DA2002-3417-442B-B8A6-AAC4DBEDF613}"/>
              </a:ext>
            </a:extLst>
          </p:cNvPr>
          <p:cNvSpPr/>
          <p:nvPr/>
        </p:nvSpPr>
        <p:spPr>
          <a:xfrm>
            <a:off x="9049732" y="3186875"/>
            <a:ext cx="37556" cy="22537"/>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159" name="Freeform: Shape 158">
            <a:extLst>
              <a:ext uri="{FF2B5EF4-FFF2-40B4-BE49-F238E27FC236}">
                <a16:creationId xmlns:a16="http://schemas.microsoft.com/office/drawing/2014/main" id="{ED9B54C2-E8D9-4659-AD06-DEED6A0BE603}"/>
              </a:ext>
            </a:extLst>
          </p:cNvPr>
          <p:cNvSpPr/>
          <p:nvPr/>
        </p:nvSpPr>
        <p:spPr>
          <a:xfrm>
            <a:off x="9090591" y="3089676"/>
            <a:ext cx="37556" cy="15024"/>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160" name="Freeform: Shape 159">
            <a:extLst>
              <a:ext uri="{FF2B5EF4-FFF2-40B4-BE49-F238E27FC236}">
                <a16:creationId xmlns:a16="http://schemas.microsoft.com/office/drawing/2014/main" id="{2D7812E8-7516-44C0-A474-480A61A8105E}"/>
              </a:ext>
            </a:extLst>
          </p:cNvPr>
          <p:cNvSpPr/>
          <p:nvPr/>
        </p:nvSpPr>
        <p:spPr>
          <a:xfrm>
            <a:off x="9115308" y="2987297"/>
            <a:ext cx="37556" cy="751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161" name="Freeform: Shape 160">
            <a:extLst>
              <a:ext uri="{FF2B5EF4-FFF2-40B4-BE49-F238E27FC236}">
                <a16:creationId xmlns:a16="http://schemas.microsoft.com/office/drawing/2014/main" id="{F50F4753-AB09-4CF1-BF1F-AFB3A7069FF1}"/>
              </a:ext>
            </a:extLst>
          </p:cNvPr>
          <p:cNvSpPr/>
          <p:nvPr/>
        </p:nvSpPr>
        <p:spPr>
          <a:xfrm>
            <a:off x="9104940" y="3038900"/>
            <a:ext cx="37556" cy="15024"/>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162" name="Freeform: Shape 161">
            <a:extLst>
              <a:ext uri="{FF2B5EF4-FFF2-40B4-BE49-F238E27FC236}">
                <a16:creationId xmlns:a16="http://schemas.microsoft.com/office/drawing/2014/main" id="{82DD0283-BE3C-42AA-9B57-4CCA857F15B2}"/>
              </a:ext>
            </a:extLst>
          </p:cNvPr>
          <p:cNvSpPr/>
          <p:nvPr/>
        </p:nvSpPr>
        <p:spPr>
          <a:xfrm>
            <a:off x="9121388" y="2934942"/>
            <a:ext cx="37556" cy="751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163" name="Freeform: Shape 162">
            <a:extLst>
              <a:ext uri="{FF2B5EF4-FFF2-40B4-BE49-F238E27FC236}">
                <a16:creationId xmlns:a16="http://schemas.microsoft.com/office/drawing/2014/main" id="{F54DE3D8-219D-4460-8E0F-BDCB34C47DD2}"/>
              </a:ext>
            </a:extLst>
          </p:cNvPr>
          <p:cNvSpPr/>
          <p:nvPr/>
        </p:nvSpPr>
        <p:spPr>
          <a:xfrm>
            <a:off x="8706155" y="3500633"/>
            <a:ext cx="15024" cy="37556"/>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164" name="Freeform: Shape 163">
            <a:extLst>
              <a:ext uri="{FF2B5EF4-FFF2-40B4-BE49-F238E27FC236}">
                <a16:creationId xmlns:a16="http://schemas.microsoft.com/office/drawing/2014/main" id="{2A3C2475-97DA-43AF-89F9-29609DA725BE}"/>
              </a:ext>
            </a:extLst>
          </p:cNvPr>
          <p:cNvSpPr/>
          <p:nvPr/>
        </p:nvSpPr>
        <p:spPr>
          <a:xfrm>
            <a:off x="8994071" y="3276563"/>
            <a:ext cx="37556" cy="30048"/>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165" name="Freeform: Shape 164">
            <a:extLst>
              <a:ext uri="{FF2B5EF4-FFF2-40B4-BE49-F238E27FC236}">
                <a16:creationId xmlns:a16="http://schemas.microsoft.com/office/drawing/2014/main" id="{B1356F3C-E1E1-4928-91AB-6069D27B8E3B}"/>
              </a:ext>
            </a:extLst>
          </p:cNvPr>
          <p:cNvSpPr/>
          <p:nvPr/>
        </p:nvSpPr>
        <p:spPr>
          <a:xfrm>
            <a:off x="9072113" y="3139029"/>
            <a:ext cx="37556" cy="15024"/>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166" name="Freeform: Shape 165">
            <a:extLst>
              <a:ext uri="{FF2B5EF4-FFF2-40B4-BE49-F238E27FC236}">
                <a16:creationId xmlns:a16="http://schemas.microsoft.com/office/drawing/2014/main" id="{959D8975-1FAA-44E7-8DC8-66DE4C01C004}"/>
              </a:ext>
            </a:extLst>
          </p:cNvPr>
          <p:cNvSpPr/>
          <p:nvPr/>
        </p:nvSpPr>
        <p:spPr>
          <a:xfrm>
            <a:off x="9023665" y="3232848"/>
            <a:ext cx="37556" cy="22537"/>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167" name="Freeform: Shape 166">
            <a:extLst>
              <a:ext uri="{FF2B5EF4-FFF2-40B4-BE49-F238E27FC236}">
                <a16:creationId xmlns:a16="http://schemas.microsoft.com/office/drawing/2014/main" id="{EB6C70A4-7F61-4723-AD16-B27F96A6B7D6}"/>
              </a:ext>
            </a:extLst>
          </p:cNvPr>
          <p:cNvSpPr/>
          <p:nvPr/>
        </p:nvSpPr>
        <p:spPr>
          <a:xfrm>
            <a:off x="8961092" y="3317801"/>
            <a:ext cx="30048" cy="30048"/>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168" name="Freeform: Shape 167">
            <a:extLst>
              <a:ext uri="{FF2B5EF4-FFF2-40B4-BE49-F238E27FC236}">
                <a16:creationId xmlns:a16="http://schemas.microsoft.com/office/drawing/2014/main" id="{8426A7F5-00DA-4B74-AE00-83D5299521F4}"/>
              </a:ext>
            </a:extLst>
          </p:cNvPr>
          <p:cNvSpPr/>
          <p:nvPr/>
        </p:nvSpPr>
        <p:spPr>
          <a:xfrm>
            <a:off x="8290391" y="3528726"/>
            <a:ext cx="15024" cy="37556"/>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169" name="Freeform: Shape 168">
            <a:extLst>
              <a:ext uri="{FF2B5EF4-FFF2-40B4-BE49-F238E27FC236}">
                <a16:creationId xmlns:a16="http://schemas.microsoft.com/office/drawing/2014/main" id="{539AA678-2FA2-485E-A07C-971AB4AE8CC8}"/>
              </a:ext>
            </a:extLst>
          </p:cNvPr>
          <p:cNvSpPr/>
          <p:nvPr/>
        </p:nvSpPr>
        <p:spPr>
          <a:xfrm>
            <a:off x="8345299" y="3539618"/>
            <a:ext cx="7512" cy="37556"/>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170" name="Freeform: Shape 169">
            <a:extLst>
              <a:ext uri="{FF2B5EF4-FFF2-40B4-BE49-F238E27FC236}">
                <a16:creationId xmlns:a16="http://schemas.microsoft.com/office/drawing/2014/main" id="{C24BB97C-2626-4BBF-A85C-A4A2851E7026}"/>
              </a:ext>
            </a:extLst>
          </p:cNvPr>
          <p:cNvSpPr/>
          <p:nvPr/>
        </p:nvSpPr>
        <p:spPr>
          <a:xfrm>
            <a:off x="8384358" y="2188746"/>
            <a:ext cx="7512" cy="37556"/>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171" name="Freeform: Shape 170">
            <a:extLst>
              <a:ext uri="{FF2B5EF4-FFF2-40B4-BE49-F238E27FC236}">
                <a16:creationId xmlns:a16="http://schemas.microsoft.com/office/drawing/2014/main" id="{1E1F3D03-4745-44BD-A41A-1500DCFD6A0B}"/>
              </a:ext>
            </a:extLst>
          </p:cNvPr>
          <p:cNvSpPr/>
          <p:nvPr/>
        </p:nvSpPr>
        <p:spPr>
          <a:xfrm>
            <a:off x="8400883" y="3546303"/>
            <a:ext cx="7512" cy="37556"/>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172" name="Freeform: Shape 171">
            <a:extLst>
              <a:ext uri="{FF2B5EF4-FFF2-40B4-BE49-F238E27FC236}">
                <a16:creationId xmlns:a16="http://schemas.microsoft.com/office/drawing/2014/main" id="{1EFE4E3D-536E-4CE3-AB6C-5669B316F970}"/>
              </a:ext>
            </a:extLst>
          </p:cNvPr>
          <p:cNvSpPr/>
          <p:nvPr/>
        </p:nvSpPr>
        <p:spPr>
          <a:xfrm>
            <a:off x="8328925" y="2196713"/>
            <a:ext cx="7512" cy="37556"/>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173" name="Freeform: Shape 172">
            <a:extLst>
              <a:ext uri="{FF2B5EF4-FFF2-40B4-BE49-F238E27FC236}">
                <a16:creationId xmlns:a16="http://schemas.microsoft.com/office/drawing/2014/main" id="{8385E8C4-6033-4BE0-B565-21753314C29C}"/>
              </a:ext>
            </a:extLst>
          </p:cNvPr>
          <p:cNvSpPr/>
          <p:nvPr/>
        </p:nvSpPr>
        <p:spPr>
          <a:xfrm>
            <a:off x="8440244" y="2185141"/>
            <a:ext cx="7512" cy="37556"/>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174" name="Freeform: Shape 173">
            <a:extLst>
              <a:ext uri="{FF2B5EF4-FFF2-40B4-BE49-F238E27FC236}">
                <a16:creationId xmlns:a16="http://schemas.microsoft.com/office/drawing/2014/main" id="{7FCE8EFA-990D-4C05-BB2A-0A69E7CFC20C}"/>
              </a:ext>
            </a:extLst>
          </p:cNvPr>
          <p:cNvSpPr/>
          <p:nvPr/>
        </p:nvSpPr>
        <p:spPr>
          <a:xfrm>
            <a:off x="8220986" y="2225930"/>
            <a:ext cx="15024" cy="37556"/>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175" name="Freeform: Shape 174">
            <a:extLst>
              <a:ext uri="{FF2B5EF4-FFF2-40B4-BE49-F238E27FC236}">
                <a16:creationId xmlns:a16="http://schemas.microsoft.com/office/drawing/2014/main" id="{6E42D0DE-D5DC-49E3-8817-CA73719F90C8}"/>
              </a:ext>
            </a:extLst>
          </p:cNvPr>
          <p:cNvSpPr/>
          <p:nvPr/>
        </p:nvSpPr>
        <p:spPr>
          <a:xfrm>
            <a:off x="8236607" y="3513853"/>
            <a:ext cx="15024" cy="37556"/>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176" name="Freeform: Shape 175">
            <a:extLst>
              <a:ext uri="{FF2B5EF4-FFF2-40B4-BE49-F238E27FC236}">
                <a16:creationId xmlns:a16="http://schemas.microsoft.com/office/drawing/2014/main" id="{93F2ABEA-E00A-4C8D-9A75-CC0F86D5FFD6}"/>
              </a:ext>
            </a:extLst>
          </p:cNvPr>
          <p:cNvSpPr/>
          <p:nvPr/>
        </p:nvSpPr>
        <p:spPr>
          <a:xfrm>
            <a:off x="8274393" y="2209179"/>
            <a:ext cx="15024" cy="37556"/>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177" name="Freeform: Shape 176">
            <a:extLst>
              <a:ext uri="{FF2B5EF4-FFF2-40B4-BE49-F238E27FC236}">
                <a16:creationId xmlns:a16="http://schemas.microsoft.com/office/drawing/2014/main" id="{089A1635-25AF-4A53-8BBA-C2E8C58130C4}"/>
              </a:ext>
            </a:extLst>
          </p:cNvPr>
          <p:cNvSpPr/>
          <p:nvPr/>
        </p:nvSpPr>
        <p:spPr>
          <a:xfrm>
            <a:off x="8184251" y="3494848"/>
            <a:ext cx="15024" cy="37556"/>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178" name="Freeform: Shape 177">
            <a:extLst>
              <a:ext uri="{FF2B5EF4-FFF2-40B4-BE49-F238E27FC236}">
                <a16:creationId xmlns:a16="http://schemas.microsoft.com/office/drawing/2014/main" id="{B4C20ED9-6750-4AB9-B259-81AF9B05D434}"/>
              </a:ext>
            </a:extLst>
          </p:cNvPr>
          <p:cNvSpPr/>
          <p:nvPr/>
        </p:nvSpPr>
        <p:spPr>
          <a:xfrm>
            <a:off x="8456844" y="3548778"/>
            <a:ext cx="7512" cy="37556"/>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179" name="Freeform: Shape 178">
            <a:extLst>
              <a:ext uri="{FF2B5EF4-FFF2-40B4-BE49-F238E27FC236}">
                <a16:creationId xmlns:a16="http://schemas.microsoft.com/office/drawing/2014/main" id="{F7C7CA95-1452-47B2-9137-2A8267ECEC3A}"/>
              </a:ext>
            </a:extLst>
          </p:cNvPr>
          <p:cNvSpPr/>
          <p:nvPr/>
        </p:nvSpPr>
        <p:spPr>
          <a:xfrm>
            <a:off x="8598514" y="2199789"/>
            <a:ext cx="7512" cy="37556"/>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180" name="Freeform: Shape 179">
            <a:extLst>
              <a:ext uri="{FF2B5EF4-FFF2-40B4-BE49-F238E27FC236}">
                <a16:creationId xmlns:a16="http://schemas.microsoft.com/office/drawing/2014/main" id="{A7EF16FE-5852-45C9-AF99-7987ECD3A871}"/>
              </a:ext>
            </a:extLst>
          </p:cNvPr>
          <p:cNvSpPr/>
          <p:nvPr/>
        </p:nvSpPr>
        <p:spPr>
          <a:xfrm>
            <a:off x="8605723" y="3532179"/>
            <a:ext cx="7512" cy="37556"/>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181" name="Freeform: Shape 180">
            <a:extLst>
              <a:ext uri="{FF2B5EF4-FFF2-40B4-BE49-F238E27FC236}">
                <a16:creationId xmlns:a16="http://schemas.microsoft.com/office/drawing/2014/main" id="{2B721B96-65DB-48FB-8121-4995DB29985B}"/>
              </a:ext>
            </a:extLst>
          </p:cNvPr>
          <p:cNvSpPr/>
          <p:nvPr/>
        </p:nvSpPr>
        <p:spPr>
          <a:xfrm>
            <a:off x="8649589" y="2213459"/>
            <a:ext cx="15024" cy="37556"/>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182" name="Freeform: Shape 181">
            <a:extLst>
              <a:ext uri="{FF2B5EF4-FFF2-40B4-BE49-F238E27FC236}">
                <a16:creationId xmlns:a16="http://schemas.microsoft.com/office/drawing/2014/main" id="{0F16C1A7-DC19-4506-B1A1-D1E68A8C9EC8}"/>
              </a:ext>
            </a:extLst>
          </p:cNvPr>
          <p:cNvSpPr/>
          <p:nvPr/>
        </p:nvSpPr>
        <p:spPr>
          <a:xfrm>
            <a:off x="8656578" y="3518436"/>
            <a:ext cx="15024" cy="37556"/>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183" name="Freeform: Shape 182">
            <a:extLst>
              <a:ext uri="{FF2B5EF4-FFF2-40B4-BE49-F238E27FC236}">
                <a16:creationId xmlns:a16="http://schemas.microsoft.com/office/drawing/2014/main" id="{EEAD60DE-4EF6-4366-8CDB-49221BF1CC39}"/>
              </a:ext>
            </a:extLst>
          </p:cNvPr>
          <p:cNvSpPr/>
          <p:nvPr/>
        </p:nvSpPr>
        <p:spPr>
          <a:xfrm>
            <a:off x="8699392" y="2231487"/>
            <a:ext cx="15024" cy="37556"/>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184" name="Freeform: Shape 183">
            <a:extLst>
              <a:ext uri="{FF2B5EF4-FFF2-40B4-BE49-F238E27FC236}">
                <a16:creationId xmlns:a16="http://schemas.microsoft.com/office/drawing/2014/main" id="{8F9B65A0-89FC-4AA4-9BC5-55C3CFBE33A9}"/>
              </a:ext>
            </a:extLst>
          </p:cNvPr>
          <p:cNvSpPr/>
          <p:nvPr/>
        </p:nvSpPr>
        <p:spPr>
          <a:xfrm>
            <a:off x="8553969" y="3541872"/>
            <a:ext cx="7512" cy="37556"/>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185" name="Freeform: Shape 184">
            <a:extLst>
              <a:ext uri="{FF2B5EF4-FFF2-40B4-BE49-F238E27FC236}">
                <a16:creationId xmlns:a16="http://schemas.microsoft.com/office/drawing/2014/main" id="{5D9008C7-A641-4BF5-8A87-E9AA6F6BC225}"/>
              </a:ext>
            </a:extLst>
          </p:cNvPr>
          <p:cNvSpPr/>
          <p:nvPr/>
        </p:nvSpPr>
        <p:spPr>
          <a:xfrm>
            <a:off x="8501614" y="3547355"/>
            <a:ext cx="7512" cy="37556"/>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186" name="Freeform: Shape 185">
            <a:extLst>
              <a:ext uri="{FF2B5EF4-FFF2-40B4-BE49-F238E27FC236}">
                <a16:creationId xmlns:a16="http://schemas.microsoft.com/office/drawing/2014/main" id="{77A247DC-BF22-477F-9CA8-2E085E34949A}"/>
              </a:ext>
            </a:extLst>
          </p:cNvPr>
          <p:cNvSpPr/>
          <p:nvPr/>
        </p:nvSpPr>
        <p:spPr>
          <a:xfrm>
            <a:off x="8494326" y="2185743"/>
            <a:ext cx="7512" cy="37556"/>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187" name="Freeform: Shape 186">
            <a:extLst>
              <a:ext uri="{FF2B5EF4-FFF2-40B4-BE49-F238E27FC236}">
                <a16:creationId xmlns:a16="http://schemas.microsoft.com/office/drawing/2014/main" id="{38B2FE23-A29C-49C9-AEDB-64F8FB33270E}"/>
              </a:ext>
            </a:extLst>
          </p:cNvPr>
          <p:cNvSpPr/>
          <p:nvPr/>
        </p:nvSpPr>
        <p:spPr>
          <a:xfrm>
            <a:off x="8546687" y="2190550"/>
            <a:ext cx="7512" cy="37556"/>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188" name="Freeform: Shape 187">
            <a:extLst>
              <a:ext uri="{FF2B5EF4-FFF2-40B4-BE49-F238E27FC236}">
                <a16:creationId xmlns:a16="http://schemas.microsoft.com/office/drawing/2014/main" id="{40A8B3D4-2DA5-4B09-8828-DB664B6D7081}"/>
              </a:ext>
            </a:extLst>
          </p:cNvPr>
          <p:cNvSpPr/>
          <p:nvPr/>
        </p:nvSpPr>
        <p:spPr>
          <a:xfrm>
            <a:off x="7882891" y="2308330"/>
            <a:ext cx="1156776" cy="1156772"/>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189" name="Freeform: Shape 188">
            <a:extLst>
              <a:ext uri="{FF2B5EF4-FFF2-40B4-BE49-F238E27FC236}">
                <a16:creationId xmlns:a16="http://schemas.microsoft.com/office/drawing/2014/main" id="{2702B4A9-C2A4-401E-9CF0-407E9A59D1B4}"/>
              </a:ext>
            </a:extLst>
          </p:cNvPr>
          <p:cNvSpPr/>
          <p:nvPr/>
        </p:nvSpPr>
        <p:spPr>
          <a:xfrm>
            <a:off x="8463231" y="2290303"/>
            <a:ext cx="420646" cy="20281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190" name="Freeform: Shape 189">
            <a:extLst>
              <a:ext uri="{FF2B5EF4-FFF2-40B4-BE49-F238E27FC236}">
                <a16:creationId xmlns:a16="http://schemas.microsoft.com/office/drawing/2014/main" id="{F110F099-F849-4A75-A449-547F2C214E28}"/>
              </a:ext>
            </a:extLst>
          </p:cNvPr>
          <p:cNvSpPr/>
          <p:nvPr/>
        </p:nvSpPr>
        <p:spPr>
          <a:xfrm>
            <a:off x="7864937" y="2888596"/>
            <a:ext cx="135206" cy="330504"/>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191" name="Freeform: Shape 190">
            <a:extLst>
              <a:ext uri="{FF2B5EF4-FFF2-40B4-BE49-F238E27FC236}">
                <a16:creationId xmlns:a16="http://schemas.microsoft.com/office/drawing/2014/main" id="{2DB5981E-A889-4652-AF2A-49DC7E169D48}"/>
              </a:ext>
            </a:extLst>
          </p:cNvPr>
          <p:cNvSpPr/>
          <p:nvPr/>
        </p:nvSpPr>
        <p:spPr>
          <a:xfrm>
            <a:off x="8230523" y="3400201"/>
            <a:ext cx="225347" cy="82625"/>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192" name="Group 191">
            <a:extLst>
              <a:ext uri="{FF2B5EF4-FFF2-40B4-BE49-F238E27FC236}">
                <a16:creationId xmlns:a16="http://schemas.microsoft.com/office/drawing/2014/main" id="{91C8CB2A-C52F-46BB-A4BD-78B52EC40A33}"/>
              </a:ext>
            </a:extLst>
          </p:cNvPr>
          <p:cNvGrpSpPr/>
          <p:nvPr/>
        </p:nvGrpSpPr>
        <p:grpSpPr>
          <a:xfrm>
            <a:off x="7642446" y="2082031"/>
            <a:ext cx="1624018" cy="1614974"/>
            <a:chOff x="8587298" y="2727960"/>
            <a:chExt cx="5865457" cy="5832794"/>
          </a:xfrm>
        </p:grpSpPr>
        <p:sp>
          <p:nvSpPr>
            <p:cNvPr id="196" name="Freeform: Shape 195">
              <a:extLst>
                <a:ext uri="{FF2B5EF4-FFF2-40B4-BE49-F238E27FC236}">
                  <a16:creationId xmlns:a16="http://schemas.microsoft.com/office/drawing/2014/main" id="{43A5E39C-4640-463F-9042-0CFD3EE23B9F}"/>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197" name="Freeform: Shape 196">
              <a:extLst>
                <a:ext uri="{FF2B5EF4-FFF2-40B4-BE49-F238E27FC236}">
                  <a16:creationId xmlns:a16="http://schemas.microsoft.com/office/drawing/2014/main" id="{AA5F5E43-D7D0-410A-8652-0856DB3CCAFC}"/>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198" name="Freeform: Shape 197">
              <a:extLst>
                <a:ext uri="{FF2B5EF4-FFF2-40B4-BE49-F238E27FC236}">
                  <a16:creationId xmlns:a16="http://schemas.microsoft.com/office/drawing/2014/main" id="{B0E2015B-D536-48C3-9740-6969B32A906C}"/>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193" name="Freeform: Shape 192">
            <a:extLst>
              <a:ext uri="{FF2B5EF4-FFF2-40B4-BE49-F238E27FC236}">
                <a16:creationId xmlns:a16="http://schemas.microsoft.com/office/drawing/2014/main" id="{E2832F4B-50EF-483E-811D-6B706044271D}"/>
              </a:ext>
            </a:extLst>
          </p:cNvPr>
          <p:cNvSpPr/>
          <p:nvPr/>
        </p:nvSpPr>
        <p:spPr>
          <a:xfrm>
            <a:off x="7958229" y="2383595"/>
            <a:ext cx="1006546" cy="100654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194" name="Freeform: Shape 193">
            <a:extLst>
              <a:ext uri="{FF2B5EF4-FFF2-40B4-BE49-F238E27FC236}">
                <a16:creationId xmlns:a16="http://schemas.microsoft.com/office/drawing/2014/main" id="{221B2EBF-1382-422E-8978-4D1BF9A87530}"/>
              </a:ext>
            </a:extLst>
          </p:cNvPr>
          <p:cNvSpPr/>
          <p:nvPr/>
        </p:nvSpPr>
        <p:spPr>
          <a:xfrm>
            <a:off x="7742951" y="2168317"/>
            <a:ext cx="1434700" cy="1434700"/>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sp>
        <p:nvSpPr>
          <p:cNvPr id="200" name="Freeform 72">
            <a:extLst>
              <a:ext uri="{FF2B5EF4-FFF2-40B4-BE49-F238E27FC236}">
                <a16:creationId xmlns:a16="http://schemas.microsoft.com/office/drawing/2014/main" id="{E6B1F915-6DC2-43CE-89FC-9D541C33D5E8}"/>
              </a:ext>
            </a:extLst>
          </p:cNvPr>
          <p:cNvSpPr>
            <a:spLocks noEditPoints="1"/>
          </p:cNvSpPr>
          <p:nvPr/>
        </p:nvSpPr>
        <p:spPr bwMode="auto">
          <a:xfrm>
            <a:off x="8074828" y="2765519"/>
            <a:ext cx="306482" cy="447625"/>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73">
            <a:extLst>
              <a:ext uri="{FF2B5EF4-FFF2-40B4-BE49-F238E27FC236}">
                <a16:creationId xmlns:a16="http://schemas.microsoft.com/office/drawing/2014/main" id="{F834A59E-B681-4B52-B990-D57CC3D883A5}"/>
              </a:ext>
            </a:extLst>
          </p:cNvPr>
          <p:cNvSpPr>
            <a:spLocks noEditPoints="1"/>
          </p:cNvSpPr>
          <p:nvPr/>
        </p:nvSpPr>
        <p:spPr bwMode="auto">
          <a:xfrm>
            <a:off x="8574878" y="2765519"/>
            <a:ext cx="306482" cy="447625"/>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74">
            <a:extLst>
              <a:ext uri="{FF2B5EF4-FFF2-40B4-BE49-F238E27FC236}">
                <a16:creationId xmlns:a16="http://schemas.microsoft.com/office/drawing/2014/main" id="{99649EDA-C92F-4C26-B62F-F8152863653A}"/>
              </a:ext>
            </a:extLst>
          </p:cNvPr>
          <p:cNvSpPr>
            <a:spLocks noEditPoints="1"/>
          </p:cNvSpPr>
          <p:nvPr/>
        </p:nvSpPr>
        <p:spPr bwMode="auto">
          <a:xfrm>
            <a:off x="8363163" y="2741323"/>
            <a:ext cx="231878" cy="173404"/>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75">
            <a:extLst>
              <a:ext uri="{FF2B5EF4-FFF2-40B4-BE49-F238E27FC236}">
                <a16:creationId xmlns:a16="http://schemas.microsoft.com/office/drawing/2014/main" id="{43BB88D3-7C1A-428D-9A14-1A2D40A66628}"/>
              </a:ext>
            </a:extLst>
          </p:cNvPr>
          <p:cNvSpPr>
            <a:spLocks noChangeArrowheads="1"/>
          </p:cNvSpPr>
          <p:nvPr/>
        </p:nvSpPr>
        <p:spPr bwMode="auto">
          <a:xfrm>
            <a:off x="8302673" y="2896580"/>
            <a:ext cx="364956" cy="181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76">
            <a:extLst>
              <a:ext uri="{FF2B5EF4-FFF2-40B4-BE49-F238E27FC236}">
                <a16:creationId xmlns:a16="http://schemas.microsoft.com/office/drawing/2014/main" id="{D8B1057B-8171-4846-8AE7-F466B6EEA6F5}"/>
              </a:ext>
            </a:extLst>
          </p:cNvPr>
          <p:cNvSpPr>
            <a:spLocks noChangeShapeType="1"/>
          </p:cNvSpPr>
          <p:nvPr/>
        </p:nvSpPr>
        <p:spPr bwMode="auto">
          <a:xfrm>
            <a:off x="8171612" y="2783666"/>
            <a:ext cx="0" cy="0"/>
          </a:xfrm>
          <a:prstGeom prst="lin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Line 77">
            <a:extLst>
              <a:ext uri="{FF2B5EF4-FFF2-40B4-BE49-F238E27FC236}">
                <a16:creationId xmlns:a16="http://schemas.microsoft.com/office/drawing/2014/main" id="{3EFC7917-9043-4A9D-AF1C-C0CFEA0D37E4}"/>
              </a:ext>
            </a:extLst>
          </p:cNvPr>
          <p:cNvSpPr>
            <a:spLocks noChangeShapeType="1"/>
          </p:cNvSpPr>
          <p:nvPr/>
        </p:nvSpPr>
        <p:spPr bwMode="auto">
          <a:xfrm>
            <a:off x="8171612" y="2783666"/>
            <a:ext cx="0" cy="0"/>
          </a:xfrm>
          <a:prstGeom prst="line">
            <a:avLst/>
          </a:prstGeom>
          <a:solidFill>
            <a:schemeClr val="bg1"/>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8">
            <a:extLst>
              <a:ext uri="{FF2B5EF4-FFF2-40B4-BE49-F238E27FC236}">
                <a16:creationId xmlns:a16="http://schemas.microsoft.com/office/drawing/2014/main" id="{3A1BBFE5-9737-4CDE-B75C-CB59CB44DDA5}"/>
              </a:ext>
            </a:extLst>
          </p:cNvPr>
          <p:cNvSpPr>
            <a:spLocks noEditPoints="1"/>
          </p:cNvSpPr>
          <p:nvPr/>
        </p:nvSpPr>
        <p:spPr bwMode="auto">
          <a:xfrm>
            <a:off x="8070795" y="2612278"/>
            <a:ext cx="122996" cy="122996"/>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9">
            <a:extLst>
              <a:ext uri="{FF2B5EF4-FFF2-40B4-BE49-F238E27FC236}">
                <a16:creationId xmlns:a16="http://schemas.microsoft.com/office/drawing/2014/main" id="{F1CBE4AC-1E9D-47E5-B2C4-97EF19FA30C8}"/>
              </a:ext>
            </a:extLst>
          </p:cNvPr>
          <p:cNvSpPr>
            <a:spLocks noEditPoints="1"/>
          </p:cNvSpPr>
          <p:nvPr/>
        </p:nvSpPr>
        <p:spPr bwMode="auto">
          <a:xfrm>
            <a:off x="8419620" y="2588082"/>
            <a:ext cx="122996" cy="122996"/>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80">
            <a:extLst>
              <a:ext uri="{FF2B5EF4-FFF2-40B4-BE49-F238E27FC236}">
                <a16:creationId xmlns:a16="http://schemas.microsoft.com/office/drawing/2014/main" id="{2A69AAE6-FCEE-4546-B2CA-0C045BD43057}"/>
              </a:ext>
            </a:extLst>
          </p:cNvPr>
          <p:cNvSpPr>
            <a:spLocks noEditPoints="1"/>
          </p:cNvSpPr>
          <p:nvPr/>
        </p:nvSpPr>
        <p:spPr bwMode="auto">
          <a:xfrm>
            <a:off x="8762397" y="2612278"/>
            <a:ext cx="122996" cy="122996"/>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81">
            <a:extLst>
              <a:ext uri="{FF2B5EF4-FFF2-40B4-BE49-F238E27FC236}">
                <a16:creationId xmlns:a16="http://schemas.microsoft.com/office/drawing/2014/main" id="{041FC1F0-B71F-4286-95D7-1DADB45F99A6}"/>
              </a:ext>
            </a:extLst>
          </p:cNvPr>
          <p:cNvSpPr>
            <a:spLocks/>
          </p:cNvSpPr>
          <p:nvPr/>
        </p:nvSpPr>
        <p:spPr bwMode="auto">
          <a:xfrm>
            <a:off x="8026436" y="2830041"/>
            <a:ext cx="185502" cy="243976"/>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82">
            <a:extLst>
              <a:ext uri="{FF2B5EF4-FFF2-40B4-BE49-F238E27FC236}">
                <a16:creationId xmlns:a16="http://schemas.microsoft.com/office/drawing/2014/main" id="{B76D31C5-63C7-44EA-B60B-8635FFCD334E}"/>
              </a:ext>
            </a:extLst>
          </p:cNvPr>
          <p:cNvSpPr>
            <a:spLocks noChangeArrowheads="1"/>
          </p:cNvSpPr>
          <p:nvPr/>
        </p:nvSpPr>
        <p:spPr bwMode="auto">
          <a:xfrm>
            <a:off x="8123220" y="3065952"/>
            <a:ext cx="18147" cy="1371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83">
            <a:extLst>
              <a:ext uri="{FF2B5EF4-FFF2-40B4-BE49-F238E27FC236}">
                <a16:creationId xmlns:a16="http://schemas.microsoft.com/office/drawing/2014/main" id="{8373A779-3381-4221-B271-784A26771FE9}"/>
              </a:ext>
            </a:extLst>
          </p:cNvPr>
          <p:cNvSpPr>
            <a:spLocks noChangeArrowheads="1"/>
          </p:cNvSpPr>
          <p:nvPr/>
        </p:nvSpPr>
        <p:spPr bwMode="auto">
          <a:xfrm>
            <a:off x="8068779" y="3194997"/>
            <a:ext cx="127029" cy="181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84">
            <a:extLst>
              <a:ext uri="{FF2B5EF4-FFF2-40B4-BE49-F238E27FC236}">
                <a16:creationId xmlns:a16="http://schemas.microsoft.com/office/drawing/2014/main" id="{9B7490BF-27FC-4A53-8FFE-D989B9E9B4F1}"/>
              </a:ext>
            </a:extLst>
          </p:cNvPr>
          <p:cNvSpPr>
            <a:spLocks/>
          </p:cNvSpPr>
          <p:nvPr/>
        </p:nvSpPr>
        <p:spPr bwMode="auto">
          <a:xfrm>
            <a:off x="8742233" y="2830041"/>
            <a:ext cx="187519" cy="243976"/>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85">
            <a:extLst>
              <a:ext uri="{FF2B5EF4-FFF2-40B4-BE49-F238E27FC236}">
                <a16:creationId xmlns:a16="http://schemas.microsoft.com/office/drawing/2014/main" id="{BE9936D4-0349-48FF-89FC-40A584A1E48F}"/>
              </a:ext>
            </a:extLst>
          </p:cNvPr>
          <p:cNvSpPr>
            <a:spLocks noChangeArrowheads="1"/>
          </p:cNvSpPr>
          <p:nvPr/>
        </p:nvSpPr>
        <p:spPr bwMode="auto">
          <a:xfrm>
            <a:off x="8814821" y="3065952"/>
            <a:ext cx="18147" cy="1371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Rectangle 86">
            <a:extLst>
              <a:ext uri="{FF2B5EF4-FFF2-40B4-BE49-F238E27FC236}">
                <a16:creationId xmlns:a16="http://schemas.microsoft.com/office/drawing/2014/main" id="{A3E3A72F-4BED-43CB-80B6-194473047C7B}"/>
              </a:ext>
            </a:extLst>
          </p:cNvPr>
          <p:cNvSpPr>
            <a:spLocks noChangeArrowheads="1"/>
          </p:cNvSpPr>
          <p:nvPr/>
        </p:nvSpPr>
        <p:spPr bwMode="auto">
          <a:xfrm>
            <a:off x="8760380" y="3194997"/>
            <a:ext cx="127029" cy="181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83" name="Group 382">
            <a:extLst>
              <a:ext uri="{FF2B5EF4-FFF2-40B4-BE49-F238E27FC236}">
                <a16:creationId xmlns:a16="http://schemas.microsoft.com/office/drawing/2014/main" id="{FB734D70-F5D2-487B-A5B0-B63BBD2BC536}"/>
              </a:ext>
            </a:extLst>
          </p:cNvPr>
          <p:cNvGrpSpPr/>
          <p:nvPr/>
        </p:nvGrpSpPr>
        <p:grpSpPr>
          <a:xfrm>
            <a:off x="7642446" y="3985990"/>
            <a:ext cx="1624018" cy="1614974"/>
            <a:chOff x="9591172" y="2237463"/>
            <a:chExt cx="1624018" cy="1614974"/>
          </a:xfrm>
        </p:grpSpPr>
        <p:grpSp>
          <p:nvGrpSpPr>
            <p:cNvPr id="216" name="Group 215">
              <a:extLst>
                <a:ext uri="{FF2B5EF4-FFF2-40B4-BE49-F238E27FC236}">
                  <a16:creationId xmlns:a16="http://schemas.microsoft.com/office/drawing/2014/main" id="{F8B6D6A0-B613-4855-9656-6C3F3AFBE7C9}"/>
                </a:ext>
              </a:extLst>
            </p:cNvPr>
            <p:cNvGrpSpPr/>
            <p:nvPr/>
          </p:nvGrpSpPr>
          <p:grpSpPr>
            <a:xfrm>
              <a:off x="9591172" y="2237463"/>
              <a:ext cx="1624018" cy="1614974"/>
              <a:chOff x="8587298" y="2727960"/>
              <a:chExt cx="5865457" cy="5832794"/>
            </a:xfrm>
          </p:grpSpPr>
          <p:sp>
            <p:nvSpPr>
              <p:cNvPr id="233" name="Freeform: Shape 232">
                <a:extLst>
                  <a:ext uri="{FF2B5EF4-FFF2-40B4-BE49-F238E27FC236}">
                    <a16:creationId xmlns:a16="http://schemas.microsoft.com/office/drawing/2014/main" id="{0E30D1AC-0DDA-4DCB-A724-38DB77F85650}"/>
                  </a:ext>
                </a:extLst>
              </p:cNvPr>
              <p:cNvSpPr/>
              <p:nvPr/>
            </p:nvSpPr>
            <p:spPr>
              <a:xfrm>
                <a:off x="9178723" y="6495330"/>
                <a:ext cx="135642" cy="54263"/>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234" name="Freeform: Shape 233">
                <a:extLst>
                  <a:ext uri="{FF2B5EF4-FFF2-40B4-BE49-F238E27FC236}">
                    <a16:creationId xmlns:a16="http://schemas.microsoft.com/office/drawing/2014/main" id="{3B89382C-D9C4-4CB1-BFC3-11448B881C79}"/>
                  </a:ext>
                </a:extLst>
              </p:cNvPr>
              <p:cNvSpPr/>
              <p:nvPr/>
            </p:nvSpPr>
            <p:spPr>
              <a:xfrm>
                <a:off x="9030593" y="5944055"/>
                <a:ext cx="135642" cy="2713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235" name="Freeform: Shape 234">
                <a:extLst>
                  <a:ext uri="{FF2B5EF4-FFF2-40B4-BE49-F238E27FC236}">
                    <a16:creationId xmlns:a16="http://schemas.microsoft.com/office/drawing/2014/main" id="{6D7E28D6-4C03-4D66-8983-0704930B557C}"/>
                  </a:ext>
                </a:extLst>
              </p:cNvPr>
              <p:cNvSpPr/>
              <p:nvPr/>
            </p:nvSpPr>
            <p:spPr>
              <a:xfrm>
                <a:off x="10490151" y="3323370"/>
                <a:ext cx="81395" cy="135642"/>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236" name="Freeform: Shape 235">
                <a:extLst>
                  <a:ext uri="{FF2B5EF4-FFF2-40B4-BE49-F238E27FC236}">
                    <a16:creationId xmlns:a16="http://schemas.microsoft.com/office/drawing/2014/main" id="{35327E1A-9362-4C93-8E87-8BA0AEB7C807}"/>
                  </a:ext>
                </a:extLst>
              </p:cNvPr>
              <p:cNvSpPr/>
              <p:nvPr/>
            </p:nvSpPr>
            <p:spPr>
              <a:xfrm>
                <a:off x="9113598" y="6315458"/>
                <a:ext cx="135642" cy="54263"/>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237" name="Freeform: Shape 236">
                <a:extLst>
                  <a:ext uri="{FF2B5EF4-FFF2-40B4-BE49-F238E27FC236}">
                    <a16:creationId xmlns:a16="http://schemas.microsoft.com/office/drawing/2014/main" id="{F5D9543D-4096-41E7-B929-F8001908734E}"/>
                  </a:ext>
                </a:extLst>
              </p:cNvPr>
              <p:cNvSpPr/>
              <p:nvPr/>
            </p:nvSpPr>
            <p:spPr>
              <a:xfrm>
                <a:off x="9012964" y="5754962"/>
                <a:ext cx="135642" cy="2713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238" name="Freeform: Shape 237">
                <a:extLst>
                  <a:ext uri="{FF2B5EF4-FFF2-40B4-BE49-F238E27FC236}">
                    <a16:creationId xmlns:a16="http://schemas.microsoft.com/office/drawing/2014/main" id="{B5A3A8E4-16D4-45EE-B6C3-546BDD9DBCE3}"/>
                  </a:ext>
                </a:extLst>
              </p:cNvPr>
              <p:cNvSpPr/>
              <p:nvPr/>
            </p:nvSpPr>
            <p:spPr>
              <a:xfrm>
                <a:off x="9097328" y="4960347"/>
                <a:ext cx="135642" cy="54263"/>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239" name="Freeform: Shape 238">
                <a:extLst>
                  <a:ext uri="{FF2B5EF4-FFF2-40B4-BE49-F238E27FC236}">
                    <a16:creationId xmlns:a16="http://schemas.microsoft.com/office/drawing/2014/main" id="{86AB9DCC-D923-4A39-84EF-7572FA22905B}"/>
                  </a:ext>
                </a:extLst>
              </p:cNvPr>
              <p:cNvSpPr/>
              <p:nvPr/>
            </p:nvSpPr>
            <p:spPr>
              <a:xfrm>
                <a:off x="9010792" y="5559633"/>
                <a:ext cx="135642" cy="2713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240" name="Freeform: Shape 239">
                <a:extLst>
                  <a:ext uri="{FF2B5EF4-FFF2-40B4-BE49-F238E27FC236}">
                    <a16:creationId xmlns:a16="http://schemas.microsoft.com/office/drawing/2014/main" id="{4184D912-77F6-4173-AC50-D3F4233ADF24}"/>
                  </a:ext>
                </a:extLst>
              </p:cNvPr>
              <p:cNvSpPr/>
              <p:nvPr/>
            </p:nvSpPr>
            <p:spPr>
              <a:xfrm>
                <a:off x="9157827" y="4767456"/>
                <a:ext cx="135642" cy="54263"/>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241" name="Freeform: Shape 240">
                <a:extLst>
                  <a:ext uri="{FF2B5EF4-FFF2-40B4-BE49-F238E27FC236}">
                    <a16:creationId xmlns:a16="http://schemas.microsoft.com/office/drawing/2014/main" id="{2F0FFC3A-53F0-40AF-AC73-6461200C0BF9}"/>
                  </a:ext>
                </a:extLst>
              </p:cNvPr>
              <p:cNvSpPr/>
              <p:nvPr/>
            </p:nvSpPr>
            <p:spPr>
              <a:xfrm>
                <a:off x="9023545" y="5357787"/>
                <a:ext cx="135642" cy="2713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242" name="Freeform: Shape 241">
                <a:extLst>
                  <a:ext uri="{FF2B5EF4-FFF2-40B4-BE49-F238E27FC236}">
                    <a16:creationId xmlns:a16="http://schemas.microsoft.com/office/drawing/2014/main" id="{7DE36A23-41E6-4EDE-B0F0-BA12F0EED998}"/>
                  </a:ext>
                </a:extLst>
              </p:cNvPr>
              <p:cNvSpPr/>
              <p:nvPr/>
            </p:nvSpPr>
            <p:spPr>
              <a:xfrm>
                <a:off x="9052567" y="5157582"/>
                <a:ext cx="135642" cy="2713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243" name="Freeform: Shape 242">
                <a:extLst>
                  <a:ext uri="{FF2B5EF4-FFF2-40B4-BE49-F238E27FC236}">
                    <a16:creationId xmlns:a16="http://schemas.microsoft.com/office/drawing/2014/main" id="{3197E310-316D-411A-963B-08997658ECD4}"/>
                  </a:ext>
                </a:extLst>
              </p:cNvPr>
              <p:cNvSpPr/>
              <p:nvPr/>
            </p:nvSpPr>
            <p:spPr>
              <a:xfrm>
                <a:off x="10020537" y="7543335"/>
                <a:ext cx="108526" cy="135642"/>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244" name="Freeform: Shape 243">
                <a:extLst>
                  <a:ext uri="{FF2B5EF4-FFF2-40B4-BE49-F238E27FC236}">
                    <a16:creationId xmlns:a16="http://schemas.microsoft.com/office/drawing/2014/main" id="{73BC0DDE-0854-408F-8D8B-C7317CBED786}"/>
                  </a:ext>
                </a:extLst>
              </p:cNvPr>
              <p:cNvSpPr/>
              <p:nvPr/>
            </p:nvSpPr>
            <p:spPr>
              <a:xfrm>
                <a:off x="9863999" y="7422868"/>
                <a:ext cx="108526" cy="108526"/>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245" name="Freeform: Shape 244">
                <a:extLst>
                  <a:ext uri="{FF2B5EF4-FFF2-40B4-BE49-F238E27FC236}">
                    <a16:creationId xmlns:a16="http://schemas.microsoft.com/office/drawing/2014/main" id="{6B3C02FC-67ED-48B0-811D-7B8DC6E4B513}"/>
                  </a:ext>
                </a:extLst>
              </p:cNvPr>
              <p:cNvSpPr/>
              <p:nvPr/>
            </p:nvSpPr>
            <p:spPr>
              <a:xfrm>
                <a:off x="10186577" y="7652111"/>
                <a:ext cx="81395" cy="135642"/>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246" name="Freeform: Shape 245">
                <a:extLst>
                  <a:ext uri="{FF2B5EF4-FFF2-40B4-BE49-F238E27FC236}">
                    <a16:creationId xmlns:a16="http://schemas.microsoft.com/office/drawing/2014/main" id="{FE3955CB-FB47-4148-930C-3D26F34DBBFE}"/>
                  </a:ext>
                </a:extLst>
              </p:cNvPr>
              <p:cNvSpPr/>
              <p:nvPr/>
            </p:nvSpPr>
            <p:spPr>
              <a:xfrm>
                <a:off x="9258742" y="6669763"/>
                <a:ext cx="135642" cy="81395"/>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247" name="Freeform: Shape 246">
                <a:extLst>
                  <a:ext uri="{FF2B5EF4-FFF2-40B4-BE49-F238E27FC236}">
                    <a16:creationId xmlns:a16="http://schemas.microsoft.com/office/drawing/2014/main" id="{59091AAC-CCB3-4156-888F-6FCA2545994E}"/>
                  </a:ext>
                </a:extLst>
              </p:cNvPr>
              <p:cNvSpPr/>
              <p:nvPr/>
            </p:nvSpPr>
            <p:spPr>
              <a:xfrm>
                <a:off x="10361557" y="7748150"/>
                <a:ext cx="81395" cy="135642"/>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248" name="Freeform: Shape 247">
                <a:extLst>
                  <a:ext uri="{FF2B5EF4-FFF2-40B4-BE49-F238E27FC236}">
                    <a16:creationId xmlns:a16="http://schemas.microsoft.com/office/drawing/2014/main" id="{6A2CD8C0-E06B-4958-A2B8-94B39C15B3AF}"/>
                  </a:ext>
                </a:extLst>
              </p:cNvPr>
              <p:cNvSpPr/>
              <p:nvPr/>
            </p:nvSpPr>
            <p:spPr>
              <a:xfrm>
                <a:off x="9718042" y="7291023"/>
                <a:ext cx="108526" cy="108526"/>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249" name="Freeform: Shape 248">
                <a:extLst>
                  <a:ext uri="{FF2B5EF4-FFF2-40B4-BE49-F238E27FC236}">
                    <a16:creationId xmlns:a16="http://schemas.microsoft.com/office/drawing/2014/main" id="{52DC5A42-6300-4B58-8642-E379E3C360F3}"/>
                  </a:ext>
                </a:extLst>
              </p:cNvPr>
              <p:cNvSpPr/>
              <p:nvPr/>
            </p:nvSpPr>
            <p:spPr>
              <a:xfrm>
                <a:off x="9353437" y="6837147"/>
                <a:ext cx="135642" cy="81395"/>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250" name="Freeform: Shape 249">
                <a:extLst>
                  <a:ext uri="{FF2B5EF4-FFF2-40B4-BE49-F238E27FC236}">
                    <a16:creationId xmlns:a16="http://schemas.microsoft.com/office/drawing/2014/main" id="{5E3D9AB9-AA85-48F8-BB14-A76A809A372E}"/>
                  </a:ext>
                </a:extLst>
              </p:cNvPr>
              <p:cNvSpPr/>
              <p:nvPr/>
            </p:nvSpPr>
            <p:spPr>
              <a:xfrm>
                <a:off x="9462214" y="6997217"/>
                <a:ext cx="135642" cy="81395"/>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251" name="Freeform: Shape 250">
                <a:extLst>
                  <a:ext uri="{FF2B5EF4-FFF2-40B4-BE49-F238E27FC236}">
                    <a16:creationId xmlns:a16="http://schemas.microsoft.com/office/drawing/2014/main" id="{EB613872-3A50-4A12-8E11-71553AFDF369}"/>
                  </a:ext>
                </a:extLst>
              </p:cNvPr>
              <p:cNvSpPr/>
              <p:nvPr/>
            </p:nvSpPr>
            <p:spPr>
              <a:xfrm>
                <a:off x="9584025" y="7148864"/>
                <a:ext cx="108526" cy="108526"/>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252" name="Freeform: Shape 251">
                <a:extLst>
                  <a:ext uri="{FF2B5EF4-FFF2-40B4-BE49-F238E27FC236}">
                    <a16:creationId xmlns:a16="http://schemas.microsoft.com/office/drawing/2014/main" id="{FAEDF4D7-7349-470E-8BAF-C5C1B96F3954}"/>
                  </a:ext>
                </a:extLst>
              </p:cNvPr>
              <p:cNvSpPr/>
              <p:nvPr/>
            </p:nvSpPr>
            <p:spPr>
              <a:xfrm>
                <a:off x="9063961" y="6131522"/>
                <a:ext cx="135642" cy="2713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253" name="Freeform: Shape 252">
                <a:extLst>
                  <a:ext uri="{FF2B5EF4-FFF2-40B4-BE49-F238E27FC236}">
                    <a16:creationId xmlns:a16="http://schemas.microsoft.com/office/drawing/2014/main" id="{BC461DDF-B005-45D7-8AE8-B7AAA4F12F72}"/>
                  </a:ext>
                </a:extLst>
              </p:cNvPr>
              <p:cNvSpPr/>
              <p:nvPr/>
            </p:nvSpPr>
            <p:spPr>
              <a:xfrm>
                <a:off x="13333577" y="3953852"/>
                <a:ext cx="108526" cy="108526"/>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254" name="Freeform: Shape 253">
                <a:extLst>
                  <a:ext uri="{FF2B5EF4-FFF2-40B4-BE49-F238E27FC236}">
                    <a16:creationId xmlns:a16="http://schemas.microsoft.com/office/drawing/2014/main" id="{59E9C41E-4194-46FB-A245-2CD850847680}"/>
                  </a:ext>
                </a:extLst>
              </p:cNvPr>
              <p:cNvSpPr/>
              <p:nvPr/>
            </p:nvSpPr>
            <p:spPr>
              <a:xfrm>
                <a:off x="13658312" y="4450864"/>
                <a:ext cx="135642" cy="81395"/>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255" name="Freeform: Shape 254">
                <a:extLst>
                  <a:ext uri="{FF2B5EF4-FFF2-40B4-BE49-F238E27FC236}">
                    <a16:creationId xmlns:a16="http://schemas.microsoft.com/office/drawing/2014/main" id="{B35AE4F2-F393-4FE9-93D5-A987A4B76C60}"/>
                  </a:ext>
                </a:extLst>
              </p:cNvPr>
              <p:cNvSpPr/>
              <p:nvPr/>
            </p:nvSpPr>
            <p:spPr>
              <a:xfrm>
                <a:off x="13740785" y="4633173"/>
                <a:ext cx="135642" cy="54263"/>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256" name="Freeform: Shape 255">
                <a:extLst>
                  <a:ext uri="{FF2B5EF4-FFF2-40B4-BE49-F238E27FC236}">
                    <a16:creationId xmlns:a16="http://schemas.microsoft.com/office/drawing/2014/main" id="{64459690-EA6F-44FA-ABCA-17750D146116}"/>
                  </a:ext>
                </a:extLst>
              </p:cNvPr>
              <p:cNvSpPr/>
              <p:nvPr/>
            </p:nvSpPr>
            <p:spPr>
              <a:xfrm>
                <a:off x="13454028" y="4110390"/>
                <a:ext cx="135642" cy="108526"/>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257" name="Freeform: Shape 256">
                <a:extLst>
                  <a:ext uri="{FF2B5EF4-FFF2-40B4-BE49-F238E27FC236}">
                    <a16:creationId xmlns:a16="http://schemas.microsoft.com/office/drawing/2014/main" id="{42EB26E0-7850-4BF0-8771-E3AA7F9ED655}"/>
                  </a:ext>
                </a:extLst>
              </p:cNvPr>
              <p:cNvSpPr/>
              <p:nvPr/>
            </p:nvSpPr>
            <p:spPr>
              <a:xfrm>
                <a:off x="13809161" y="4821719"/>
                <a:ext cx="135642" cy="54263"/>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258" name="Freeform: Shape 257">
                <a:extLst>
                  <a:ext uri="{FF2B5EF4-FFF2-40B4-BE49-F238E27FC236}">
                    <a16:creationId xmlns:a16="http://schemas.microsoft.com/office/drawing/2014/main" id="{A2E669B3-AAA4-4FCF-B989-D085418A66C0}"/>
                  </a:ext>
                </a:extLst>
              </p:cNvPr>
              <p:cNvSpPr/>
              <p:nvPr/>
            </p:nvSpPr>
            <p:spPr>
              <a:xfrm>
                <a:off x="13863143" y="5015970"/>
                <a:ext cx="135642" cy="54263"/>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259" name="Freeform: Shape 258">
                <a:extLst>
                  <a:ext uri="{FF2B5EF4-FFF2-40B4-BE49-F238E27FC236}">
                    <a16:creationId xmlns:a16="http://schemas.microsoft.com/office/drawing/2014/main" id="{A9E6A67C-2370-4F42-81E3-B96B9ADB3C0A}"/>
                  </a:ext>
                </a:extLst>
              </p:cNvPr>
              <p:cNvSpPr/>
              <p:nvPr/>
            </p:nvSpPr>
            <p:spPr>
              <a:xfrm>
                <a:off x="13936114" y="5616866"/>
                <a:ext cx="135642" cy="2713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260" name="Freeform: Shape 259">
                <a:extLst>
                  <a:ext uri="{FF2B5EF4-FFF2-40B4-BE49-F238E27FC236}">
                    <a16:creationId xmlns:a16="http://schemas.microsoft.com/office/drawing/2014/main" id="{02FCC438-7A42-47BC-82AD-1AF1A466F0C7}"/>
                  </a:ext>
                </a:extLst>
              </p:cNvPr>
              <p:cNvSpPr/>
              <p:nvPr/>
            </p:nvSpPr>
            <p:spPr>
              <a:xfrm>
                <a:off x="13926627" y="5414489"/>
                <a:ext cx="135642" cy="2713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261" name="Freeform: Shape 260">
                <a:extLst>
                  <a:ext uri="{FF2B5EF4-FFF2-40B4-BE49-F238E27FC236}">
                    <a16:creationId xmlns:a16="http://schemas.microsoft.com/office/drawing/2014/main" id="{772993AD-9EBF-4781-AC4A-7C837DC1F253}"/>
                  </a:ext>
                </a:extLst>
              </p:cNvPr>
              <p:cNvSpPr/>
              <p:nvPr/>
            </p:nvSpPr>
            <p:spPr>
              <a:xfrm>
                <a:off x="13902481" y="5214002"/>
                <a:ext cx="135642" cy="2713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262" name="Freeform: Shape 261">
                <a:extLst>
                  <a:ext uri="{FF2B5EF4-FFF2-40B4-BE49-F238E27FC236}">
                    <a16:creationId xmlns:a16="http://schemas.microsoft.com/office/drawing/2014/main" id="{E997A294-F10F-4EE2-A6B6-C7FBBEC554AE}"/>
                  </a:ext>
                </a:extLst>
              </p:cNvPr>
              <p:cNvSpPr/>
              <p:nvPr/>
            </p:nvSpPr>
            <p:spPr>
              <a:xfrm>
                <a:off x="10137737" y="3518965"/>
                <a:ext cx="81395" cy="135642"/>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263" name="Freeform: Shape 262">
                <a:extLst>
                  <a:ext uri="{FF2B5EF4-FFF2-40B4-BE49-F238E27FC236}">
                    <a16:creationId xmlns:a16="http://schemas.microsoft.com/office/drawing/2014/main" id="{1B1A5120-8070-495D-8589-0231D3270A18}"/>
                  </a:ext>
                </a:extLst>
              </p:cNvPr>
              <p:cNvSpPr/>
              <p:nvPr/>
            </p:nvSpPr>
            <p:spPr>
              <a:xfrm>
                <a:off x="9429393" y="4227309"/>
                <a:ext cx="135642" cy="81395"/>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264" name="Freeform: Shape 263">
                <a:extLst>
                  <a:ext uri="{FF2B5EF4-FFF2-40B4-BE49-F238E27FC236}">
                    <a16:creationId xmlns:a16="http://schemas.microsoft.com/office/drawing/2014/main" id="{343210C2-8DC6-4DB5-8784-8B2D3AC2F708}"/>
                  </a:ext>
                </a:extLst>
              </p:cNvPr>
              <p:cNvSpPr/>
              <p:nvPr/>
            </p:nvSpPr>
            <p:spPr>
              <a:xfrm>
                <a:off x="9547672" y="4063722"/>
                <a:ext cx="108526" cy="108526"/>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265" name="Freeform: Shape 264">
                <a:extLst>
                  <a:ext uri="{FF2B5EF4-FFF2-40B4-BE49-F238E27FC236}">
                    <a16:creationId xmlns:a16="http://schemas.microsoft.com/office/drawing/2014/main" id="{BAEA1743-9B79-4E37-A668-AC0F820F8032}"/>
                  </a:ext>
                </a:extLst>
              </p:cNvPr>
              <p:cNvSpPr/>
              <p:nvPr/>
            </p:nvSpPr>
            <p:spPr>
              <a:xfrm>
                <a:off x="9324399" y="4399585"/>
                <a:ext cx="135642" cy="81395"/>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266" name="Freeform: Shape 265">
                <a:extLst>
                  <a:ext uri="{FF2B5EF4-FFF2-40B4-BE49-F238E27FC236}">
                    <a16:creationId xmlns:a16="http://schemas.microsoft.com/office/drawing/2014/main" id="{845CE32C-4D3B-44F7-A812-45BD41C8102B}"/>
                  </a:ext>
                </a:extLst>
              </p:cNvPr>
              <p:cNvSpPr/>
              <p:nvPr/>
            </p:nvSpPr>
            <p:spPr>
              <a:xfrm>
                <a:off x="9678438" y="3910185"/>
                <a:ext cx="108526" cy="108526"/>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267" name="Freeform: Shape 266">
                <a:extLst>
                  <a:ext uri="{FF2B5EF4-FFF2-40B4-BE49-F238E27FC236}">
                    <a16:creationId xmlns:a16="http://schemas.microsoft.com/office/drawing/2014/main" id="{0AD57FF3-3E5E-4BA3-A7CB-0F053BC92D90}"/>
                  </a:ext>
                </a:extLst>
              </p:cNvPr>
              <p:cNvSpPr/>
              <p:nvPr/>
            </p:nvSpPr>
            <p:spPr>
              <a:xfrm>
                <a:off x="9820863" y="3767744"/>
                <a:ext cx="108526" cy="108526"/>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268" name="Freeform: Shape 267">
                <a:extLst>
                  <a:ext uri="{FF2B5EF4-FFF2-40B4-BE49-F238E27FC236}">
                    <a16:creationId xmlns:a16="http://schemas.microsoft.com/office/drawing/2014/main" id="{A90043B2-4B39-45C9-A805-6592274D8876}"/>
                  </a:ext>
                </a:extLst>
              </p:cNvPr>
              <p:cNvSpPr/>
              <p:nvPr/>
            </p:nvSpPr>
            <p:spPr>
              <a:xfrm>
                <a:off x="13201998" y="3807895"/>
                <a:ext cx="108526" cy="108526"/>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269" name="Freeform: Shape 268">
                <a:extLst>
                  <a:ext uri="{FF2B5EF4-FFF2-40B4-BE49-F238E27FC236}">
                    <a16:creationId xmlns:a16="http://schemas.microsoft.com/office/drawing/2014/main" id="{99A03534-0BD7-4823-B3D3-3AE32A43C28B}"/>
                  </a:ext>
                </a:extLst>
              </p:cNvPr>
              <p:cNvSpPr/>
              <p:nvPr/>
            </p:nvSpPr>
            <p:spPr>
              <a:xfrm>
                <a:off x="10309732" y="3414252"/>
                <a:ext cx="81395" cy="135642"/>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270" name="Freeform: Shape 269">
                <a:extLst>
                  <a:ext uri="{FF2B5EF4-FFF2-40B4-BE49-F238E27FC236}">
                    <a16:creationId xmlns:a16="http://schemas.microsoft.com/office/drawing/2014/main" id="{C61547AF-69C0-42E9-B63A-229B432072A5}"/>
                  </a:ext>
                </a:extLst>
              </p:cNvPr>
              <p:cNvSpPr/>
              <p:nvPr/>
            </p:nvSpPr>
            <p:spPr>
              <a:xfrm>
                <a:off x="9233783" y="4580270"/>
                <a:ext cx="135642" cy="81395"/>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271" name="Freeform: Shape 270">
                <a:extLst>
                  <a:ext uri="{FF2B5EF4-FFF2-40B4-BE49-F238E27FC236}">
                    <a16:creationId xmlns:a16="http://schemas.microsoft.com/office/drawing/2014/main" id="{0B94BED1-F307-4053-85E3-47267957A55C}"/>
                  </a:ext>
                </a:extLst>
              </p:cNvPr>
              <p:cNvSpPr/>
              <p:nvPr/>
            </p:nvSpPr>
            <p:spPr>
              <a:xfrm>
                <a:off x="9974151" y="3636712"/>
                <a:ext cx="108526" cy="108526"/>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272" name="Freeform: Shape 271">
                <a:extLst>
                  <a:ext uri="{FF2B5EF4-FFF2-40B4-BE49-F238E27FC236}">
                    <a16:creationId xmlns:a16="http://schemas.microsoft.com/office/drawing/2014/main" id="{07276EBE-1966-4E61-A9A9-B90AB31689A0}"/>
                  </a:ext>
                </a:extLst>
              </p:cNvPr>
              <p:cNvSpPr/>
              <p:nvPr/>
            </p:nvSpPr>
            <p:spPr>
              <a:xfrm>
                <a:off x="13562554" y="4276415"/>
                <a:ext cx="135642" cy="81395"/>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273" name="Freeform: Shape 272">
                <a:extLst>
                  <a:ext uri="{FF2B5EF4-FFF2-40B4-BE49-F238E27FC236}">
                    <a16:creationId xmlns:a16="http://schemas.microsoft.com/office/drawing/2014/main" id="{15ACEE83-E4B6-4DDA-95D9-6F20C0F623CD}"/>
                  </a:ext>
                </a:extLst>
              </p:cNvPr>
              <p:cNvSpPr/>
              <p:nvPr/>
            </p:nvSpPr>
            <p:spPr>
              <a:xfrm>
                <a:off x="13059573" y="3673612"/>
                <a:ext cx="108526" cy="108526"/>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274" name="Freeform: Shape 273">
                <a:extLst>
                  <a:ext uri="{FF2B5EF4-FFF2-40B4-BE49-F238E27FC236}">
                    <a16:creationId xmlns:a16="http://schemas.microsoft.com/office/drawing/2014/main" id="{03862A7F-50F2-45BE-96AA-83E0F2F66F38}"/>
                  </a:ext>
                </a:extLst>
              </p:cNvPr>
              <p:cNvSpPr/>
              <p:nvPr/>
            </p:nvSpPr>
            <p:spPr>
              <a:xfrm>
                <a:off x="12928259" y="7576421"/>
                <a:ext cx="81395" cy="135642"/>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275" name="Freeform: Shape 274">
                <a:extLst>
                  <a:ext uri="{FF2B5EF4-FFF2-40B4-BE49-F238E27FC236}">
                    <a16:creationId xmlns:a16="http://schemas.microsoft.com/office/drawing/2014/main" id="{E680C291-6FC6-4B01-ACC4-45A495619841}"/>
                  </a:ext>
                </a:extLst>
              </p:cNvPr>
              <p:cNvSpPr/>
              <p:nvPr/>
            </p:nvSpPr>
            <p:spPr>
              <a:xfrm>
                <a:off x="12907911" y="3551801"/>
                <a:ext cx="81395" cy="135642"/>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276" name="Freeform: Shape 275">
                <a:extLst>
                  <a:ext uri="{FF2B5EF4-FFF2-40B4-BE49-F238E27FC236}">
                    <a16:creationId xmlns:a16="http://schemas.microsoft.com/office/drawing/2014/main" id="{D0064C11-A3D3-4588-BDBF-8F0790FF04E0}"/>
                  </a:ext>
                </a:extLst>
              </p:cNvPr>
              <p:cNvSpPr/>
              <p:nvPr/>
            </p:nvSpPr>
            <p:spPr>
              <a:xfrm>
                <a:off x="13078562" y="7459220"/>
                <a:ext cx="108526" cy="108526"/>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277" name="Freeform: Shape 276">
                <a:extLst>
                  <a:ext uri="{FF2B5EF4-FFF2-40B4-BE49-F238E27FC236}">
                    <a16:creationId xmlns:a16="http://schemas.microsoft.com/office/drawing/2014/main" id="{5018B82C-D9CA-4E03-BDF7-6568DB92DFBE}"/>
                  </a:ext>
                </a:extLst>
              </p:cNvPr>
              <p:cNvSpPr/>
              <p:nvPr/>
            </p:nvSpPr>
            <p:spPr>
              <a:xfrm>
                <a:off x="12769283" y="7681149"/>
                <a:ext cx="81395" cy="135642"/>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278" name="Freeform: Shape 277">
                <a:extLst>
                  <a:ext uri="{FF2B5EF4-FFF2-40B4-BE49-F238E27FC236}">
                    <a16:creationId xmlns:a16="http://schemas.microsoft.com/office/drawing/2014/main" id="{0707BA08-7099-4907-A5FB-A82F6F6866B7}"/>
                  </a:ext>
                </a:extLst>
              </p:cNvPr>
              <p:cNvSpPr/>
              <p:nvPr/>
            </p:nvSpPr>
            <p:spPr>
              <a:xfrm>
                <a:off x="12602446" y="7773109"/>
                <a:ext cx="81395" cy="135642"/>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279" name="Freeform: Shape 278">
                <a:extLst>
                  <a:ext uri="{FF2B5EF4-FFF2-40B4-BE49-F238E27FC236}">
                    <a16:creationId xmlns:a16="http://schemas.microsoft.com/office/drawing/2014/main" id="{5B9B0233-2A5E-442A-B5EA-E3D4DB93F375}"/>
                  </a:ext>
                </a:extLst>
              </p:cNvPr>
              <p:cNvSpPr/>
              <p:nvPr/>
            </p:nvSpPr>
            <p:spPr>
              <a:xfrm>
                <a:off x="13219643" y="7330361"/>
                <a:ext cx="108526" cy="108526"/>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280" name="Freeform: Shape 279">
                <a:extLst>
                  <a:ext uri="{FF2B5EF4-FFF2-40B4-BE49-F238E27FC236}">
                    <a16:creationId xmlns:a16="http://schemas.microsoft.com/office/drawing/2014/main" id="{2FA7B42E-612A-4258-9C33-E85BE2B0C8C9}"/>
                  </a:ext>
                </a:extLst>
              </p:cNvPr>
              <p:cNvSpPr/>
              <p:nvPr/>
            </p:nvSpPr>
            <p:spPr>
              <a:xfrm>
                <a:off x="12579378" y="3348064"/>
                <a:ext cx="81395" cy="135642"/>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281" name="Freeform: Shape 280">
                <a:extLst>
                  <a:ext uri="{FF2B5EF4-FFF2-40B4-BE49-F238E27FC236}">
                    <a16:creationId xmlns:a16="http://schemas.microsoft.com/office/drawing/2014/main" id="{EF70ED37-50C2-432E-8A48-03D2CF14D9BA}"/>
                  </a:ext>
                </a:extLst>
              </p:cNvPr>
              <p:cNvSpPr/>
              <p:nvPr/>
            </p:nvSpPr>
            <p:spPr>
              <a:xfrm>
                <a:off x="12747591" y="3443009"/>
                <a:ext cx="81395" cy="135642"/>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282" name="Freeform: Shape 281">
                <a:extLst>
                  <a:ext uri="{FF2B5EF4-FFF2-40B4-BE49-F238E27FC236}">
                    <a16:creationId xmlns:a16="http://schemas.microsoft.com/office/drawing/2014/main" id="{8E38622A-DFBE-45A0-B21E-47D7BD908005}"/>
                  </a:ext>
                </a:extLst>
              </p:cNvPr>
              <p:cNvSpPr/>
              <p:nvPr/>
            </p:nvSpPr>
            <p:spPr>
              <a:xfrm>
                <a:off x="13669987" y="6718321"/>
                <a:ext cx="135642" cy="81395"/>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283" name="Freeform: Shape 282">
                <a:extLst>
                  <a:ext uri="{FF2B5EF4-FFF2-40B4-BE49-F238E27FC236}">
                    <a16:creationId xmlns:a16="http://schemas.microsoft.com/office/drawing/2014/main" id="{3652C6F4-897D-4261-BD86-1CD7301C2C54}"/>
                  </a:ext>
                </a:extLst>
              </p:cNvPr>
              <p:cNvSpPr/>
              <p:nvPr/>
            </p:nvSpPr>
            <p:spPr>
              <a:xfrm>
                <a:off x="13817554" y="6367267"/>
                <a:ext cx="135642" cy="54263"/>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284" name="Freeform: Shape 283">
                <a:extLst>
                  <a:ext uri="{FF2B5EF4-FFF2-40B4-BE49-F238E27FC236}">
                    <a16:creationId xmlns:a16="http://schemas.microsoft.com/office/drawing/2014/main" id="{41170C63-CA3D-4295-AE01-E7FDD55F7D4F}"/>
                  </a:ext>
                </a:extLst>
              </p:cNvPr>
              <p:cNvSpPr/>
              <p:nvPr/>
            </p:nvSpPr>
            <p:spPr>
              <a:xfrm>
                <a:off x="13906825" y="5997505"/>
                <a:ext cx="135642" cy="2713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285" name="Freeform: Shape 284">
                <a:extLst>
                  <a:ext uri="{FF2B5EF4-FFF2-40B4-BE49-F238E27FC236}">
                    <a16:creationId xmlns:a16="http://schemas.microsoft.com/office/drawing/2014/main" id="{89C07802-7EE4-489C-8954-3BBE321701E9}"/>
                  </a:ext>
                </a:extLst>
              </p:cNvPr>
              <p:cNvSpPr/>
              <p:nvPr/>
            </p:nvSpPr>
            <p:spPr>
              <a:xfrm>
                <a:off x="13869379" y="6183879"/>
                <a:ext cx="135642" cy="54263"/>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286" name="Freeform: Shape 285">
                <a:extLst>
                  <a:ext uri="{FF2B5EF4-FFF2-40B4-BE49-F238E27FC236}">
                    <a16:creationId xmlns:a16="http://schemas.microsoft.com/office/drawing/2014/main" id="{D281B148-F82E-46FA-8447-BF02F3AF8AF5}"/>
                  </a:ext>
                </a:extLst>
              </p:cNvPr>
              <p:cNvSpPr/>
              <p:nvPr/>
            </p:nvSpPr>
            <p:spPr>
              <a:xfrm>
                <a:off x="13928784" y="5808413"/>
                <a:ext cx="135642" cy="2713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287" name="Freeform: Shape 286">
                <a:extLst>
                  <a:ext uri="{FF2B5EF4-FFF2-40B4-BE49-F238E27FC236}">
                    <a16:creationId xmlns:a16="http://schemas.microsoft.com/office/drawing/2014/main" id="{5767D4F2-211A-4FFB-9542-558C009A1EFD}"/>
                  </a:ext>
                </a:extLst>
              </p:cNvPr>
              <p:cNvSpPr/>
              <p:nvPr/>
            </p:nvSpPr>
            <p:spPr>
              <a:xfrm>
                <a:off x="12429091" y="7851519"/>
                <a:ext cx="54263" cy="135642"/>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288" name="Freeform: Shape 287">
                <a:extLst>
                  <a:ext uri="{FF2B5EF4-FFF2-40B4-BE49-F238E27FC236}">
                    <a16:creationId xmlns:a16="http://schemas.microsoft.com/office/drawing/2014/main" id="{7F4818F7-D6F2-4E0B-842D-515CA0A8EDBF}"/>
                  </a:ext>
                </a:extLst>
              </p:cNvPr>
              <p:cNvSpPr/>
              <p:nvPr/>
            </p:nvSpPr>
            <p:spPr>
              <a:xfrm>
                <a:off x="13468953" y="7042244"/>
                <a:ext cx="135642" cy="108526"/>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289" name="Freeform: Shape 288">
                <a:extLst>
                  <a:ext uri="{FF2B5EF4-FFF2-40B4-BE49-F238E27FC236}">
                    <a16:creationId xmlns:a16="http://schemas.microsoft.com/office/drawing/2014/main" id="{2C7E04BC-9527-4113-94A7-EEBDECB27B62}"/>
                  </a:ext>
                </a:extLst>
              </p:cNvPr>
              <p:cNvSpPr/>
              <p:nvPr/>
            </p:nvSpPr>
            <p:spPr>
              <a:xfrm>
                <a:off x="13750819" y="6545514"/>
                <a:ext cx="135642" cy="54263"/>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290" name="Freeform: Shape 289">
                <a:extLst>
                  <a:ext uri="{FF2B5EF4-FFF2-40B4-BE49-F238E27FC236}">
                    <a16:creationId xmlns:a16="http://schemas.microsoft.com/office/drawing/2014/main" id="{D6888207-30ED-41E9-8552-FE9DC7CD158C}"/>
                  </a:ext>
                </a:extLst>
              </p:cNvPr>
              <p:cNvSpPr/>
              <p:nvPr/>
            </p:nvSpPr>
            <p:spPr>
              <a:xfrm>
                <a:off x="13575839" y="6884362"/>
                <a:ext cx="135642" cy="81395"/>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291" name="Freeform: Shape 290">
                <a:extLst>
                  <a:ext uri="{FF2B5EF4-FFF2-40B4-BE49-F238E27FC236}">
                    <a16:creationId xmlns:a16="http://schemas.microsoft.com/office/drawing/2014/main" id="{A5F4CC14-2223-4AF6-BA33-D5D1150D3452}"/>
                  </a:ext>
                </a:extLst>
              </p:cNvPr>
              <p:cNvSpPr/>
              <p:nvPr/>
            </p:nvSpPr>
            <p:spPr>
              <a:xfrm>
                <a:off x="13349846" y="7191186"/>
                <a:ext cx="108526" cy="108526"/>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292" name="Freeform: Shape 291">
                <a:extLst>
                  <a:ext uri="{FF2B5EF4-FFF2-40B4-BE49-F238E27FC236}">
                    <a16:creationId xmlns:a16="http://schemas.microsoft.com/office/drawing/2014/main" id="{EA8F9798-1126-40F6-A679-265863826E61}"/>
                  </a:ext>
                </a:extLst>
              </p:cNvPr>
              <p:cNvSpPr/>
              <p:nvPr/>
            </p:nvSpPr>
            <p:spPr>
              <a:xfrm>
                <a:off x="10927476" y="7952981"/>
                <a:ext cx="54263" cy="135642"/>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293" name="Freeform: Shape 292">
                <a:extLst>
                  <a:ext uri="{FF2B5EF4-FFF2-40B4-BE49-F238E27FC236}">
                    <a16:creationId xmlns:a16="http://schemas.microsoft.com/office/drawing/2014/main" id="{53E6FCC8-DFC6-4300-A497-7A7623C8BE3B}"/>
                  </a:ext>
                </a:extLst>
              </p:cNvPr>
              <p:cNvSpPr/>
              <p:nvPr/>
            </p:nvSpPr>
            <p:spPr>
              <a:xfrm>
                <a:off x="11125790" y="7992319"/>
                <a:ext cx="27132" cy="135642"/>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294" name="Freeform: Shape 293">
                <a:extLst>
                  <a:ext uri="{FF2B5EF4-FFF2-40B4-BE49-F238E27FC236}">
                    <a16:creationId xmlns:a16="http://schemas.microsoft.com/office/drawing/2014/main" id="{C7482642-6B5C-400B-930F-1D0999A7CA6E}"/>
                  </a:ext>
                </a:extLst>
              </p:cNvPr>
              <p:cNvSpPr/>
              <p:nvPr/>
            </p:nvSpPr>
            <p:spPr>
              <a:xfrm>
                <a:off x="11266856" y="3113382"/>
                <a:ext cx="27132" cy="135642"/>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295" name="Freeform: Shape 294">
                <a:extLst>
                  <a:ext uri="{FF2B5EF4-FFF2-40B4-BE49-F238E27FC236}">
                    <a16:creationId xmlns:a16="http://schemas.microsoft.com/office/drawing/2014/main" id="{0B2186AD-6717-4CC5-8192-F1DDDB21171A}"/>
                  </a:ext>
                </a:extLst>
              </p:cNvPr>
              <p:cNvSpPr/>
              <p:nvPr/>
            </p:nvSpPr>
            <p:spPr>
              <a:xfrm>
                <a:off x="11326542" y="8016465"/>
                <a:ext cx="27132" cy="135642"/>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296" name="Freeform: Shape 295">
                <a:extLst>
                  <a:ext uri="{FF2B5EF4-FFF2-40B4-BE49-F238E27FC236}">
                    <a16:creationId xmlns:a16="http://schemas.microsoft.com/office/drawing/2014/main" id="{8643F441-A6F6-40D0-A367-FB38299DE494}"/>
                  </a:ext>
                </a:extLst>
              </p:cNvPr>
              <p:cNvSpPr/>
              <p:nvPr/>
            </p:nvSpPr>
            <p:spPr>
              <a:xfrm>
                <a:off x="11066651" y="3142155"/>
                <a:ext cx="27132" cy="135642"/>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297" name="Freeform: Shape 296">
                <a:extLst>
                  <a:ext uri="{FF2B5EF4-FFF2-40B4-BE49-F238E27FC236}">
                    <a16:creationId xmlns:a16="http://schemas.microsoft.com/office/drawing/2014/main" id="{EEAC77D5-324D-458D-A0E9-5CC7405E87F1}"/>
                  </a:ext>
                </a:extLst>
              </p:cNvPr>
              <p:cNvSpPr/>
              <p:nvPr/>
            </p:nvSpPr>
            <p:spPr>
              <a:xfrm>
                <a:off x="11468702" y="3100363"/>
                <a:ext cx="27132" cy="135642"/>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298" name="Freeform: Shape 297">
                <a:extLst>
                  <a:ext uri="{FF2B5EF4-FFF2-40B4-BE49-F238E27FC236}">
                    <a16:creationId xmlns:a16="http://schemas.microsoft.com/office/drawing/2014/main" id="{B362E316-8399-46A5-9F3D-7308E523991F}"/>
                  </a:ext>
                </a:extLst>
              </p:cNvPr>
              <p:cNvSpPr/>
              <p:nvPr/>
            </p:nvSpPr>
            <p:spPr>
              <a:xfrm>
                <a:off x="10676806" y="3247680"/>
                <a:ext cx="54263" cy="135642"/>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299" name="Freeform: Shape 298">
                <a:extLst>
                  <a:ext uri="{FF2B5EF4-FFF2-40B4-BE49-F238E27FC236}">
                    <a16:creationId xmlns:a16="http://schemas.microsoft.com/office/drawing/2014/main" id="{461017E1-BC69-4972-ABF2-2370926E3CC3}"/>
                  </a:ext>
                </a:extLst>
              </p:cNvPr>
              <p:cNvSpPr/>
              <p:nvPr/>
            </p:nvSpPr>
            <p:spPr>
              <a:xfrm>
                <a:off x="10733226" y="7899265"/>
                <a:ext cx="54263" cy="135642"/>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300" name="Freeform: Shape 299">
                <a:extLst>
                  <a:ext uri="{FF2B5EF4-FFF2-40B4-BE49-F238E27FC236}">
                    <a16:creationId xmlns:a16="http://schemas.microsoft.com/office/drawing/2014/main" id="{5A7BC274-2451-49A0-B4A1-3D41FC9D35C4}"/>
                  </a:ext>
                </a:extLst>
              </p:cNvPr>
              <p:cNvSpPr/>
              <p:nvPr/>
            </p:nvSpPr>
            <p:spPr>
              <a:xfrm>
                <a:off x="10869697" y="3187181"/>
                <a:ext cx="54263" cy="135642"/>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301" name="Freeform: Shape 300">
                <a:extLst>
                  <a:ext uri="{FF2B5EF4-FFF2-40B4-BE49-F238E27FC236}">
                    <a16:creationId xmlns:a16="http://schemas.microsoft.com/office/drawing/2014/main" id="{8145AA6A-AB7E-4D21-865B-101A22EDF29D}"/>
                  </a:ext>
                </a:extLst>
              </p:cNvPr>
              <p:cNvSpPr/>
              <p:nvPr/>
            </p:nvSpPr>
            <p:spPr>
              <a:xfrm>
                <a:off x="10544133" y="7830623"/>
                <a:ext cx="54263" cy="135642"/>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302" name="Freeform: Shape 301">
                <a:extLst>
                  <a:ext uri="{FF2B5EF4-FFF2-40B4-BE49-F238E27FC236}">
                    <a16:creationId xmlns:a16="http://schemas.microsoft.com/office/drawing/2014/main" id="{448E0765-2903-47E8-8102-E6432343B5BB}"/>
                  </a:ext>
                </a:extLst>
              </p:cNvPr>
              <p:cNvSpPr/>
              <p:nvPr/>
            </p:nvSpPr>
            <p:spPr>
              <a:xfrm>
                <a:off x="11528654" y="8025405"/>
                <a:ext cx="27132" cy="135642"/>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303" name="Freeform: Shape 302">
                <a:extLst>
                  <a:ext uri="{FF2B5EF4-FFF2-40B4-BE49-F238E27FC236}">
                    <a16:creationId xmlns:a16="http://schemas.microsoft.com/office/drawing/2014/main" id="{66AB8D18-E495-47E4-B6B8-3F3E42AC6A60}"/>
                  </a:ext>
                </a:extLst>
              </p:cNvPr>
              <p:cNvSpPr/>
              <p:nvPr/>
            </p:nvSpPr>
            <p:spPr>
              <a:xfrm>
                <a:off x="12040325" y="3153267"/>
                <a:ext cx="27132" cy="135642"/>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304" name="Freeform: Shape 303">
                <a:extLst>
                  <a:ext uri="{FF2B5EF4-FFF2-40B4-BE49-F238E27FC236}">
                    <a16:creationId xmlns:a16="http://schemas.microsoft.com/office/drawing/2014/main" id="{09291DF3-F99D-4DF6-8EC8-F8388DB24D04}"/>
                  </a:ext>
                </a:extLst>
              </p:cNvPr>
              <p:cNvSpPr/>
              <p:nvPr/>
            </p:nvSpPr>
            <p:spPr>
              <a:xfrm>
                <a:off x="12066362" y="7965453"/>
                <a:ext cx="27132" cy="135642"/>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305" name="Freeform: Shape 304">
                <a:extLst>
                  <a:ext uri="{FF2B5EF4-FFF2-40B4-BE49-F238E27FC236}">
                    <a16:creationId xmlns:a16="http://schemas.microsoft.com/office/drawing/2014/main" id="{D59FCE85-56C9-4C8E-908D-F66E15B07123}"/>
                  </a:ext>
                </a:extLst>
              </p:cNvPr>
              <p:cNvSpPr/>
              <p:nvPr/>
            </p:nvSpPr>
            <p:spPr>
              <a:xfrm>
                <a:off x="12224792" y="3202638"/>
                <a:ext cx="54263" cy="135642"/>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306" name="Freeform: Shape 305">
                <a:extLst>
                  <a:ext uri="{FF2B5EF4-FFF2-40B4-BE49-F238E27FC236}">
                    <a16:creationId xmlns:a16="http://schemas.microsoft.com/office/drawing/2014/main" id="{E3F8D237-5651-45C9-A9E2-BC4A77BB4FC7}"/>
                  </a:ext>
                </a:extLst>
              </p:cNvPr>
              <p:cNvSpPr/>
              <p:nvPr/>
            </p:nvSpPr>
            <p:spPr>
              <a:xfrm>
                <a:off x="12250032" y="7915816"/>
                <a:ext cx="54263" cy="135642"/>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307" name="Freeform: Shape 306">
                <a:extLst>
                  <a:ext uri="{FF2B5EF4-FFF2-40B4-BE49-F238E27FC236}">
                    <a16:creationId xmlns:a16="http://schemas.microsoft.com/office/drawing/2014/main" id="{F0826D80-A4E8-4382-B468-0889F041DC59}"/>
                  </a:ext>
                </a:extLst>
              </p:cNvPr>
              <p:cNvSpPr/>
              <p:nvPr/>
            </p:nvSpPr>
            <p:spPr>
              <a:xfrm>
                <a:off x="12404663" y="3267748"/>
                <a:ext cx="54263" cy="135642"/>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308" name="Freeform: Shape 307">
                <a:extLst>
                  <a:ext uri="{FF2B5EF4-FFF2-40B4-BE49-F238E27FC236}">
                    <a16:creationId xmlns:a16="http://schemas.microsoft.com/office/drawing/2014/main" id="{C4D6B707-0E3F-46C0-896C-9D83FD376014}"/>
                  </a:ext>
                </a:extLst>
              </p:cNvPr>
              <p:cNvSpPr/>
              <p:nvPr/>
            </p:nvSpPr>
            <p:spPr>
              <a:xfrm>
                <a:off x="11879442" y="8000461"/>
                <a:ext cx="27132" cy="135642"/>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309" name="Freeform: Shape 308">
                <a:extLst>
                  <a:ext uri="{FF2B5EF4-FFF2-40B4-BE49-F238E27FC236}">
                    <a16:creationId xmlns:a16="http://schemas.microsoft.com/office/drawing/2014/main" id="{F5FEFB2F-AC5B-480E-ACD8-657E33DDBC9E}"/>
                  </a:ext>
                </a:extLst>
              </p:cNvPr>
              <p:cNvSpPr/>
              <p:nvPr/>
            </p:nvSpPr>
            <p:spPr>
              <a:xfrm>
                <a:off x="11690349" y="8020263"/>
                <a:ext cx="27132" cy="135642"/>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310" name="Freeform: Shape 309">
                <a:extLst>
                  <a:ext uri="{FF2B5EF4-FFF2-40B4-BE49-F238E27FC236}">
                    <a16:creationId xmlns:a16="http://schemas.microsoft.com/office/drawing/2014/main" id="{7EF00588-D861-4ED6-BA6E-45994687F7FD}"/>
                  </a:ext>
                </a:extLst>
              </p:cNvPr>
              <p:cNvSpPr/>
              <p:nvPr/>
            </p:nvSpPr>
            <p:spPr>
              <a:xfrm>
                <a:off x="11664030" y="3102536"/>
                <a:ext cx="27132" cy="135642"/>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311" name="Freeform: Shape 310">
                <a:extLst>
                  <a:ext uri="{FF2B5EF4-FFF2-40B4-BE49-F238E27FC236}">
                    <a16:creationId xmlns:a16="http://schemas.microsoft.com/office/drawing/2014/main" id="{A4C67763-6B11-493E-BD52-EFE46F69C401}"/>
                  </a:ext>
                </a:extLst>
              </p:cNvPr>
              <p:cNvSpPr/>
              <p:nvPr/>
            </p:nvSpPr>
            <p:spPr>
              <a:xfrm>
                <a:off x="11853139" y="3119899"/>
                <a:ext cx="27132" cy="135642"/>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312" name="Freeform: Shape 311">
                <a:extLst>
                  <a:ext uri="{FF2B5EF4-FFF2-40B4-BE49-F238E27FC236}">
                    <a16:creationId xmlns:a16="http://schemas.microsoft.com/office/drawing/2014/main" id="{F555AEEF-3FC2-4761-AB26-EAAE72B9FB41}"/>
                  </a:ext>
                </a:extLst>
              </p:cNvPr>
              <p:cNvSpPr/>
              <p:nvPr/>
            </p:nvSpPr>
            <p:spPr>
              <a:xfrm>
                <a:off x="9455712" y="3545284"/>
                <a:ext cx="4177922" cy="4177907"/>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313" name="Freeform: Shape 312">
                <a:extLst>
                  <a:ext uri="{FF2B5EF4-FFF2-40B4-BE49-F238E27FC236}">
                    <a16:creationId xmlns:a16="http://schemas.microsoft.com/office/drawing/2014/main" id="{34310CE1-6068-4565-B38C-421A4967060F}"/>
                  </a:ext>
                </a:extLst>
              </p:cNvPr>
              <p:cNvSpPr/>
              <p:nvPr/>
            </p:nvSpPr>
            <p:spPr>
              <a:xfrm>
                <a:off x="11551722" y="3480174"/>
                <a:ext cx="1519244" cy="73249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314" name="Freeform: Shape 313">
                <a:extLst>
                  <a:ext uri="{FF2B5EF4-FFF2-40B4-BE49-F238E27FC236}">
                    <a16:creationId xmlns:a16="http://schemas.microsoft.com/office/drawing/2014/main" id="{C24AB959-426C-4AF9-8123-A228406E0CEE}"/>
                  </a:ext>
                </a:extLst>
              </p:cNvPr>
              <p:cNvSpPr/>
              <p:nvPr/>
            </p:nvSpPr>
            <p:spPr>
              <a:xfrm>
                <a:off x="9390868" y="5641028"/>
                <a:ext cx="488322" cy="1193681"/>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315" name="Freeform: Shape 314">
                <a:extLst>
                  <a:ext uri="{FF2B5EF4-FFF2-40B4-BE49-F238E27FC236}">
                    <a16:creationId xmlns:a16="http://schemas.microsoft.com/office/drawing/2014/main" id="{69E9F57B-8E64-48F4-8E5C-3CC70ED23CA6}"/>
                  </a:ext>
                </a:extLst>
              </p:cNvPr>
              <p:cNvSpPr/>
              <p:nvPr/>
            </p:nvSpPr>
            <p:spPr>
              <a:xfrm>
                <a:off x="10711252" y="7488790"/>
                <a:ext cx="813885" cy="298416"/>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316" name="Group 315">
                <a:extLst>
                  <a:ext uri="{FF2B5EF4-FFF2-40B4-BE49-F238E27FC236}">
                    <a16:creationId xmlns:a16="http://schemas.microsoft.com/office/drawing/2014/main" id="{55415F63-10FD-4AF2-AC3F-D1B6B0F6717D}"/>
                  </a:ext>
                </a:extLst>
              </p:cNvPr>
              <p:cNvGrpSpPr/>
              <p:nvPr/>
            </p:nvGrpSpPr>
            <p:grpSpPr>
              <a:xfrm>
                <a:off x="8587298" y="2727960"/>
                <a:ext cx="5865457" cy="5832794"/>
                <a:chOff x="8587298" y="2727960"/>
                <a:chExt cx="5865457" cy="5832794"/>
              </a:xfrm>
            </p:grpSpPr>
            <p:sp>
              <p:nvSpPr>
                <p:cNvPr id="319" name="Freeform: Shape 318">
                  <a:extLst>
                    <a:ext uri="{FF2B5EF4-FFF2-40B4-BE49-F238E27FC236}">
                      <a16:creationId xmlns:a16="http://schemas.microsoft.com/office/drawing/2014/main" id="{68521BDB-E7F0-4C96-8942-FD0AC5BE4BC1}"/>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320" name="Freeform: Shape 319">
                  <a:extLst>
                    <a:ext uri="{FF2B5EF4-FFF2-40B4-BE49-F238E27FC236}">
                      <a16:creationId xmlns:a16="http://schemas.microsoft.com/office/drawing/2014/main" id="{CEF21133-82B4-403C-97F5-D2B08B45E44E}"/>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321" name="Freeform: Shape 320">
                  <a:extLst>
                    <a:ext uri="{FF2B5EF4-FFF2-40B4-BE49-F238E27FC236}">
                      <a16:creationId xmlns:a16="http://schemas.microsoft.com/office/drawing/2014/main" id="{369D4E6B-9AC7-48BF-88F2-E2548ABE020B}"/>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317" name="Freeform: Shape 316">
                <a:extLst>
                  <a:ext uri="{FF2B5EF4-FFF2-40B4-BE49-F238E27FC236}">
                    <a16:creationId xmlns:a16="http://schemas.microsoft.com/office/drawing/2014/main" id="{109AA803-B391-4E58-A817-D454DA5FAE6E}"/>
                  </a:ext>
                </a:extLst>
              </p:cNvPr>
              <p:cNvSpPr/>
              <p:nvPr/>
            </p:nvSpPr>
            <p:spPr>
              <a:xfrm>
                <a:off x="9727810" y="3817116"/>
                <a:ext cx="3635337" cy="363532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dirty="0">
                  <a:solidFill>
                    <a:srgbClr val="FFFFFF"/>
                  </a:solidFill>
                </a:endParaRPr>
              </a:p>
            </p:txBody>
          </p:sp>
          <p:sp>
            <p:nvSpPr>
              <p:cNvPr id="318" name="Freeform: Shape 317">
                <a:extLst>
                  <a:ext uri="{FF2B5EF4-FFF2-40B4-BE49-F238E27FC236}">
                    <a16:creationId xmlns:a16="http://schemas.microsoft.com/office/drawing/2014/main" id="{5B70EA82-03EE-4B47-B2D5-4A1461519C00}"/>
                  </a:ext>
                </a:extLst>
              </p:cNvPr>
              <p:cNvSpPr/>
              <p:nvPr/>
            </p:nvSpPr>
            <p:spPr>
              <a:xfrm>
                <a:off x="8950292" y="3039598"/>
                <a:ext cx="5181697" cy="5181698"/>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grpSp>
        <p:grpSp>
          <p:nvGrpSpPr>
            <p:cNvPr id="322" name="Group 257">
              <a:extLst>
                <a:ext uri="{FF2B5EF4-FFF2-40B4-BE49-F238E27FC236}">
                  <a16:creationId xmlns:a16="http://schemas.microsoft.com/office/drawing/2014/main" id="{502C3C84-A005-4157-BF18-0D7CCBFA563E}"/>
                </a:ext>
              </a:extLst>
            </p:cNvPr>
            <p:cNvGrpSpPr>
              <a:grpSpLocks noChangeAspect="1"/>
            </p:cNvGrpSpPr>
            <p:nvPr/>
          </p:nvGrpSpPr>
          <p:grpSpPr bwMode="auto">
            <a:xfrm>
              <a:off x="10196729" y="2704568"/>
              <a:ext cx="412904" cy="680765"/>
              <a:chOff x="332" y="913"/>
              <a:chExt cx="706" cy="1164"/>
            </a:xfrm>
            <a:solidFill>
              <a:schemeClr val="bg1"/>
            </a:solidFill>
          </p:grpSpPr>
          <p:sp>
            <p:nvSpPr>
              <p:cNvPr id="323" name="Rectangle 258">
                <a:extLst>
                  <a:ext uri="{FF2B5EF4-FFF2-40B4-BE49-F238E27FC236}">
                    <a16:creationId xmlns:a16="http://schemas.microsoft.com/office/drawing/2014/main" id="{7E7D532C-325B-4E0E-B6C4-CB5D83BAEB98}"/>
                  </a:ext>
                </a:extLst>
              </p:cNvPr>
              <p:cNvSpPr>
                <a:spLocks noChangeArrowheads="1"/>
              </p:cNvSpPr>
              <p:nvPr/>
            </p:nvSpPr>
            <p:spPr bwMode="auto">
              <a:xfrm>
                <a:off x="530" y="1479"/>
                <a:ext cx="31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4" name="Freeform 259">
                <a:extLst>
                  <a:ext uri="{FF2B5EF4-FFF2-40B4-BE49-F238E27FC236}">
                    <a16:creationId xmlns:a16="http://schemas.microsoft.com/office/drawing/2014/main" id="{AAC8005B-1779-42C4-9E9C-E9F9EE45C034}"/>
                  </a:ext>
                </a:extLst>
              </p:cNvPr>
              <p:cNvSpPr>
                <a:spLocks noEditPoints="1"/>
              </p:cNvSpPr>
              <p:nvPr/>
            </p:nvSpPr>
            <p:spPr bwMode="auto">
              <a:xfrm>
                <a:off x="577" y="1024"/>
                <a:ext cx="216" cy="216"/>
              </a:xfrm>
              <a:custGeom>
                <a:avLst/>
                <a:gdLst>
                  <a:gd name="T0" fmla="*/ 209 w 419"/>
                  <a:gd name="T1" fmla="*/ 420 h 420"/>
                  <a:gd name="T2" fmla="*/ 0 w 419"/>
                  <a:gd name="T3" fmla="*/ 167 h 420"/>
                  <a:gd name="T4" fmla="*/ 0 w 419"/>
                  <a:gd name="T5" fmla="*/ 160 h 420"/>
                  <a:gd name="T6" fmla="*/ 7 w 419"/>
                  <a:gd name="T7" fmla="*/ 156 h 420"/>
                  <a:gd name="T8" fmla="*/ 184 w 419"/>
                  <a:gd name="T9" fmla="*/ 14 h 420"/>
                  <a:gd name="T10" fmla="*/ 216 w 419"/>
                  <a:gd name="T11" fmla="*/ 0 h 420"/>
                  <a:gd name="T12" fmla="*/ 247 w 419"/>
                  <a:gd name="T13" fmla="*/ 16 h 420"/>
                  <a:gd name="T14" fmla="*/ 410 w 419"/>
                  <a:gd name="T15" fmla="*/ 155 h 420"/>
                  <a:gd name="T16" fmla="*/ 419 w 419"/>
                  <a:gd name="T17" fmla="*/ 159 h 420"/>
                  <a:gd name="T18" fmla="*/ 419 w 419"/>
                  <a:gd name="T19" fmla="*/ 167 h 420"/>
                  <a:gd name="T20" fmla="*/ 209 w 419"/>
                  <a:gd name="T21" fmla="*/ 420 h 420"/>
                  <a:gd name="T22" fmla="*/ 28 w 419"/>
                  <a:gd name="T23" fmla="*/ 175 h 420"/>
                  <a:gd name="T24" fmla="*/ 209 w 419"/>
                  <a:gd name="T25" fmla="*/ 393 h 420"/>
                  <a:gd name="T26" fmla="*/ 391 w 419"/>
                  <a:gd name="T27" fmla="*/ 176 h 420"/>
                  <a:gd name="T28" fmla="*/ 226 w 419"/>
                  <a:gd name="T29" fmla="*/ 33 h 420"/>
                  <a:gd name="T30" fmla="*/ 215 w 419"/>
                  <a:gd name="T31" fmla="*/ 27 h 420"/>
                  <a:gd name="T32" fmla="*/ 204 w 419"/>
                  <a:gd name="T33" fmla="*/ 32 h 420"/>
                  <a:gd name="T34" fmla="*/ 28 w 419"/>
                  <a:gd name="T35" fmla="*/ 175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9" h="420">
                    <a:moveTo>
                      <a:pt x="209" y="420"/>
                    </a:moveTo>
                    <a:cubicBezTo>
                      <a:pt x="94" y="420"/>
                      <a:pt x="0" y="307"/>
                      <a:pt x="0" y="167"/>
                    </a:cubicBezTo>
                    <a:cubicBezTo>
                      <a:pt x="0" y="160"/>
                      <a:pt x="0" y="160"/>
                      <a:pt x="0" y="160"/>
                    </a:cubicBezTo>
                    <a:cubicBezTo>
                      <a:pt x="7" y="156"/>
                      <a:pt x="7" y="156"/>
                      <a:pt x="7" y="156"/>
                    </a:cubicBezTo>
                    <a:cubicBezTo>
                      <a:pt x="8" y="155"/>
                      <a:pt x="125" y="80"/>
                      <a:pt x="184" y="14"/>
                    </a:cubicBezTo>
                    <a:cubicBezTo>
                      <a:pt x="192" y="5"/>
                      <a:pt x="204" y="0"/>
                      <a:pt x="216" y="0"/>
                    </a:cubicBezTo>
                    <a:cubicBezTo>
                      <a:pt x="228" y="0"/>
                      <a:pt x="240" y="6"/>
                      <a:pt x="247" y="16"/>
                    </a:cubicBezTo>
                    <a:cubicBezTo>
                      <a:pt x="279" y="55"/>
                      <a:pt x="342" y="124"/>
                      <a:pt x="410" y="155"/>
                    </a:cubicBezTo>
                    <a:cubicBezTo>
                      <a:pt x="419" y="159"/>
                      <a:pt x="419" y="159"/>
                      <a:pt x="419" y="159"/>
                    </a:cubicBezTo>
                    <a:cubicBezTo>
                      <a:pt x="419" y="167"/>
                      <a:pt x="419" y="167"/>
                      <a:pt x="419" y="167"/>
                    </a:cubicBezTo>
                    <a:cubicBezTo>
                      <a:pt x="419" y="307"/>
                      <a:pt x="325" y="420"/>
                      <a:pt x="209" y="420"/>
                    </a:cubicBezTo>
                    <a:close/>
                    <a:moveTo>
                      <a:pt x="28" y="175"/>
                    </a:moveTo>
                    <a:cubicBezTo>
                      <a:pt x="31" y="296"/>
                      <a:pt x="111" y="393"/>
                      <a:pt x="209" y="393"/>
                    </a:cubicBezTo>
                    <a:cubicBezTo>
                      <a:pt x="307" y="393"/>
                      <a:pt x="387" y="296"/>
                      <a:pt x="391" y="176"/>
                    </a:cubicBezTo>
                    <a:cubicBezTo>
                      <a:pt x="321" y="142"/>
                      <a:pt x="258" y="72"/>
                      <a:pt x="226" y="33"/>
                    </a:cubicBezTo>
                    <a:cubicBezTo>
                      <a:pt x="223" y="29"/>
                      <a:pt x="219" y="27"/>
                      <a:pt x="215" y="27"/>
                    </a:cubicBezTo>
                    <a:cubicBezTo>
                      <a:pt x="210" y="27"/>
                      <a:pt x="207" y="29"/>
                      <a:pt x="204" y="32"/>
                    </a:cubicBezTo>
                    <a:cubicBezTo>
                      <a:pt x="150" y="93"/>
                      <a:pt x="54" y="158"/>
                      <a:pt x="28"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5" name="Freeform 260">
                <a:extLst>
                  <a:ext uri="{FF2B5EF4-FFF2-40B4-BE49-F238E27FC236}">
                    <a16:creationId xmlns:a16="http://schemas.microsoft.com/office/drawing/2014/main" id="{66984CCB-5785-43C2-84B8-07E377B3A9B4}"/>
                  </a:ext>
                </a:extLst>
              </p:cNvPr>
              <p:cNvSpPr>
                <a:spLocks noEditPoints="1"/>
              </p:cNvSpPr>
              <p:nvPr/>
            </p:nvSpPr>
            <p:spPr bwMode="auto">
              <a:xfrm>
                <a:off x="572" y="1019"/>
                <a:ext cx="226" cy="225"/>
              </a:xfrm>
              <a:custGeom>
                <a:avLst/>
                <a:gdLst>
                  <a:gd name="T0" fmla="*/ 218 w 437"/>
                  <a:gd name="T1" fmla="*/ 439 h 439"/>
                  <a:gd name="T2" fmla="*/ 0 w 437"/>
                  <a:gd name="T3" fmla="*/ 177 h 439"/>
                  <a:gd name="T4" fmla="*/ 0 w 437"/>
                  <a:gd name="T5" fmla="*/ 165 h 439"/>
                  <a:gd name="T6" fmla="*/ 11 w 437"/>
                  <a:gd name="T7" fmla="*/ 158 h 439"/>
                  <a:gd name="T8" fmla="*/ 186 w 437"/>
                  <a:gd name="T9" fmla="*/ 18 h 439"/>
                  <a:gd name="T10" fmla="*/ 225 w 437"/>
                  <a:gd name="T11" fmla="*/ 1 h 439"/>
                  <a:gd name="T12" fmla="*/ 264 w 437"/>
                  <a:gd name="T13" fmla="*/ 20 h 439"/>
                  <a:gd name="T14" fmla="*/ 423 w 437"/>
                  <a:gd name="T15" fmla="*/ 157 h 439"/>
                  <a:gd name="T16" fmla="*/ 437 w 437"/>
                  <a:gd name="T17" fmla="*/ 163 h 439"/>
                  <a:gd name="T18" fmla="*/ 437 w 437"/>
                  <a:gd name="T19" fmla="*/ 177 h 439"/>
                  <a:gd name="T20" fmla="*/ 218 w 437"/>
                  <a:gd name="T21" fmla="*/ 439 h 439"/>
                  <a:gd name="T22" fmla="*/ 19 w 437"/>
                  <a:gd name="T23" fmla="*/ 175 h 439"/>
                  <a:gd name="T24" fmla="*/ 19 w 437"/>
                  <a:gd name="T25" fmla="*/ 177 h 439"/>
                  <a:gd name="T26" fmla="*/ 218 w 437"/>
                  <a:gd name="T27" fmla="*/ 421 h 439"/>
                  <a:gd name="T28" fmla="*/ 418 w 437"/>
                  <a:gd name="T29" fmla="*/ 177 h 439"/>
                  <a:gd name="T30" fmla="*/ 418 w 437"/>
                  <a:gd name="T31" fmla="*/ 175 h 439"/>
                  <a:gd name="T32" fmla="*/ 416 w 437"/>
                  <a:gd name="T33" fmla="*/ 173 h 439"/>
                  <a:gd name="T34" fmla="*/ 249 w 437"/>
                  <a:gd name="T35" fmla="*/ 31 h 439"/>
                  <a:gd name="T36" fmla="*/ 225 w 437"/>
                  <a:gd name="T37" fmla="*/ 19 h 439"/>
                  <a:gd name="T38" fmla="*/ 200 w 437"/>
                  <a:gd name="T39" fmla="*/ 30 h 439"/>
                  <a:gd name="T40" fmla="*/ 21 w 437"/>
                  <a:gd name="T41" fmla="*/ 174 h 439"/>
                  <a:gd name="T42" fmla="*/ 19 w 437"/>
                  <a:gd name="T43" fmla="*/ 175 h 439"/>
                  <a:gd name="T44" fmla="*/ 218 w 437"/>
                  <a:gd name="T45" fmla="*/ 412 h 439"/>
                  <a:gd name="T46" fmla="*/ 27 w 437"/>
                  <a:gd name="T47" fmla="*/ 185 h 439"/>
                  <a:gd name="T48" fmla="*/ 27 w 437"/>
                  <a:gd name="T49" fmla="*/ 180 h 439"/>
                  <a:gd name="T50" fmla="*/ 32 w 437"/>
                  <a:gd name="T51" fmla="*/ 177 h 439"/>
                  <a:gd name="T52" fmla="*/ 207 w 437"/>
                  <a:gd name="T53" fmla="*/ 36 h 439"/>
                  <a:gd name="T54" fmla="*/ 224 w 437"/>
                  <a:gd name="T55" fmla="*/ 28 h 439"/>
                  <a:gd name="T56" fmla="*/ 242 w 437"/>
                  <a:gd name="T57" fmla="*/ 37 h 439"/>
                  <a:gd name="T58" fmla="*/ 404 w 437"/>
                  <a:gd name="T59" fmla="*/ 178 h 439"/>
                  <a:gd name="T60" fmla="*/ 410 w 437"/>
                  <a:gd name="T61" fmla="*/ 180 h 439"/>
                  <a:gd name="T62" fmla="*/ 409 w 437"/>
                  <a:gd name="T63" fmla="*/ 186 h 439"/>
                  <a:gd name="T64" fmla="*/ 218 w 437"/>
                  <a:gd name="T65" fmla="*/ 412 h 439"/>
                  <a:gd name="T66" fmla="*/ 46 w 437"/>
                  <a:gd name="T67" fmla="*/ 190 h 439"/>
                  <a:gd name="T68" fmla="*/ 218 w 437"/>
                  <a:gd name="T69" fmla="*/ 393 h 439"/>
                  <a:gd name="T70" fmla="*/ 391 w 437"/>
                  <a:gd name="T71" fmla="*/ 192 h 439"/>
                  <a:gd name="T72" fmla="*/ 228 w 437"/>
                  <a:gd name="T73" fmla="*/ 49 h 439"/>
                  <a:gd name="T74" fmla="*/ 224 w 437"/>
                  <a:gd name="T75" fmla="*/ 47 h 439"/>
                  <a:gd name="T76" fmla="*/ 220 w 437"/>
                  <a:gd name="T77" fmla="*/ 48 h 439"/>
                  <a:gd name="T78" fmla="*/ 46 w 437"/>
                  <a:gd name="T79" fmla="*/ 19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7" h="439">
                    <a:moveTo>
                      <a:pt x="218" y="439"/>
                    </a:moveTo>
                    <a:cubicBezTo>
                      <a:pt x="98" y="439"/>
                      <a:pt x="0" y="322"/>
                      <a:pt x="0" y="177"/>
                    </a:cubicBezTo>
                    <a:cubicBezTo>
                      <a:pt x="0" y="165"/>
                      <a:pt x="0" y="165"/>
                      <a:pt x="0" y="165"/>
                    </a:cubicBezTo>
                    <a:cubicBezTo>
                      <a:pt x="11" y="158"/>
                      <a:pt x="11" y="158"/>
                      <a:pt x="11" y="158"/>
                    </a:cubicBezTo>
                    <a:cubicBezTo>
                      <a:pt x="16" y="155"/>
                      <a:pt x="129" y="82"/>
                      <a:pt x="186" y="18"/>
                    </a:cubicBezTo>
                    <a:cubicBezTo>
                      <a:pt x="196" y="7"/>
                      <a:pt x="211" y="0"/>
                      <a:pt x="225" y="1"/>
                    </a:cubicBezTo>
                    <a:cubicBezTo>
                      <a:pt x="240" y="1"/>
                      <a:pt x="254" y="8"/>
                      <a:pt x="264" y="20"/>
                    </a:cubicBezTo>
                    <a:cubicBezTo>
                      <a:pt x="295" y="58"/>
                      <a:pt x="357" y="127"/>
                      <a:pt x="423" y="157"/>
                    </a:cubicBezTo>
                    <a:cubicBezTo>
                      <a:pt x="437" y="163"/>
                      <a:pt x="437" y="163"/>
                      <a:pt x="437" y="163"/>
                    </a:cubicBezTo>
                    <a:cubicBezTo>
                      <a:pt x="437" y="177"/>
                      <a:pt x="437" y="177"/>
                      <a:pt x="437" y="177"/>
                    </a:cubicBezTo>
                    <a:cubicBezTo>
                      <a:pt x="437" y="322"/>
                      <a:pt x="339" y="439"/>
                      <a:pt x="218" y="439"/>
                    </a:cubicBezTo>
                    <a:close/>
                    <a:moveTo>
                      <a:pt x="19" y="175"/>
                    </a:moveTo>
                    <a:cubicBezTo>
                      <a:pt x="19" y="177"/>
                      <a:pt x="19" y="177"/>
                      <a:pt x="19" y="177"/>
                    </a:cubicBezTo>
                    <a:cubicBezTo>
                      <a:pt x="19" y="311"/>
                      <a:pt x="108" y="421"/>
                      <a:pt x="218" y="421"/>
                    </a:cubicBezTo>
                    <a:cubicBezTo>
                      <a:pt x="329" y="421"/>
                      <a:pt x="418" y="311"/>
                      <a:pt x="418" y="177"/>
                    </a:cubicBezTo>
                    <a:cubicBezTo>
                      <a:pt x="418" y="175"/>
                      <a:pt x="418" y="175"/>
                      <a:pt x="418" y="175"/>
                    </a:cubicBezTo>
                    <a:cubicBezTo>
                      <a:pt x="416" y="173"/>
                      <a:pt x="416" y="173"/>
                      <a:pt x="416" y="173"/>
                    </a:cubicBezTo>
                    <a:cubicBezTo>
                      <a:pt x="346" y="142"/>
                      <a:pt x="281" y="71"/>
                      <a:pt x="249" y="31"/>
                    </a:cubicBezTo>
                    <a:cubicBezTo>
                      <a:pt x="243" y="24"/>
                      <a:pt x="234" y="20"/>
                      <a:pt x="225" y="19"/>
                    </a:cubicBezTo>
                    <a:cubicBezTo>
                      <a:pt x="215" y="19"/>
                      <a:pt x="206" y="23"/>
                      <a:pt x="200" y="30"/>
                    </a:cubicBezTo>
                    <a:cubicBezTo>
                      <a:pt x="142" y="95"/>
                      <a:pt x="33" y="166"/>
                      <a:pt x="21" y="174"/>
                    </a:cubicBezTo>
                    <a:lnTo>
                      <a:pt x="19" y="175"/>
                    </a:lnTo>
                    <a:close/>
                    <a:moveTo>
                      <a:pt x="218" y="412"/>
                    </a:moveTo>
                    <a:cubicBezTo>
                      <a:pt x="115" y="412"/>
                      <a:pt x="31" y="312"/>
                      <a:pt x="27" y="185"/>
                    </a:cubicBezTo>
                    <a:cubicBezTo>
                      <a:pt x="27" y="180"/>
                      <a:pt x="27" y="180"/>
                      <a:pt x="27" y="180"/>
                    </a:cubicBezTo>
                    <a:cubicBezTo>
                      <a:pt x="32" y="177"/>
                      <a:pt x="32" y="177"/>
                      <a:pt x="32" y="177"/>
                    </a:cubicBezTo>
                    <a:cubicBezTo>
                      <a:pt x="59" y="159"/>
                      <a:pt x="153" y="96"/>
                      <a:pt x="207" y="36"/>
                    </a:cubicBezTo>
                    <a:cubicBezTo>
                      <a:pt x="211" y="30"/>
                      <a:pt x="217" y="28"/>
                      <a:pt x="224" y="28"/>
                    </a:cubicBezTo>
                    <a:cubicBezTo>
                      <a:pt x="231" y="28"/>
                      <a:pt x="238" y="32"/>
                      <a:pt x="242" y="37"/>
                    </a:cubicBezTo>
                    <a:cubicBezTo>
                      <a:pt x="273" y="75"/>
                      <a:pt x="335" y="144"/>
                      <a:pt x="404" y="178"/>
                    </a:cubicBezTo>
                    <a:cubicBezTo>
                      <a:pt x="410" y="180"/>
                      <a:pt x="410" y="180"/>
                      <a:pt x="410" y="180"/>
                    </a:cubicBezTo>
                    <a:cubicBezTo>
                      <a:pt x="409" y="186"/>
                      <a:pt x="409" y="186"/>
                      <a:pt x="409" y="186"/>
                    </a:cubicBezTo>
                    <a:cubicBezTo>
                      <a:pt x="405" y="313"/>
                      <a:pt x="322" y="412"/>
                      <a:pt x="218" y="412"/>
                    </a:cubicBezTo>
                    <a:close/>
                    <a:moveTo>
                      <a:pt x="46" y="190"/>
                    </a:moveTo>
                    <a:cubicBezTo>
                      <a:pt x="51" y="302"/>
                      <a:pt x="128" y="393"/>
                      <a:pt x="218" y="393"/>
                    </a:cubicBezTo>
                    <a:cubicBezTo>
                      <a:pt x="310" y="393"/>
                      <a:pt x="385" y="305"/>
                      <a:pt x="391" y="192"/>
                    </a:cubicBezTo>
                    <a:cubicBezTo>
                      <a:pt x="321" y="155"/>
                      <a:pt x="259" y="87"/>
                      <a:pt x="228" y="49"/>
                    </a:cubicBezTo>
                    <a:cubicBezTo>
                      <a:pt x="227" y="47"/>
                      <a:pt x="226" y="47"/>
                      <a:pt x="224" y="47"/>
                    </a:cubicBezTo>
                    <a:cubicBezTo>
                      <a:pt x="222" y="47"/>
                      <a:pt x="222" y="47"/>
                      <a:pt x="220" y="48"/>
                    </a:cubicBezTo>
                    <a:cubicBezTo>
                      <a:pt x="168" y="107"/>
                      <a:pt x="79" y="168"/>
                      <a:pt x="46"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6" name="Freeform 261">
                <a:extLst>
                  <a:ext uri="{FF2B5EF4-FFF2-40B4-BE49-F238E27FC236}">
                    <a16:creationId xmlns:a16="http://schemas.microsoft.com/office/drawing/2014/main" id="{D190CB68-E7FD-4FC6-82A4-772054C90197}"/>
                  </a:ext>
                </a:extLst>
              </p:cNvPr>
              <p:cNvSpPr>
                <a:spLocks/>
              </p:cNvSpPr>
              <p:nvPr/>
            </p:nvSpPr>
            <p:spPr bwMode="auto">
              <a:xfrm>
                <a:off x="534" y="918"/>
                <a:ext cx="302" cy="348"/>
              </a:xfrm>
              <a:custGeom>
                <a:avLst/>
                <a:gdLst>
                  <a:gd name="T0" fmla="*/ 393 w 585"/>
                  <a:gd name="T1" fmla="*/ 674 h 677"/>
                  <a:gd name="T2" fmla="*/ 379 w 585"/>
                  <a:gd name="T3" fmla="*/ 650 h 677"/>
                  <a:gd name="T4" fmla="*/ 556 w 585"/>
                  <a:gd name="T5" fmla="*/ 558 h 677"/>
                  <a:gd name="T6" fmla="*/ 536 w 585"/>
                  <a:gd name="T7" fmla="*/ 271 h 677"/>
                  <a:gd name="T8" fmla="*/ 292 w 585"/>
                  <a:gd name="T9" fmla="*/ 27 h 677"/>
                  <a:gd name="T10" fmla="*/ 49 w 585"/>
                  <a:gd name="T11" fmla="*/ 270 h 677"/>
                  <a:gd name="T12" fmla="*/ 28 w 585"/>
                  <a:gd name="T13" fmla="*/ 558 h 677"/>
                  <a:gd name="T14" fmla="*/ 207 w 585"/>
                  <a:gd name="T15" fmla="*/ 653 h 677"/>
                  <a:gd name="T16" fmla="*/ 194 w 585"/>
                  <a:gd name="T17" fmla="*/ 677 h 677"/>
                  <a:gd name="T18" fmla="*/ 0 w 585"/>
                  <a:gd name="T19" fmla="*/ 574 h 677"/>
                  <a:gd name="T20" fmla="*/ 22 w 585"/>
                  <a:gd name="T21" fmla="*/ 269 h 677"/>
                  <a:gd name="T22" fmla="*/ 292 w 585"/>
                  <a:gd name="T23" fmla="*/ 0 h 677"/>
                  <a:gd name="T24" fmla="*/ 563 w 585"/>
                  <a:gd name="T25" fmla="*/ 270 h 677"/>
                  <a:gd name="T26" fmla="*/ 585 w 585"/>
                  <a:gd name="T27" fmla="*/ 574 h 677"/>
                  <a:gd name="T28" fmla="*/ 393 w 585"/>
                  <a:gd name="T29" fmla="*/ 674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5" h="677">
                    <a:moveTo>
                      <a:pt x="393" y="674"/>
                    </a:moveTo>
                    <a:cubicBezTo>
                      <a:pt x="379" y="650"/>
                      <a:pt x="379" y="650"/>
                      <a:pt x="379" y="650"/>
                    </a:cubicBezTo>
                    <a:cubicBezTo>
                      <a:pt x="556" y="558"/>
                      <a:pt x="556" y="558"/>
                      <a:pt x="556" y="558"/>
                    </a:cubicBezTo>
                    <a:cubicBezTo>
                      <a:pt x="536" y="271"/>
                      <a:pt x="536" y="271"/>
                      <a:pt x="536" y="271"/>
                    </a:cubicBezTo>
                    <a:cubicBezTo>
                      <a:pt x="536" y="136"/>
                      <a:pt x="426" y="27"/>
                      <a:pt x="292" y="27"/>
                    </a:cubicBezTo>
                    <a:cubicBezTo>
                      <a:pt x="158" y="27"/>
                      <a:pt x="49" y="136"/>
                      <a:pt x="49" y="270"/>
                    </a:cubicBezTo>
                    <a:cubicBezTo>
                      <a:pt x="28" y="558"/>
                      <a:pt x="28" y="558"/>
                      <a:pt x="28" y="558"/>
                    </a:cubicBezTo>
                    <a:cubicBezTo>
                      <a:pt x="207" y="653"/>
                      <a:pt x="207" y="653"/>
                      <a:pt x="207" y="653"/>
                    </a:cubicBezTo>
                    <a:cubicBezTo>
                      <a:pt x="194" y="677"/>
                      <a:pt x="194" y="677"/>
                      <a:pt x="194" y="677"/>
                    </a:cubicBezTo>
                    <a:cubicBezTo>
                      <a:pt x="0" y="574"/>
                      <a:pt x="0" y="574"/>
                      <a:pt x="0" y="574"/>
                    </a:cubicBezTo>
                    <a:cubicBezTo>
                      <a:pt x="22" y="269"/>
                      <a:pt x="22" y="269"/>
                      <a:pt x="22" y="269"/>
                    </a:cubicBezTo>
                    <a:cubicBezTo>
                      <a:pt x="22" y="121"/>
                      <a:pt x="143" y="0"/>
                      <a:pt x="292" y="0"/>
                    </a:cubicBezTo>
                    <a:cubicBezTo>
                      <a:pt x="442" y="0"/>
                      <a:pt x="563" y="121"/>
                      <a:pt x="563" y="270"/>
                    </a:cubicBezTo>
                    <a:cubicBezTo>
                      <a:pt x="585" y="574"/>
                      <a:pt x="585" y="574"/>
                      <a:pt x="585" y="574"/>
                    </a:cubicBezTo>
                    <a:lnTo>
                      <a:pt x="393" y="6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7" name="Freeform 262">
                <a:extLst>
                  <a:ext uri="{FF2B5EF4-FFF2-40B4-BE49-F238E27FC236}">
                    <a16:creationId xmlns:a16="http://schemas.microsoft.com/office/drawing/2014/main" id="{2212FDAE-F1E6-4945-A661-A925479FAF1A}"/>
                  </a:ext>
                </a:extLst>
              </p:cNvPr>
              <p:cNvSpPr>
                <a:spLocks noEditPoints="1"/>
              </p:cNvSpPr>
              <p:nvPr/>
            </p:nvSpPr>
            <p:spPr bwMode="auto">
              <a:xfrm>
                <a:off x="529" y="913"/>
                <a:ext cx="313" cy="359"/>
              </a:xfrm>
              <a:custGeom>
                <a:avLst/>
                <a:gdLst>
                  <a:gd name="T0" fmla="*/ 208 w 605"/>
                  <a:gd name="T1" fmla="*/ 699 h 699"/>
                  <a:gd name="T2" fmla="*/ 0 w 605"/>
                  <a:gd name="T3" fmla="*/ 589 h 699"/>
                  <a:gd name="T4" fmla="*/ 23 w 605"/>
                  <a:gd name="T5" fmla="*/ 278 h 699"/>
                  <a:gd name="T6" fmla="*/ 105 w 605"/>
                  <a:gd name="T7" fmla="*/ 82 h 699"/>
                  <a:gd name="T8" fmla="*/ 302 w 605"/>
                  <a:gd name="T9" fmla="*/ 0 h 699"/>
                  <a:gd name="T10" fmla="*/ 582 w 605"/>
                  <a:gd name="T11" fmla="*/ 280 h 699"/>
                  <a:gd name="T12" fmla="*/ 605 w 605"/>
                  <a:gd name="T13" fmla="*/ 589 h 699"/>
                  <a:gd name="T14" fmla="*/ 399 w 605"/>
                  <a:gd name="T15" fmla="*/ 696 h 699"/>
                  <a:gd name="T16" fmla="*/ 376 w 605"/>
                  <a:gd name="T17" fmla="*/ 656 h 699"/>
                  <a:gd name="T18" fmla="*/ 557 w 605"/>
                  <a:gd name="T19" fmla="*/ 563 h 699"/>
                  <a:gd name="T20" fmla="*/ 536 w 605"/>
                  <a:gd name="T21" fmla="*/ 282 h 699"/>
                  <a:gd name="T22" fmla="*/ 302 w 605"/>
                  <a:gd name="T23" fmla="*/ 46 h 699"/>
                  <a:gd name="T24" fmla="*/ 69 w 605"/>
                  <a:gd name="T25" fmla="*/ 280 h 699"/>
                  <a:gd name="T26" fmla="*/ 48 w 605"/>
                  <a:gd name="T27" fmla="*/ 563 h 699"/>
                  <a:gd name="T28" fmla="*/ 230 w 605"/>
                  <a:gd name="T29" fmla="*/ 660 h 699"/>
                  <a:gd name="T30" fmla="*/ 208 w 605"/>
                  <a:gd name="T31" fmla="*/ 699 h 699"/>
                  <a:gd name="T32" fmla="*/ 20 w 605"/>
                  <a:gd name="T33" fmla="*/ 578 h 699"/>
                  <a:gd name="T34" fmla="*/ 200 w 605"/>
                  <a:gd name="T35" fmla="*/ 675 h 699"/>
                  <a:gd name="T36" fmla="*/ 205 w 605"/>
                  <a:gd name="T37" fmla="*/ 667 h 699"/>
                  <a:gd name="T38" fmla="*/ 29 w 605"/>
                  <a:gd name="T39" fmla="*/ 574 h 699"/>
                  <a:gd name="T40" fmla="*/ 50 w 605"/>
                  <a:gd name="T41" fmla="*/ 279 h 699"/>
                  <a:gd name="T42" fmla="*/ 302 w 605"/>
                  <a:gd name="T43" fmla="*/ 28 h 699"/>
                  <a:gd name="T44" fmla="*/ 555 w 605"/>
                  <a:gd name="T45" fmla="*/ 281 h 699"/>
                  <a:gd name="T46" fmla="*/ 576 w 605"/>
                  <a:gd name="T47" fmla="*/ 574 h 699"/>
                  <a:gd name="T48" fmla="*/ 402 w 605"/>
                  <a:gd name="T49" fmla="*/ 664 h 699"/>
                  <a:gd name="T50" fmla="*/ 406 w 605"/>
                  <a:gd name="T51" fmla="*/ 671 h 699"/>
                  <a:gd name="T52" fmla="*/ 585 w 605"/>
                  <a:gd name="T53" fmla="*/ 578 h 699"/>
                  <a:gd name="T54" fmla="*/ 564 w 605"/>
                  <a:gd name="T55" fmla="*/ 281 h 699"/>
                  <a:gd name="T56" fmla="*/ 302 w 605"/>
                  <a:gd name="T57" fmla="*/ 19 h 699"/>
                  <a:gd name="T58" fmla="*/ 118 w 605"/>
                  <a:gd name="T59" fmla="*/ 95 h 699"/>
                  <a:gd name="T60" fmla="*/ 41 w 605"/>
                  <a:gd name="T61" fmla="*/ 279 h 699"/>
                  <a:gd name="T62" fmla="*/ 20 w 605"/>
                  <a:gd name="T63" fmla="*/ 578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5" h="699">
                    <a:moveTo>
                      <a:pt x="208" y="699"/>
                    </a:moveTo>
                    <a:cubicBezTo>
                      <a:pt x="0" y="589"/>
                      <a:pt x="0" y="589"/>
                      <a:pt x="0" y="589"/>
                    </a:cubicBezTo>
                    <a:cubicBezTo>
                      <a:pt x="23" y="278"/>
                      <a:pt x="23" y="278"/>
                      <a:pt x="23" y="278"/>
                    </a:cubicBezTo>
                    <a:cubicBezTo>
                      <a:pt x="23" y="205"/>
                      <a:pt x="52" y="135"/>
                      <a:pt x="105" y="82"/>
                    </a:cubicBezTo>
                    <a:cubicBezTo>
                      <a:pt x="158" y="30"/>
                      <a:pt x="228" y="0"/>
                      <a:pt x="302" y="0"/>
                    </a:cubicBezTo>
                    <a:cubicBezTo>
                      <a:pt x="457" y="0"/>
                      <a:pt x="582" y="126"/>
                      <a:pt x="582" y="280"/>
                    </a:cubicBezTo>
                    <a:cubicBezTo>
                      <a:pt x="605" y="589"/>
                      <a:pt x="605" y="589"/>
                      <a:pt x="605" y="589"/>
                    </a:cubicBezTo>
                    <a:cubicBezTo>
                      <a:pt x="399" y="696"/>
                      <a:pt x="399" y="696"/>
                      <a:pt x="399" y="696"/>
                    </a:cubicBezTo>
                    <a:cubicBezTo>
                      <a:pt x="376" y="656"/>
                      <a:pt x="376" y="656"/>
                      <a:pt x="376" y="656"/>
                    </a:cubicBezTo>
                    <a:cubicBezTo>
                      <a:pt x="557" y="563"/>
                      <a:pt x="557" y="563"/>
                      <a:pt x="557" y="563"/>
                    </a:cubicBezTo>
                    <a:cubicBezTo>
                      <a:pt x="536" y="282"/>
                      <a:pt x="536" y="282"/>
                      <a:pt x="536" y="282"/>
                    </a:cubicBezTo>
                    <a:cubicBezTo>
                      <a:pt x="536" y="152"/>
                      <a:pt x="431" y="46"/>
                      <a:pt x="302" y="46"/>
                    </a:cubicBezTo>
                    <a:cubicBezTo>
                      <a:pt x="173" y="46"/>
                      <a:pt x="69" y="151"/>
                      <a:pt x="69" y="280"/>
                    </a:cubicBezTo>
                    <a:cubicBezTo>
                      <a:pt x="48" y="563"/>
                      <a:pt x="48" y="563"/>
                      <a:pt x="48" y="563"/>
                    </a:cubicBezTo>
                    <a:cubicBezTo>
                      <a:pt x="230" y="660"/>
                      <a:pt x="230" y="660"/>
                      <a:pt x="230" y="660"/>
                    </a:cubicBezTo>
                    <a:lnTo>
                      <a:pt x="208" y="699"/>
                    </a:lnTo>
                    <a:close/>
                    <a:moveTo>
                      <a:pt x="20" y="578"/>
                    </a:moveTo>
                    <a:cubicBezTo>
                      <a:pt x="200" y="675"/>
                      <a:pt x="200" y="675"/>
                      <a:pt x="200" y="675"/>
                    </a:cubicBezTo>
                    <a:cubicBezTo>
                      <a:pt x="205" y="667"/>
                      <a:pt x="205" y="667"/>
                      <a:pt x="205" y="667"/>
                    </a:cubicBezTo>
                    <a:cubicBezTo>
                      <a:pt x="29" y="574"/>
                      <a:pt x="29" y="574"/>
                      <a:pt x="29" y="574"/>
                    </a:cubicBezTo>
                    <a:cubicBezTo>
                      <a:pt x="50" y="279"/>
                      <a:pt x="50" y="279"/>
                      <a:pt x="50" y="279"/>
                    </a:cubicBezTo>
                    <a:cubicBezTo>
                      <a:pt x="50" y="141"/>
                      <a:pt x="163" y="28"/>
                      <a:pt x="302" y="28"/>
                    </a:cubicBezTo>
                    <a:cubicBezTo>
                      <a:pt x="442" y="28"/>
                      <a:pt x="555" y="141"/>
                      <a:pt x="555" y="281"/>
                    </a:cubicBezTo>
                    <a:cubicBezTo>
                      <a:pt x="576" y="574"/>
                      <a:pt x="576" y="574"/>
                      <a:pt x="576" y="574"/>
                    </a:cubicBezTo>
                    <a:cubicBezTo>
                      <a:pt x="402" y="664"/>
                      <a:pt x="402" y="664"/>
                      <a:pt x="402" y="664"/>
                    </a:cubicBezTo>
                    <a:cubicBezTo>
                      <a:pt x="406" y="671"/>
                      <a:pt x="406" y="671"/>
                      <a:pt x="406" y="671"/>
                    </a:cubicBezTo>
                    <a:cubicBezTo>
                      <a:pt x="585" y="578"/>
                      <a:pt x="585" y="578"/>
                      <a:pt x="585" y="578"/>
                    </a:cubicBezTo>
                    <a:cubicBezTo>
                      <a:pt x="564" y="281"/>
                      <a:pt x="564" y="281"/>
                      <a:pt x="564" y="281"/>
                    </a:cubicBezTo>
                    <a:cubicBezTo>
                      <a:pt x="564" y="136"/>
                      <a:pt x="446" y="19"/>
                      <a:pt x="302" y="19"/>
                    </a:cubicBezTo>
                    <a:cubicBezTo>
                      <a:pt x="233" y="19"/>
                      <a:pt x="167" y="46"/>
                      <a:pt x="118" y="95"/>
                    </a:cubicBezTo>
                    <a:cubicBezTo>
                      <a:pt x="68" y="145"/>
                      <a:pt x="41" y="210"/>
                      <a:pt x="41" y="279"/>
                    </a:cubicBezTo>
                    <a:lnTo>
                      <a:pt x="20"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8" name="Freeform 263">
                <a:extLst>
                  <a:ext uri="{FF2B5EF4-FFF2-40B4-BE49-F238E27FC236}">
                    <a16:creationId xmlns:a16="http://schemas.microsoft.com/office/drawing/2014/main" id="{F9ECCE15-E62B-4609-B9E8-1FB8A552D149}"/>
                  </a:ext>
                </a:extLst>
              </p:cNvPr>
              <p:cNvSpPr>
                <a:spLocks/>
              </p:cNvSpPr>
              <p:nvPr/>
            </p:nvSpPr>
            <p:spPr bwMode="auto">
              <a:xfrm>
                <a:off x="629" y="1221"/>
                <a:ext cx="111" cy="98"/>
              </a:xfrm>
              <a:custGeom>
                <a:avLst/>
                <a:gdLst>
                  <a:gd name="T0" fmla="*/ 106 w 214"/>
                  <a:gd name="T1" fmla="*/ 191 h 192"/>
                  <a:gd name="T2" fmla="*/ 26 w 214"/>
                  <a:gd name="T3" fmla="*/ 160 h 192"/>
                  <a:gd name="T4" fmla="*/ 3 w 214"/>
                  <a:gd name="T5" fmla="*/ 84 h 192"/>
                  <a:gd name="T6" fmla="*/ 13 w 214"/>
                  <a:gd name="T7" fmla="*/ 0 h 192"/>
                  <a:gd name="T8" fmla="*/ 35 w 214"/>
                  <a:gd name="T9" fmla="*/ 2 h 192"/>
                  <a:gd name="T10" fmla="*/ 26 w 214"/>
                  <a:gd name="T11" fmla="*/ 87 h 192"/>
                  <a:gd name="T12" fmla="*/ 42 w 214"/>
                  <a:gd name="T13" fmla="*/ 144 h 192"/>
                  <a:gd name="T14" fmla="*/ 107 w 214"/>
                  <a:gd name="T15" fmla="*/ 168 h 192"/>
                  <a:gd name="T16" fmla="*/ 173 w 214"/>
                  <a:gd name="T17" fmla="*/ 144 h 192"/>
                  <a:gd name="T18" fmla="*/ 189 w 214"/>
                  <a:gd name="T19" fmla="*/ 86 h 192"/>
                  <a:gd name="T20" fmla="*/ 180 w 214"/>
                  <a:gd name="T21" fmla="*/ 2 h 192"/>
                  <a:gd name="T22" fmla="*/ 202 w 214"/>
                  <a:gd name="T23" fmla="*/ 0 h 192"/>
                  <a:gd name="T24" fmla="*/ 212 w 214"/>
                  <a:gd name="T25" fmla="*/ 84 h 192"/>
                  <a:gd name="T26" fmla="*/ 189 w 214"/>
                  <a:gd name="T27" fmla="*/ 160 h 192"/>
                  <a:gd name="T28" fmla="*/ 107 w 214"/>
                  <a:gd name="T29" fmla="*/ 191 h 192"/>
                  <a:gd name="T30" fmla="*/ 106 w 214"/>
                  <a:gd name="T31" fmla="*/ 1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4" h="192">
                    <a:moveTo>
                      <a:pt x="106" y="191"/>
                    </a:moveTo>
                    <a:cubicBezTo>
                      <a:pt x="97" y="191"/>
                      <a:pt x="54" y="189"/>
                      <a:pt x="26" y="160"/>
                    </a:cubicBezTo>
                    <a:cubicBezTo>
                      <a:pt x="8" y="141"/>
                      <a:pt x="0" y="116"/>
                      <a:pt x="3" y="84"/>
                    </a:cubicBezTo>
                    <a:cubicBezTo>
                      <a:pt x="13" y="0"/>
                      <a:pt x="13" y="0"/>
                      <a:pt x="13" y="0"/>
                    </a:cubicBezTo>
                    <a:cubicBezTo>
                      <a:pt x="35" y="2"/>
                      <a:pt x="35" y="2"/>
                      <a:pt x="35" y="2"/>
                    </a:cubicBezTo>
                    <a:cubicBezTo>
                      <a:pt x="26" y="87"/>
                      <a:pt x="26" y="87"/>
                      <a:pt x="26" y="87"/>
                    </a:cubicBezTo>
                    <a:cubicBezTo>
                      <a:pt x="24" y="111"/>
                      <a:pt x="29" y="131"/>
                      <a:pt x="42" y="144"/>
                    </a:cubicBezTo>
                    <a:cubicBezTo>
                      <a:pt x="66" y="169"/>
                      <a:pt x="107" y="168"/>
                      <a:pt x="107" y="168"/>
                    </a:cubicBezTo>
                    <a:cubicBezTo>
                      <a:pt x="108" y="168"/>
                      <a:pt x="149" y="169"/>
                      <a:pt x="173" y="144"/>
                    </a:cubicBezTo>
                    <a:cubicBezTo>
                      <a:pt x="186" y="131"/>
                      <a:pt x="191" y="111"/>
                      <a:pt x="189" y="86"/>
                    </a:cubicBezTo>
                    <a:cubicBezTo>
                      <a:pt x="180" y="2"/>
                      <a:pt x="180" y="2"/>
                      <a:pt x="180" y="2"/>
                    </a:cubicBezTo>
                    <a:cubicBezTo>
                      <a:pt x="202" y="0"/>
                      <a:pt x="202" y="0"/>
                      <a:pt x="202" y="0"/>
                    </a:cubicBezTo>
                    <a:cubicBezTo>
                      <a:pt x="212" y="84"/>
                      <a:pt x="212" y="84"/>
                      <a:pt x="212" y="84"/>
                    </a:cubicBezTo>
                    <a:cubicBezTo>
                      <a:pt x="214" y="116"/>
                      <a:pt x="207" y="141"/>
                      <a:pt x="189" y="160"/>
                    </a:cubicBezTo>
                    <a:cubicBezTo>
                      <a:pt x="158" y="192"/>
                      <a:pt x="109" y="191"/>
                      <a:pt x="107" y="191"/>
                    </a:cubicBezTo>
                    <a:cubicBezTo>
                      <a:pt x="107" y="191"/>
                      <a:pt x="106" y="191"/>
                      <a:pt x="106"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29" name="Freeform 264">
                <a:extLst>
                  <a:ext uri="{FF2B5EF4-FFF2-40B4-BE49-F238E27FC236}">
                    <a16:creationId xmlns:a16="http://schemas.microsoft.com/office/drawing/2014/main" id="{372253BB-6DF5-4245-87B9-CE012400CE42}"/>
                  </a:ext>
                </a:extLst>
              </p:cNvPr>
              <p:cNvSpPr>
                <a:spLocks/>
              </p:cNvSpPr>
              <p:nvPr/>
            </p:nvSpPr>
            <p:spPr bwMode="auto">
              <a:xfrm>
                <a:off x="625" y="1215"/>
                <a:ext cx="120" cy="108"/>
              </a:xfrm>
              <a:custGeom>
                <a:avLst/>
                <a:gdLst>
                  <a:gd name="T0" fmla="*/ 118 w 233"/>
                  <a:gd name="T1" fmla="*/ 210 h 210"/>
                  <a:gd name="T2" fmla="*/ 116 w 233"/>
                  <a:gd name="T3" fmla="*/ 210 h 210"/>
                  <a:gd name="T4" fmla="*/ 115 w 233"/>
                  <a:gd name="T5" fmla="*/ 201 h 210"/>
                  <a:gd name="T6" fmla="*/ 116 w 233"/>
                  <a:gd name="T7" fmla="*/ 192 h 210"/>
                  <a:gd name="T8" fmla="*/ 191 w 233"/>
                  <a:gd name="T9" fmla="*/ 164 h 210"/>
                  <a:gd name="T10" fmla="*/ 211 w 233"/>
                  <a:gd name="T11" fmla="*/ 95 h 210"/>
                  <a:gd name="T12" fmla="*/ 203 w 233"/>
                  <a:gd name="T13" fmla="*/ 20 h 210"/>
                  <a:gd name="T14" fmla="*/ 199 w 233"/>
                  <a:gd name="T15" fmla="*/ 20 h 210"/>
                  <a:gd name="T16" fmla="*/ 207 w 233"/>
                  <a:gd name="T17" fmla="*/ 95 h 210"/>
                  <a:gd name="T18" fmla="*/ 188 w 233"/>
                  <a:gd name="T19" fmla="*/ 161 h 210"/>
                  <a:gd name="T20" fmla="*/ 116 w 233"/>
                  <a:gd name="T21" fmla="*/ 188 h 210"/>
                  <a:gd name="T22" fmla="*/ 44 w 233"/>
                  <a:gd name="T23" fmla="*/ 161 h 210"/>
                  <a:gd name="T24" fmla="*/ 25 w 233"/>
                  <a:gd name="T25" fmla="*/ 96 h 210"/>
                  <a:gd name="T26" fmla="*/ 34 w 233"/>
                  <a:gd name="T27" fmla="*/ 20 h 210"/>
                  <a:gd name="T28" fmla="*/ 30 w 233"/>
                  <a:gd name="T29" fmla="*/ 20 h 210"/>
                  <a:gd name="T30" fmla="*/ 21 w 233"/>
                  <a:gd name="T31" fmla="*/ 95 h 210"/>
                  <a:gd name="T32" fmla="*/ 41 w 233"/>
                  <a:gd name="T33" fmla="*/ 164 h 210"/>
                  <a:gd name="T34" fmla="*/ 115 w 233"/>
                  <a:gd name="T35" fmla="*/ 192 h 210"/>
                  <a:gd name="T36" fmla="*/ 115 w 233"/>
                  <a:gd name="T37" fmla="*/ 210 h 210"/>
                  <a:gd name="T38" fmla="*/ 28 w 233"/>
                  <a:gd name="T39" fmla="*/ 176 h 210"/>
                  <a:gd name="T40" fmla="*/ 3 w 233"/>
                  <a:gd name="T41" fmla="*/ 94 h 210"/>
                  <a:gd name="T42" fmla="*/ 14 w 233"/>
                  <a:gd name="T43" fmla="*/ 0 h 210"/>
                  <a:gd name="T44" fmla="*/ 54 w 233"/>
                  <a:gd name="T45" fmla="*/ 4 h 210"/>
                  <a:gd name="T46" fmla="*/ 44 w 233"/>
                  <a:gd name="T47" fmla="*/ 98 h 210"/>
                  <a:gd name="T48" fmla="*/ 58 w 233"/>
                  <a:gd name="T49" fmla="*/ 148 h 210"/>
                  <a:gd name="T50" fmla="*/ 116 w 233"/>
                  <a:gd name="T51" fmla="*/ 169 h 210"/>
                  <a:gd name="T52" fmla="*/ 175 w 233"/>
                  <a:gd name="T53" fmla="*/ 148 h 210"/>
                  <a:gd name="T54" fmla="*/ 189 w 233"/>
                  <a:gd name="T55" fmla="*/ 97 h 210"/>
                  <a:gd name="T56" fmla="*/ 179 w 233"/>
                  <a:gd name="T57" fmla="*/ 4 h 210"/>
                  <a:gd name="T58" fmla="*/ 219 w 233"/>
                  <a:gd name="T59" fmla="*/ 0 h 210"/>
                  <a:gd name="T60" fmla="*/ 230 w 233"/>
                  <a:gd name="T61" fmla="*/ 93 h 210"/>
                  <a:gd name="T62" fmla="*/ 205 w 233"/>
                  <a:gd name="T63" fmla="*/ 176 h 210"/>
                  <a:gd name="T64" fmla="*/ 118 w 233"/>
                  <a:gd name="T65"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 h="210">
                    <a:moveTo>
                      <a:pt x="118" y="210"/>
                    </a:moveTo>
                    <a:cubicBezTo>
                      <a:pt x="117" y="210"/>
                      <a:pt x="116" y="210"/>
                      <a:pt x="116" y="210"/>
                    </a:cubicBezTo>
                    <a:cubicBezTo>
                      <a:pt x="115" y="201"/>
                      <a:pt x="115" y="201"/>
                      <a:pt x="115" y="201"/>
                    </a:cubicBezTo>
                    <a:cubicBezTo>
                      <a:pt x="116" y="192"/>
                      <a:pt x="116" y="192"/>
                      <a:pt x="116" y="192"/>
                    </a:cubicBezTo>
                    <a:cubicBezTo>
                      <a:pt x="117" y="192"/>
                      <a:pt x="163" y="193"/>
                      <a:pt x="191" y="164"/>
                    </a:cubicBezTo>
                    <a:cubicBezTo>
                      <a:pt x="207" y="147"/>
                      <a:pt x="214" y="124"/>
                      <a:pt x="211" y="95"/>
                    </a:cubicBezTo>
                    <a:cubicBezTo>
                      <a:pt x="203" y="20"/>
                      <a:pt x="203" y="20"/>
                      <a:pt x="203" y="20"/>
                    </a:cubicBezTo>
                    <a:cubicBezTo>
                      <a:pt x="199" y="20"/>
                      <a:pt x="199" y="20"/>
                      <a:pt x="199" y="20"/>
                    </a:cubicBezTo>
                    <a:cubicBezTo>
                      <a:pt x="207" y="95"/>
                      <a:pt x="207" y="95"/>
                      <a:pt x="207" y="95"/>
                    </a:cubicBezTo>
                    <a:cubicBezTo>
                      <a:pt x="210" y="123"/>
                      <a:pt x="203" y="145"/>
                      <a:pt x="188" y="161"/>
                    </a:cubicBezTo>
                    <a:cubicBezTo>
                      <a:pt x="165" y="185"/>
                      <a:pt x="127" y="188"/>
                      <a:pt x="116" y="188"/>
                    </a:cubicBezTo>
                    <a:cubicBezTo>
                      <a:pt x="112" y="188"/>
                      <a:pt x="70" y="188"/>
                      <a:pt x="44" y="161"/>
                    </a:cubicBezTo>
                    <a:cubicBezTo>
                      <a:pt x="29" y="145"/>
                      <a:pt x="23" y="123"/>
                      <a:pt x="25" y="96"/>
                    </a:cubicBezTo>
                    <a:cubicBezTo>
                      <a:pt x="34" y="20"/>
                      <a:pt x="34" y="20"/>
                      <a:pt x="34" y="20"/>
                    </a:cubicBezTo>
                    <a:cubicBezTo>
                      <a:pt x="30" y="20"/>
                      <a:pt x="30" y="20"/>
                      <a:pt x="30" y="20"/>
                    </a:cubicBezTo>
                    <a:cubicBezTo>
                      <a:pt x="21" y="95"/>
                      <a:pt x="21" y="95"/>
                      <a:pt x="21" y="95"/>
                    </a:cubicBezTo>
                    <a:cubicBezTo>
                      <a:pt x="19" y="124"/>
                      <a:pt x="26" y="147"/>
                      <a:pt x="41" y="164"/>
                    </a:cubicBezTo>
                    <a:cubicBezTo>
                      <a:pt x="67" y="190"/>
                      <a:pt x="107" y="192"/>
                      <a:pt x="115" y="192"/>
                    </a:cubicBezTo>
                    <a:cubicBezTo>
                      <a:pt x="115" y="210"/>
                      <a:pt x="115" y="210"/>
                      <a:pt x="115" y="210"/>
                    </a:cubicBezTo>
                    <a:cubicBezTo>
                      <a:pt x="106" y="210"/>
                      <a:pt x="59" y="209"/>
                      <a:pt x="28" y="176"/>
                    </a:cubicBezTo>
                    <a:cubicBezTo>
                      <a:pt x="8" y="156"/>
                      <a:pt x="0" y="128"/>
                      <a:pt x="3" y="94"/>
                    </a:cubicBezTo>
                    <a:cubicBezTo>
                      <a:pt x="14" y="0"/>
                      <a:pt x="14" y="0"/>
                      <a:pt x="14" y="0"/>
                    </a:cubicBezTo>
                    <a:cubicBezTo>
                      <a:pt x="54" y="4"/>
                      <a:pt x="54" y="4"/>
                      <a:pt x="54" y="4"/>
                    </a:cubicBezTo>
                    <a:cubicBezTo>
                      <a:pt x="44" y="98"/>
                      <a:pt x="44" y="98"/>
                      <a:pt x="44" y="98"/>
                    </a:cubicBezTo>
                    <a:cubicBezTo>
                      <a:pt x="42" y="119"/>
                      <a:pt x="47" y="136"/>
                      <a:pt x="58" y="148"/>
                    </a:cubicBezTo>
                    <a:cubicBezTo>
                      <a:pt x="78" y="169"/>
                      <a:pt x="115" y="169"/>
                      <a:pt x="116" y="169"/>
                    </a:cubicBezTo>
                    <a:cubicBezTo>
                      <a:pt x="123" y="169"/>
                      <a:pt x="156" y="168"/>
                      <a:pt x="175" y="148"/>
                    </a:cubicBezTo>
                    <a:cubicBezTo>
                      <a:pt x="186" y="136"/>
                      <a:pt x="191" y="119"/>
                      <a:pt x="189" y="97"/>
                    </a:cubicBezTo>
                    <a:cubicBezTo>
                      <a:pt x="179" y="4"/>
                      <a:pt x="179" y="4"/>
                      <a:pt x="179" y="4"/>
                    </a:cubicBezTo>
                    <a:cubicBezTo>
                      <a:pt x="219" y="0"/>
                      <a:pt x="219" y="0"/>
                      <a:pt x="219" y="0"/>
                    </a:cubicBezTo>
                    <a:cubicBezTo>
                      <a:pt x="230" y="93"/>
                      <a:pt x="230" y="93"/>
                      <a:pt x="230" y="93"/>
                    </a:cubicBezTo>
                    <a:cubicBezTo>
                      <a:pt x="233" y="128"/>
                      <a:pt x="224" y="156"/>
                      <a:pt x="205" y="176"/>
                    </a:cubicBezTo>
                    <a:cubicBezTo>
                      <a:pt x="174" y="208"/>
                      <a:pt x="128" y="210"/>
                      <a:pt x="118" y="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0" name="Freeform 265">
                <a:extLst>
                  <a:ext uri="{FF2B5EF4-FFF2-40B4-BE49-F238E27FC236}">
                    <a16:creationId xmlns:a16="http://schemas.microsoft.com/office/drawing/2014/main" id="{FF0CBAD2-AE0D-4349-9DA9-8EEDF58C92FA}"/>
                  </a:ext>
                </a:extLst>
              </p:cNvPr>
              <p:cNvSpPr>
                <a:spLocks/>
              </p:cNvSpPr>
              <p:nvPr/>
            </p:nvSpPr>
            <p:spPr bwMode="auto">
              <a:xfrm>
                <a:off x="469" y="1279"/>
                <a:ext cx="169" cy="200"/>
              </a:xfrm>
              <a:custGeom>
                <a:avLst/>
                <a:gdLst>
                  <a:gd name="T0" fmla="*/ 23 w 327"/>
                  <a:gd name="T1" fmla="*/ 389 h 389"/>
                  <a:gd name="T2" fmla="*/ 0 w 327"/>
                  <a:gd name="T3" fmla="*/ 389 h 389"/>
                  <a:gd name="T4" fmla="*/ 321 w 327"/>
                  <a:gd name="T5" fmla="*/ 0 h 389"/>
                  <a:gd name="T6" fmla="*/ 327 w 327"/>
                  <a:gd name="T7" fmla="*/ 22 h 389"/>
                  <a:gd name="T8" fmla="*/ 23 w 327"/>
                  <a:gd name="T9" fmla="*/ 389 h 389"/>
                </a:gdLst>
                <a:ahLst/>
                <a:cxnLst>
                  <a:cxn ang="0">
                    <a:pos x="T0" y="T1"/>
                  </a:cxn>
                  <a:cxn ang="0">
                    <a:pos x="T2" y="T3"/>
                  </a:cxn>
                  <a:cxn ang="0">
                    <a:pos x="T4" y="T5"/>
                  </a:cxn>
                  <a:cxn ang="0">
                    <a:pos x="T6" y="T7"/>
                  </a:cxn>
                  <a:cxn ang="0">
                    <a:pos x="T8" y="T9"/>
                  </a:cxn>
                </a:cxnLst>
                <a:rect l="0" t="0" r="r" b="b"/>
                <a:pathLst>
                  <a:path w="327" h="389">
                    <a:moveTo>
                      <a:pt x="23" y="389"/>
                    </a:moveTo>
                    <a:cubicBezTo>
                      <a:pt x="0" y="389"/>
                      <a:pt x="0" y="389"/>
                      <a:pt x="0" y="389"/>
                    </a:cubicBezTo>
                    <a:cubicBezTo>
                      <a:pt x="38" y="198"/>
                      <a:pt x="163" y="44"/>
                      <a:pt x="321" y="0"/>
                    </a:cubicBezTo>
                    <a:cubicBezTo>
                      <a:pt x="327" y="22"/>
                      <a:pt x="327" y="22"/>
                      <a:pt x="327" y="22"/>
                    </a:cubicBezTo>
                    <a:cubicBezTo>
                      <a:pt x="178" y="64"/>
                      <a:pt x="58" y="207"/>
                      <a:pt x="23" y="3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1" name="Freeform 266">
                <a:extLst>
                  <a:ext uri="{FF2B5EF4-FFF2-40B4-BE49-F238E27FC236}">
                    <a16:creationId xmlns:a16="http://schemas.microsoft.com/office/drawing/2014/main" id="{3825DBFC-0793-4957-BC87-155A0BC7F48E}"/>
                  </a:ext>
                </a:extLst>
              </p:cNvPr>
              <p:cNvSpPr>
                <a:spLocks noEditPoints="1"/>
              </p:cNvSpPr>
              <p:nvPr/>
            </p:nvSpPr>
            <p:spPr bwMode="auto">
              <a:xfrm>
                <a:off x="463" y="1273"/>
                <a:ext cx="180" cy="210"/>
              </a:xfrm>
              <a:custGeom>
                <a:avLst/>
                <a:gdLst>
                  <a:gd name="T0" fmla="*/ 41 w 349"/>
                  <a:gd name="T1" fmla="*/ 409 h 409"/>
                  <a:gd name="T2" fmla="*/ 0 w 349"/>
                  <a:gd name="T3" fmla="*/ 409 h 409"/>
                  <a:gd name="T4" fmla="*/ 2 w 349"/>
                  <a:gd name="T5" fmla="*/ 398 h 409"/>
                  <a:gd name="T6" fmla="*/ 329 w 349"/>
                  <a:gd name="T7" fmla="*/ 2 h 409"/>
                  <a:gd name="T8" fmla="*/ 338 w 349"/>
                  <a:gd name="T9" fmla="*/ 0 h 409"/>
                  <a:gd name="T10" fmla="*/ 349 w 349"/>
                  <a:gd name="T11" fmla="*/ 39 h 409"/>
                  <a:gd name="T12" fmla="*/ 340 w 349"/>
                  <a:gd name="T13" fmla="*/ 42 h 409"/>
                  <a:gd name="T14" fmla="*/ 43 w 349"/>
                  <a:gd name="T15" fmla="*/ 402 h 409"/>
                  <a:gd name="T16" fmla="*/ 41 w 349"/>
                  <a:gd name="T17" fmla="*/ 409 h 409"/>
                  <a:gd name="T18" fmla="*/ 23 w 349"/>
                  <a:gd name="T19" fmla="*/ 391 h 409"/>
                  <a:gd name="T20" fmla="*/ 26 w 349"/>
                  <a:gd name="T21" fmla="*/ 391 h 409"/>
                  <a:gd name="T22" fmla="*/ 326 w 349"/>
                  <a:gd name="T23" fmla="*/ 26 h 409"/>
                  <a:gd name="T24" fmla="*/ 325 w 349"/>
                  <a:gd name="T25" fmla="*/ 22 h 409"/>
                  <a:gd name="T26" fmla="*/ 23 w 349"/>
                  <a:gd name="T27" fmla="*/ 39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9" h="409">
                    <a:moveTo>
                      <a:pt x="41" y="409"/>
                    </a:moveTo>
                    <a:cubicBezTo>
                      <a:pt x="0" y="409"/>
                      <a:pt x="0" y="409"/>
                      <a:pt x="0" y="409"/>
                    </a:cubicBezTo>
                    <a:cubicBezTo>
                      <a:pt x="2" y="398"/>
                      <a:pt x="2" y="398"/>
                      <a:pt x="2" y="398"/>
                    </a:cubicBezTo>
                    <a:cubicBezTo>
                      <a:pt x="40" y="203"/>
                      <a:pt x="169" y="47"/>
                      <a:pt x="329" y="2"/>
                    </a:cubicBezTo>
                    <a:cubicBezTo>
                      <a:pt x="338" y="0"/>
                      <a:pt x="338" y="0"/>
                      <a:pt x="338" y="0"/>
                    </a:cubicBezTo>
                    <a:cubicBezTo>
                      <a:pt x="349" y="39"/>
                      <a:pt x="349" y="39"/>
                      <a:pt x="349" y="39"/>
                    </a:cubicBezTo>
                    <a:cubicBezTo>
                      <a:pt x="340" y="42"/>
                      <a:pt x="340" y="42"/>
                      <a:pt x="340" y="42"/>
                    </a:cubicBezTo>
                    <a:cubicBezTo>
                      <a:pt x="194" y="83"/>
                      <a:pt x="77" y="224"/>
                      <a:pt x="43" y="402"/>
                    </a:cubicBezTo>
                    <a:lnTo>
                      <a:pt x="41" y="409"/>
                    </a:lnTo>
                    <a:close/>
                    <a:moveTo>
                      <a:pt x="23" y="391"/>
                    </a:moveTo>
                    <a:cubicBezTo>
                      <a:pt x="26" y="391"/>
                      <a:pt x="26" y="391"/>
                      <a:pt x="26" y="391"/>
                    </a:cubicBezTo>
                    <a:cubicBezTo>
                      <a:pt x="63" y="214"/>
                      <a:pt x="180" y="72"/>
                      <a:pt x="326" y="26"/>
                    </a:cubicBezTo>
                    <a:cubicBezTo>
                      <a:pt x="325" y="22"/>
                      <a:pt x="325" y="22"/>
                      <a:pt x="325" y="22"/>
                    </a:cubicBezTo>
                    <a:cubicBezTo>
                      <a:pt x="179" y="68"/>
                      <a:pt x="61" y="211"/>
                      <a:pt x="23" y="3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2" name="Freeform 267">
                <a:extLst>
                  <a:ext uri="{FF2B5EF4-FFF2-40B4-BE49-F238E27FC236}">
                    <a16:creationId xmlns:a16="http://schemas.microsoft.com/office/drawing/2014/main" id="{556FFE1F-6868-4FCC-AE42-F5A7B56E391E}"/>
                  </a:ext>
                </a:extLst>
              </p:cNvPr>
              <p:cNvSpPr>
                <a:spLocks/>
              </p:cNvSpPr>
              <p:nvPr/>
            </p:nvSpPr>
            <p:spPr bwMode="auto">
              <a:xfrm>
                <a:off x="730" y="1278"/>
                <a:ext cx="171" cy="201"/>
              </a:xfrm>
              <a:custGeom>
                <a:avLst/>
                <a:gdLst>
                  <a:gd name="T0" fmla="*/ 309 w 331"/>
                  <a:gd name="T1" fmla="*/ 391 h 391"/>
                  <a:gd name="T2" fmla="*/ 0 w 331"/>
                  <a:gd name="T3" fmla="*/ 22 h 391"/>
                  <a:gd name="T4" fmla="*/ 6 w 331"/>
                  <a:gd name="T5" fmla="*/ 0 h 391"/>
                  <a:gd name="T6" fmla="*/ 331 w 331"/>
                  <a:gd name="T7" fmla="*/ 391 h 391"/>
                  <a:gd name="T8" fmla="*/ 309 w 331"/>
                  <a:gd name="T9" fmla="*/ 391 h 391"/>
                </a:gdLst>
                <a:ahLst/>
                <a:cxnLst>
                  <a:cxn ang="0">
                    <a:pos x="T0" y="T1"/>
                  </a:cxn>
                  <a:cxn ang="0">
                    <a:pos x="T2" y="T3"/>
                  </a:cxn>
                  <a:cxn ang="0">
                    <a:pos x="T4" y="T5"/>
                  </a:cxn>
                  <a:cxn ang="0">
                    <a:pos x="T6" y="T7"/>
                  </a:cxn>
                  <a:cxn ang="0">
                    <a:pos x="T8" y="T9"/>
                  </a:cxn>
                </a:cxnLst>
                <a:rect l="0" t="0" r="r" b="b"/>
                <a:pathLst>
                  <a:path w="331" h="391">
                    <a:moveTo>
                      <a:pt x="309" y="391"/>
                    </a:moveTo>
                    <a:cubicBezTo>
                      <a:pt x="273" y="206"/>
                      <a:pt x="152" y="63"/>
                      <a:pt x="0" y="22"/>
                    </a:cubicBezTo>
                    <a:cubicBezTo>
                      <a:pt x="6" y="0"/>
                      <a:pt x="6" y="0"/>
                      <a:pt x="6" y="0"/>
                    </a:cubicBezTo>
                    <a:cubicBezTo>
                      <a:pt x="166" y="43"/>
                      <a:pt x="294" y="198"/>
                      <a:pt x="331" y="391"/>
                    </a:cubicBezTo>
                    <a:lnTo>
                      <a:pt x="309"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3" name="Freeform 268">
                <a:extLst>
                  <a:ext uri="{FF2B5EF4-FFF2-40B4-BE49-F238E27FC236}">
                    <a16:creationId xmlns:a16="http://schemas.microsoft.com/office/drawing/2014/main" id="{06696DD1-0D37-475F-BA4E-76E95DCF993D}"/>
                  </a:ext>
                </a:extLst>
              </p:cNvPr>
              <p:cNvSpPr>
                <a:spLocks noEditPoints="1"/>
              </p:cNvSpPr>
              <p:nvPr/>
            </p:nvSpPr>
            <p:spPr bwMode="auto">
              <a:xfrm>
                <a:off x="724" y="1272"/>
                <a:ext cx="183" cy="211"/>
              </a:xfrm>
              <a:custGeom>
                <a:avLst/>
                <a:gdLst>
                  <a:gd name="T0" fmla="*/ 354 w 354"/>
                  <a:gd name="T1" fmla="*/ 411 h 411"/>
                  <a:gd name="T2" fmla="*/ 313 w 354"/>
                  <a:gd name="T3" fmla="*/ 411 h 411"/>
                  <a:gd name="T4" fmla="*/ 311 w 354"/>
                  <a:gd name="T5" fmla="*/ 404 h 411"/>
                  <a:gd name="T6" fmla="*/ 9 w 354"/>
                  <a:gd name="T7" fmla="*/ 42 h 411"/>
                  <a:gd name="T8" fmla="*/ 0 w 354"/>
                  <a:gd name="T9" fmla="*/ 40 h 411"/>
                  <a:gd name="T10" fmla="*/ 10 w 354"/>
                  <a:gd name="T11" fmla="*/ 0 h 411"/>
                  <a:gd name="T12" fmla="*/ 19 w 354"/>
                  <a:gd name="T13" fmla="*/ 2 h 411"/>
                  <a:gd name="T14" fmla="*/ 352 w 354"/>
                  <a:gd name="T15" fmla="*/ 400 h 411"/>
                  <a:gd name="T16" fmla="*/ 354 w 354"/>
                  <a:gd name="T17" fmla="*/ 411 h 411"/>
                  <a:gd name="T18" fmla="*/ 328 w 354"/>
                  <a:gd name="T19" fmla="*/ 393 h 411"/>
                  <a:gd name="T20" fmla="*/ 331 w 354"/>
                  <a:gd name="T21" fmla="*/ 393 h 411"/>
                  <a:gd name="T22" fmla="*/ 23 w 354"/>
                  <a:gd name="T23" fmla="*/ 23 h 411"/>
                  <a:gd name="T24" fmla="*/ 22 w 354"/>
                  <a:gd name="T25" fmla="*/ 27 h 411"/>
                  <a:gd name="T26" fmla="*/ 328 w 354"/>
                  <a:gd name="T27" fmla="*/ 393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411">
                    <a:moveTo>
                      <a:pt x="354" y="411"/>
                    </a:moveTo>
                    <a:cubicBezTo>
                      <a:pt x="313" y="411"/>
                      <a:pt x="313" y="411"/>
                      <a:pt x="313" y="411"/>
                    </a:cubicBezTo>
                    <a:cubicBezTo>
                      <a:pt x="311" y="404"/>
                      <a:pt x="311" y="404"/>
                      <a:pt x="311" y="404"/>
                    </a:cubicBezTo>
                    <a:cubicBezTo>
                      <a:pt x="276" y="224"/>
                      <a:pt x="157" y="82"/>
                      <a:pt x="9" y="42"/>
                    </a:cubicBezTo>
                    <a:cubicBezTo>
                      <a:pt x="0" y="40"/>
                      <a:pt x="0" y="40"/>
                      <a:pt x="0" y="40"/>
                    </a:cubicBezTo>
                    <a:cubicBezTo>
                      <a:pt x="10" y="0"/>
                      <a:pt x="10" y="0"/>
                      <a:pt x="10" y="0"/>
                    </a:cubicBezTo>
                    <a:cubicBezTo>
                      <a:pt x="19" y="2"/>
                      <a:pt x="19" y="2"/>
                      <a:pt x="19" y="2"/>
                    </a:cubicBezTo>
                    <a:cubicBezTo>
                      <a:pt x="182" y="46"/>
                      <a:pt x="313" y="202"/>
                      <a:pt x="352" y="400"/>
                    </a:cubicBezTo>
                    <a:lnTo>
                      <a:pt x="354" y="411"/>
                    </a:lnTo>
                    <a:close/>
                    <a:moveTo>
                      <a:pt x="328" y="393"/>
                    </a:moveTo>
                    <a:cubicBezTo>
                      <a:pt x="331" y="393"/>
                      <a:pt x="331" y="393"/>
                      <a:pt x="331" y="393"/>
                    </a:cubicBezTo>
                    <a:cubicBezTo>
                      <a:pt x="292" y="210"/>
                      <a:pt x="173" y="67"/>
                      <a:pt x="23" y="23"/>
                    </a:cubicBezTo>
                    <a:cubicBezTo>
                      <a:pt x="22" y="27"/>
                      <a:pt x="22" y="27"/>
                      <a:pt x="22" y="27"/>
                    </a:cubicBezTo>
                    <a:cubicBezTo>
                      <a:pt x="172" y="71"/>
                      <a:pt x="290" y="213"/>
                      <a:pt x="328"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4" name="Rectangle 269">
                <a:extLst>
                  <a:ext uri="{FF2B5EF4-FFF2-40B4-BE49-F238E27FC236}">
                    <a16:creationId xmlns:a16="http://schemas.microsoft.com/office/drawing/2014/main" id="{24147077-AFB7-4BCD-BA8C-AE7ED9BCF993}"/>
                  </a:ext>
                </a:extLst>
              </p:cNvPr>
              <p:cNvSpPr>
                <a:spLocks noChangeArrowheads="1"/>
              </p:cNvSpPr>
              <p:nvPr/>
            </p:nvSpPr>
            <p:spPr bwMode="auto">
              <a:xfrm>
                <a:off x="483" y="1563"/>
                <a:ext cx="157"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5" name="Rectangle 270">
                <a:extLst>
                  <a:ext uri="{FF2B5EF4-FFF2-40B4-BE49-F238E27FC236}">
                    <a16:creationId xmlns:a16="http://schemas.microsoft.com/office/drawing/2014/main" id="{E5DF7095-FE33-466A-B0A4-9B1095D88EC1}"/>
                  </a:ext>
                </a:extLst>
              </p:cNvPr>
              <p:cNvSpPr>
                <a:spLocks noChangeArrowheads="1"/>
              </p:cNvSpPr>
              <p:nvPr/>
            </p:nvSpPr>
            <p:spPr bwMode="auto">
              <a:xfrm>
                <a:off x="530" y="1479"/>
                <a:ext cx="31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6" name="Rectangle 271">
                <a:extLst>
                  <a:ext uri="{FF2B5EF4-FFF2-40B4-BE49-F238E27FC236}">
                    <a16:creationId xmlns:a16="http://schemas.microsoft.com/office/drawing/2014/main" id="{6DE0FA95-54DB-438B-BB59-1A310B0B97B3}"/>
                  </a:ext>
                </a:extLst>
              </p:cNvPr>
              <p:cNvSpPr>
                <a:spLocks noChangeArrowheads="1"/>
              </p:cNvSpPr>
              <p:nvPr/>
            </p:nvSpPr>
            <p:spPr bwMode="auto">
              <a:xfrm>
                <a:off x="584" y="1627"/>
                <a:ext cx="201"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7" name="Freeform 272">
                <a:extLst>
                  <a:ext uri="{FF2B5EF4-FFF2-40B4-BE49-F238E27FC236}">
                    <a16:creationId xmlns:a16="http://schemas.microsoft.com/office/drawing/2014/main" id="{278923E9-B541-4366-9055-EE314AFCBB8B}"/>
                  </a:ext>
                </a:extLst>
              </p:cNvPr>
              <p:cNvSpPr>
                <a:spLocks noEditPoints="1"/>
              </p:cNvSpPr>
              <p:nvPr/>
            </p:nvSpPr>
            <p:spPr bwMode="auto">
              <a:xfrm>
                <a:off x="580" y="1623"/>
                <a:ext cx="210" cy="23"/>
              </a:xfrm>
              <a:custGeom>
                <a:avLst/>
                <a:gdLst>
                  <a:gd name="T0" fmla="*/ 210 w 210"/>
                  <a:gd name="T1" fmla="*/ 23 h 23"/>
                  <a:gd name="T2" fmla="*/ 0 w 210"/>
                  <a:gd name="T3" fmla="*/ 23 h 23"/>
                  <a:gd name="T4" fmla="*/ 0 w 210"/>
                  <a:gd name="T5" fmla="*/ 0 h 23"/>
                  <a:gd name="T6" fmla="*/ 210 w 210"/>
                  <a:gd name="T7" fmla="*/ 0 h 23"/>
                  <a:gd name="T8" fmla="*/ 210 w 210"/>
                  <a:gd name="T9" fmla="*/ 23 h 23"/>
                  <a:gd name="T10" fmla="*/ 10 w 210"/>
                  <a:gd name="T11" fmla="*/ 14 h 23"/>
                  <a:gd name="T12" fmla="*/ 201 w 210"/>
                  <a:gd name="T13" fmla="*/ 14 h 23"/>
                  <a:gd name="T14" fmla="*/ 201 w 210"/>
                  <a:gd name="T15" fmla="*/ 10 h 23"/>
                  <a:gd name="T16" fmla="*/ 10 w 210"/>
                  <a:gd name="T17" fmla="*/ 10 h 23"/>
                  <a:gd name="T18" fmla="*/ 10 w 210"/>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23">
                    <a:moveTo>
                      <a:pt x="210" y="23"/>
                    </a:moveTo>
                    <a:lnTo>
                      <a:pt x="0" y="23"/>
                    </a:lnTo>
                    <a:lnTo>
                      <a:pt x="0" y="0"/>
                    </a:lnTo>
                    <a:lnTo>
                      <a:pt x="210" y="0"/>
                    </a:lnTo>
                    <a:lnTo>
                      <a:pt x="210" y="23"/>
                    </a:lnTo>
                    <a:close/>
                    <a:moveTo>
                      <a:pt x="10" y="14"/>
                    </a:moveTo>
                    <a:lnTo>
                      <a:pt x="201" y="14"/>
                    </a:lnTo>
                    <a:lnTo>
                      <a:pt x="201" y="10"/>
                    </a:lnTo>
                    <a:lnTo>
                      <a:pt x="10" y="10"/>
                    </a:lnTo>
                    <a:lnTo>
                      <a:pt x="1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8" name="Rectangle 273">
                <a:extLst>
                  <a:ext uri="{FF2B5EF4-FFF2-40B4-BE49-F238E27FC236}">
                    <a16:creationId xmlns:a16="http://schemas.microsoft.com/office/drawing/2014/main" id="{8B6DE6EF-66BD-4FBB-A761-C6CE214A27A8}"/>
                  </a:ext>
                </a:extLst>
              </p:cNvPr>
              <p:cNvSpPr>
                <a:spLocks noChangeArrowheads="1"/>
              </p:cNvSpPr>
              <p:nvPr/>
            </p:nvSpPr>
            <p:spPr bwMode="auto">
              <a:xfrm>
                <a:off x="584" y="1692"/>
                <a:ext cx="201"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39" name="Freeform 274">
                <a:extLst>
                  <a:ext uri="{FF2B5EF4-FFF2-40B4-BE49-F238E27FC236}">
                    <a16:creationId xmlns:a16="http://schemas.microsoft.com/office/drawing/2014/main" id="{02083A90-F849-4162-AD76-0958B58EF918}"/>
                  </a:ext>
                </a:extLst>
              </p:cNvPr>
              <p:cNvSpPr>
                <a:spLocks noEditPoints="1"/>
              </p:cNvSpPr>
              <p:nvPr/>
            </p:nvSpPr>
            <p:spPr bwMode="auto">
              <a:xfrm>
                <a:off x="580" y="1688"/>
                <a:ext cx="210" cy="23"/>
              </a:xfrm>
              <a:custGeom>
                <a:avLst/>
                <a:gdLst>
                  <a:gd name="T0" fmla="*/ 210 w 210"/>
                  <a:gd name="T1" fmla="*/ 23 h 23"/>
                  <a:gd name="T2" fmla="*/ 0 w 210"/>
                  <a:gd name="T3" fmla="*/ 23 h 23"/>
                  <a:gd name="T4" fmla="*/ 0 w 210"/>
                  <a:gd name="T5" fmla="*/ 0 h 23"/>
                  <a:gd name="T6" fmla="*/ 210 w 210"/>
                  <a:gd name="T7" fmla="*/ 0 h 23"/>
                  <a:gd name="T8" fmla="*/ 210 w 210"/>
                  <a:gd name="T9" fmla="*/ 23 h 23"/>
                  <a:gd name="T10" fmla="*/ 10 w 210"/>
                  <a:gd name="T11" fmla="*/ 14 h 23"/>
                  <a:gd name="T12" fmla="*/ 201 w 210"/>
                  <a:gd name="T13" fmla="*/ 14 h 23"/>
                  <a:gd name="T14" fmla="*/ 201 w 210"/>
                  <a:gd name="T15" fmla="*/ 9 h 23"/>
                  <a:gd name="T16" fmla="*/ 10 w 210"/>
                  <a:gd name="T17" fmla="*/ 9 h 23"/>
                  <a:gd name="T18" fmla="*/ 10 w 210"/>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23">
                    <a:moveTo>
                      <a:pt x="210" y="23"/>
                    </a:moveTo>
                    <a:lnTo>
                      <a:pt x="0" y="23"/>
                    </a:lnTo>
                    <a:lnTo>
                      <a:pt x="0" y="0"/>
                    </a:lnTo>
                    <a:lnTo>
                      <a:pt x="210" y="0"/>
                    </a:lnTo>
                    <a:lnTo>
                      <a:pt x="210" y="23"/>
                    </a:lnTo>
                    <a:close/>
                    <a:moveTo>
                      <a:pt x="10" y="14"/>
                    </a:moveTo>
                    <a:lnTo>
                      <a:pt x="201" y="14"/>
                    </a:lnTo>
                    <a:lnTo>
                      <a:pt x="201" y="9"/>
                    </a:lnTo>
                    <a:lnTo>
                      <a:pt x="10" y="9"/>
                    </a:lnTo>
                    <a:lnTo>
                      <a:pt x="1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0" name="Freeform 275">
                <a:extLst>
                  <a:ext uri="{FF2B5EF4-FFF2-40B4-BE49-F238E27FC236}">
                    <a16:creationId xmlns:a16="http://schemas.microsoft.com/office/drawing/2014/main" id="{C2511C4C-D4B0-4D16-B7E1-E945859F4A7E}"/>
                  </a:ext>
                </a:extLst>
              </p:cNvPr>
              <p:cNvSpPr>
                <a:spLocks noEditPoints="1"/>
              </p:cNvSpPr>
              <p:nvPr/>
            </p:nvSpPr>
            <p:spPr bwMode="auto">
              <a:xfrm>
                <a:off x="337" y="1479"/>
                <a:ext cx="696" cy="328"/>
              </a:xfrm>
              <a:custGeom>
                <a:avLst/>
                <a:gdLst>
                  <a:gd name="T0" fmla="*/ 1020 w 1345"/>
                  <a:gd name="T1" fmla="*/ 0 h 639"/>
                  <a:gd name="T2" fmla="*/ 1020 w 1345"/>
                  <a:gd name="T3" fmla="*/ 0 h 639"/>
                  <a:gd name="T4" fmla="*/ 973 w 1345"/>
                  <a:gd name="T5" fmla="*/ 0 h 639"/>
                  <a:gd name="T6" fmla="*/ 973 w 1345"/>
                  <a:gd name="T7" fmla="*/ 0 h 639"/>
                  <a:gd name="T8" fmla="*/ 372 w 1345"/>
                  <a:gd name="T9" fmla="*/ 0 h 639"/>
                  <a:gd name="T10" fmla="*/ 372 w 1345"/>
                  <a:gd name="T11" fmla="*/ 0 h 639"/>
                  <a:gd name="T12" fmla="*/ 325 w 1345"/>
                  <a:gd name="T13" fmla="*/ 0 h 639"/>
                  <a:gd name="T14" fmla="*/ 325 w 1345"/>
                  <a:gd name="T15" fmla="*/ 0 h 639"/>
                  <a:gd name="T16" fmla="*/ 0 w 1345"/>
                  <a:gd name="T17" fmla="*/ 0 h 639"/>
                  <a:gd name="T18" fmla="*/ 0 w 1345"/>
                  <a:gd name="T19" fmla="*/ 186 h 639"/>
                  <a:gd name="T20" fmla="*/ 89 w 1345"/>
                  <a:gd name="T21" fmla="*/ 186 h 639"/>
                  <a:gd name="T22" fmla="*/ 162 w 1345"/>
                  <a:gd name="T23" fmla="*/ 307 h 639"/>
                  <a:gd name="T24" fmla="*/ 162 w 1345"/>
                  <a:gd name="T25" fmla="*/ 639 h 639"/>
                  <a:gd name="T26" fmla="*/ 189 w 1345"/>
                  <a:gd name="T27" fmla="*/ 639 h 639"/>
                  <a:gd name="T28" fmla="*/ 189 w 1345"/>
                  <a:gd name="T29" fmla="*/ 299 h 639"/>
                  <a:gd name="T30" fmla="*/ 123 w 1345"/>
                  <a:gd name="T31" fmla="*/ 186 h 639"/>
                  <a:gd name="T32" fmla="*/ 209 w 1345"/>
                  <a:gd name="T33" fmla="*/ 186 h 639"/>
                  <a:gd name="T34" fmla="*/ 1116 w 1345"/>
                  <a:gd name="T35" fmla="*/ 186 h 639"/>
                  <a:gd name="T36" fmla="*/ 1208 w 1345"/>
                  <a:gd name="T37" fmla="*/ 163 h 639"/>
                  <a:gd name="T38" fmla="*/ 1300 w 1345"/>
                  <a:gd name="T39" fmla="*/ 186 h 639"/>
                  <a:gd name="T40" fmla="*/ 1345 w 1345"/>
                  <a:gd name="T41" fmla="*/ 186 h 639"/>
                  <a:gd name="T42" fmla="*/ 1345 w 1345"/>
                  <a:gd name="T43" fmla="*/ 0 h 639"/>
                  <a:gd name="T44" fmla="*/ 1020 w 1345"/>
                  <a:gd name="T45" fmla="*/ 0 h 639"/>
                  <a:gd name="T46" fmla="*/ 1318 w 1345"/>
                  <a:gd name="T47" fmla="*/ 158 h 639"/>
                  <a:gd name="T48" fmla="*/ 27 w 1345"/>
                  <a:gd name="T49" fmla="*/ 158 h 639"/>
                  <a:gd name="T50" fmla="*/ 27 w 1345"/>
                  <a:gd name="T51" fmla="*/ 27 h 639"/>
                  <a:gd name="T52" fmla="*/ 1318 w 1345"/>
                  <a:gd name="T53" fmla="*/ 27 h 639"/>
                  <a:gd name="T54" fmla="*/ 1318 w 1345"/>
                  <a:gd name="T55" fmla="*/ 15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45" h="639">
                    <a:moveTo>
                      <a:pt x="1020" y="0"/>
                    </a:moveTo>
                    <a:cubicBezTo>
                      <a:pt x="1020" y="0"/>
                      <a:pt x="1020" y="0"/>
                      <a:pt x="1020" y="0"/>
                    </a:cubicBezTo>
                    <a:cubicBezTo>
                      <a:pt x="973" y="0"/>
                      <a:pt x="973" y="0"/>
                      <a:pt x="973" y="0"/>
                    </a:cubicBezTo>
                    <a:cubicBezTo>
                      <a:pt x="973" y="0"/>
                      <a:pt x="973" y="0"/>
                      <a:pt x="973" y="0"/>
                    </a:cubicBezTo>
                    <a:cubicBezTo>
                      <a:pt x="372" y="0"/>
                      <a:pt x="372" y="0"/>
                      <a:pt x="372" y="0"/>
                    </a:cubicBezTo>
                    <a:cubicBezTo>
                      <a:pt x="372" y="0"/>
                      <a:pt x="372" y="0"/>
                      <a:pt x="372" y="0"/>
                    </a:cubicBezTo>
                    <a:cubicBezTo>
                      <a:pt x="325" y="0"/>
                      <a:pt x="325" y="0"/>
                      <a:pt x="325" y="0"/>
                    </a:cubicBezTo>
                    <a:cubicBezTo>
                      <a:pt x="325" y="0"/>
                      <a:pt x="325" y="0"/>
                      <a:pt x="325" y="0"/>
                    </a:cubicBezTo>
                    <a:cubicBezTo>
                      <a:pt x="0" y="0"/>
                      <a:pt x="0" y="0"/>
                      <a:pt x="0" y="0"/>
                    </a:cubicBezTo>
                    <a:cubicBezTo>
                      <a:pt x="0" y="186"/>
                      <a:pt x="0" y="186"/>
                      <a:pt x="0" y="186"/>
                    </a:cubicBezTo>
                    <a:cubicBezTo>
                      <a:pt x="89" y="186"/>
                      <a:pt x="89" y="186"/>
                      <a:pt x="89" y="186"/>
                    </a:cubicBezTo>
                    <a:cubicBezTo>
                      <a:pt x="162" y="307"/>
                      <a:pt x="162" y="307"/>
                      <a:pt x="162" y="307"/>
                    </a:cubicBezTo>
                    <a:cubicBezTo>
                      <a:pt x="162" y="639"/>
                      <a:pt x="162" y="639"/>
                      <a:pt x="162" y="639"/>
                    </a:cubicBezTo>
                    <a:cubicBezTo>
                      <a:pt x="189" y="639"/>
                      <a:pt x="189" y="639"/>
                      <a:pt x="189" y="639"/>
                    </a:cubicBezTo>
                    <a:cubicBezTo>
                      <a:pt x="189" y="299"/>
                      <a:pt x="189" y="299"/>
                      <a:pt x="189" y="299"/>
                    </a:cubicBezTo>
                    <a:cubicBezTo>
                      <a:pt x="123" y="186"/>
                      <a:pt x="123" y="186"/>
                      <a:pt x="123" y="186"/>
                    </a:cubicBezTo>
                    <a:cubicBezTo>
                      <a:pt x="209" y="186"/>
                      <a:pt x="209" y="186"/>
                      <a:pt x="209" y="186"/>
                    </a:cubicBezTo>
                    <a:cubicBezTo>
                      <a:pt x="1116" y="186"/>
                      <a:pt x="1116" y="186"/>
                      <a:pt x="1116" y="186"/>
                    </a:cubicBezTo>
                    <a:cubicBezTo>
                      <a:pt x="1141" y="172"/>
                      <a:pt x="1172" y="163"/>
                      <a:pt x="1208" y="163"/>
                    </a:cubicBezTo>
                    <a:cubicBezTo>
                      <a:pt x="1244" y="163"/>
                      <a:pt x="1275" y="172"/>
                      <a:pt x="1300" y="186"/>
                    </a:cubicBezTo>
                    <a:cubicBezTo>
                      <a:pt x="1345" y="186"/>
                      <a:pt x="1345" y="186"/>
                      <a:pt x="1345" y="186"/>
                    </a:cubicBezTo>
                    <a:cubicBezTo>
                      <a:pt x="1345" y="0"/>
                      <a:pt x="1345" y="0"/>
                      <a:pt x="1345" y="0"/>
                    </a:cubicBezTo>
                    <a:lnTo>
                      <a:pt x="1020" y="0"/>
                    </a:lnTo>
                    <a:close/>
                    <a:moveTo>
                      <a:pt x="1318" y="158"/>
                    </a:moveTo>
                    <a:cubicBezTo>
                      <a:pt x="27" y="158"/>
                      <a:pt x="27" y="158"/>
                      <a:pt x="27" y="158"/>
                    </a:cubicBezTo>
                    <a:cubicBezTo>
                      <a:pt x="27" y="27"/>
                      <a:pt x="27" y="27"/>
                      <a:pt x="27" y="27"/>
                    </a:cubicBezTo>
                    <a:cubicBezTo>
                      <a:pt x="1318" y="27"/>
                      <a:pt x="1318" y="27"/>
                      <a:pt x="1318" y="27"/>
                    </a:cubicBezTo>
                    <a:lnTo>
                      <a:pt x="1318"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1" name="Freeform 276">
                <a:extLst>
                  <a:ext uri="{FF2B5EF4-FFF2-40B4-BE49-F238E27FC236}">
                    <a16:creationId xmlns:a16="http://schemas.microsoft.com/office/drawing/2014/main" id="{5044953B-7822-4C36-A88B-33BD17B4D4B0}"/>
                  </a:ext>
                </a:extLst>
              </p:cNvPr>
              <p:cNvSpPr>
                <a:spLocks noEditPoints="1"/>
              </p:cNvSpPr>
              <p:nvPr/>
            </p:nvSpPr>
            <p:spPr bwMode="auto">
              <a:xfrm>
                <a:off x="332" y="1474"/>
                <a:ext cx="706" cy="338"/>
              </a:xfrm>
              <a:custGeom>
                <a:avLst/>
                <a:gdLst>
                  <a:gd name="T0" fmla="*/ 209 w 1364"/>
                  <a:gd name="T1" fmla="*/ 657 h 657"/>
                  <a:gd name="T2" fmla="*/ 163 w 1364"/>
                  <a:gd name="T3" fmla="*/ 657 h 657"/>
                  <a:gd name="T4" fmla="*/ 163 w 1364"/>
                  <a:gd name="T5" fmla="*/ 319 h 657"/>
                  <a:gd name="T6" fmla="*/ 94 w 1364"/>
                  <a:gd name="T7" fmla="*/ 204 h 657"/>
                  <a:gd name="T8" fmla="*/ 0 w 1364"/>
                  <a:gd name="T9" fmla="*/ 204 h 657"/>
                  <a:gd name="T10" fmla="*/ 0 w 1364"/>
                  <a:gd name="T11" fmla="*/ 0 h 657"/>
                  <a:gd name="T12" fmla="*/ 1364 w 1364"/>
                  <a:gd name="T13" fmla="*/ 0 h 657"/>
                  <a:gd name="T14" fmla="*/ 1364 w 1364"/>
                  <a:gd name="T15" fmla="*/ 204 h 657"/>
                  <a:gd name="T16" fmla="*/ 1307 w 1364"/>
                  <a:gd name="T17" fmla="*/ 204 h 657"/>
                  <a:gd name="T18" fmla="*/ 1305 w 1364"/>
                  <a:gd name="T19" fmla="*/ 203 h 657"/>
                  <a:gd name="T20" fmla="*/ 1218 w 1364"/>
                  <a:gd name="T21" fmla="*/ 181 h 657"/>
                  <a:gd name="T22" fmla="*/ 1131 w 1364"/>
                  <a:gd name="T23" fmla="*/ 203 h 657"/>
                  <a:gd name="T24" fmla="*/ 1129 w 1364"/>
                  <a:gd name="T25" fmla="*/ 204 h 657"/>
                  <a:gd name="T26" fmla="*/ 149 w 1364"/>
                  <a:gd name="T27" fmla="*/ 204 h 657"/>
                  <a:gd name="T28" fmla="*/ 209 w 1364"/>
                  <a:gd name="T29" fmla="*/ 305 h 657"/>
                  <a:gd name="T30" fmla="*/ 209 w 1364"/>
                  <a:gd name="T31" fmla="*/ 657 h 657"/>
                  <a:gd name="T32" fmla="*/ 182 w 1364"/>
                  <a:gd name="T33" fmla="*/ 639 h 657"/>
                  <a:gd name="T34" fmla="*/ 190 w 1364"/>
                  <a:gd name="T35" fmla="*/ 639 h 657"/>
                  <a:gd name="T36" fmla="*/ 190 w 1364"/>
                  <a:gd name="T37" fmla="*/ 310 h 657"/>
                  <a:gd name="T38" fmla="*/ 117 w 1364"/>
                  <a:gd name="T39" fmla="*/ 186 h 657"/>
                  <a:gd name="T40" fmla="*/ 1124 w 1364"/>
                  <a:gd name="T41" fmla="*/ 186 h 657"/>
                  <a:gd name="T42" fmla="*/ 1143 w 1364"/>
                  <a:gd name="T43" fmla="*/ 177 h 657"/>
                  <a:gd name="T44" fmla="*/ 28 w 1364"/>
                  <a:gd name="T45" fmla="*/ 177 h 657"/>
                  <a:gd name="T46" fmla="*/ 28 w 1364"/>
                  <a:gd name="T47" fmla="*/ 27 h 657"/>
                  <a:gd name="T48" fmla="*/ 1337 w 1364"/>
                  <a:gd name="T49" fmla="*/ 27 h 657"/>
                  <a:gd name="T50" fmla="*/ 1337 w 1364"/>
                  <a:gd name="T51" fmla="*/ 177 h 657"/>
                  <a:gd name="T52" fmla="*/ 1293 w 1364"/>
                  <a:gd name="T53" fmla="*/ 177 h 657"/>
                  <a:gd name="T54" fmla="*/ 1312 w 1364"/>
                  <a:gd name="T55" fmla="*/ 186 h 657"/>
                  <a:gd name="T56" fmla="*/ 1346 w 1364"/>
                  <a:gd name="T57" fmla="*/ 186 h 657"/>
                  <a:gd name="T58" fmla="*/ 1346 w 1364"/>
                  <a:gd name="T59" fmla="*/ 18 h 657"/>
                  <a:gd name="T60" fmla="*/ 19 w 1364"/>
                  <a:gd name="T61" fmla="*/ 18 h 657"/>
                  <a:gd name="T62" fmla="*/ 19 w 1364"/>
                  <a:gd name="T63" fmla="*/ 186 h 657"/>
                  <a:gd name="T64" fmla="*/ 104 w 1364"/>
                  <a:gd name="T65" fmla="*/ 186 h 657"/>
                  <a:gd name="T66" fmla="*/ 182 w 1364"/>
                  <a:gd name="T67" fmla="*/ 314 h 657"/>
                  <a:gd name="T68" fmla="*/ 182 w 1364"/>
                  <a:gd name="T69" fmla="*/ 639 h 657"/>
                  <a:gd name="T70" fmla="*/ 47 w 1364"/>
                  <a:gd name="T71" fmla="*/ 158 h 657"/>
                  <a:gd name="T72" fmla="*/ 1318 w 1364"/>
                  <a:gd name="T73" fmla="*/ 158 h 657"/>
                  <a:gd name="T74" fmla="*/ 1318 w 1364"/>
                  <a:gd name="T75" fmla="*/ 46 h 657"/>
                  <a:gd name="T76" fmla="*/ 47 w 1364"/>
                  <a:gd name="T77" fmla="*/ 46 h 657"/>
                  <a:gd name="T78" fmla="*/ 47 w 1364"/>
                  <a:gd name="T79" fmla="*/ 15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4" h="657">
                    <a:moveTo>
                      <a:pt x="209" y="657"/>
                    </a:moveTo>
                    <a:cubicBezTo>
                      <a:pt x="163" y="657"/>
                      <a:pt x="163" y="657"/>
                      <a:pt x="163" y="657"/>
                    </a:cubicBezTo>
                    <a:cubicBezTo>
                      <a:pt x="163" y="319"/>
                      <a:pt x="163" y="319"/>
                      <a:pt x="163" y="319"/>
                    </a:cubicBezTo>
                    <a:cubicBezTo>
                      <a:pt x="94" y="204"/>
                      <a:pt x="94" y="204"/>
                      <a:pt x="94" y="204"/>
                    </a:cubicBezTo>
                    <a:cubicBezTo>
                      <a:pt x="0" y="204"/>
                      <a:pt x="0" y="204"/>
                      <a:pt x="0" y="204"/>
                    </a:cubicBezTo>
                    <a:cubicBezTo>
                      <a:pt x="0" y="0"/>
                      <a:pt x="0" y="0"/>
                      <a:pt x="0" y="0"/>
                    </a:cubicBezTo>
                    <a:cubicBezTo>
                      <a:pt x="1364" y="0"/>
                      <a:pt x="1364" y="0"/>
                      <a:pt x="1364" y="0"/>
                    </a:cubicBezTo>
                    <a:cubicBezTo>
                      <a:pt x="1364" y="204"/>
                      <a:pt x="1364" y="204"/>
                      <a:pt x="1364" y="204"/>
                    </a:cubicBezTo>
                    <a:cubicBezTo>
                      <a:pt x="1307" y="204"/>
                      <a:pt x="1307" y="204"/>
                      <a:pt x="1307" y="204"/>
                    </a:cubicBezTo>
                    <a:cubicBezTo>
                      <a:pt x="1305" y="203"/>
                      <a:pt x="1305" y="203"/>
                      <a:pt x="1305" y="203"/>
                    </a:cubicBezTo>
                    <a:cubicBezTo>
                      <a:pt x="1280" y="189"/>
                      <a:pt x="1251" y="181"/>
                      <a:pt x="1218" y="181"/>
                    </a:cubicBezTo>
                    <a:cubicBezTo>
                      <a:pt x="1185" y="181"/>
                      <a:pt x="1156" y="189"/>
                      <a:pt x="1131" y="203"/>
                    </a:cubicBezTo>
                    <a:cubicBezTo>
                      <a:pt x="1129" y="204"/>
                      <a:pt x="1129" y="204"/>
                      <a:pt x="1129" y="204"/>
                    </a:cubicBezTo>
                    <a:cubicBezTo>
                      <a:pt x="149" y="204"/>
                      <a:pt x="149" y="204"/>
                      <a:pt x="149" y="204"/>
                    </a:cubicBezTo>
                    <a:cubicBezTo>
                      <a:pt x="209" y="305"/>
                      <a:pt x="209" y="305"/>
                      <a:pt x="209" y="305"/>
                    </a:cubicBezTo>
                    <a:lnTo>
                      <a:pt x="209" y="657"/>
                    </a:lnTo>
                    <a:close/>
                    <a:moveTo>
                      <a:pt x="182" y="639"/>
                    </a:moveTo>
                    <a:cubicBezTo>
                      <a:pt x="190" y="639"/>
                      <a:pt x="190" y="639"/>
                      <a:pt x="190" y="639"/>
                    </a:cubicBezTo>
                    <a:cubicBezTo>
                      <a:pt x="190" y="310"/>
                      <a:pt x="190" y="310"/>
                      <a:pt x="190" y="310"/>
                    </a:cubicBezTo>
                    <a:cubicBezTo>
                      <a:pt x="117" y="186"/>
                      <a:pt x="117" y="186"/>
                      <a:pt x="117" y="186"/>
                    </a:cubicBezTo>
                    <a:cubicBezTo>
                      <a:pt x="1124" y="186"/>
                      <a:pt x="1124" y="186"/>
                      <a:pt x="1124" y="186"/>
                    </a:cubicBezTo>
                    <a:cubicBezTo>
                      <a:pt x="1130" y="182"/>
                      <a:pt x="1136" y="179"/>
                      <a:pt x="1143" y="177"/>
                    </a:cubicBezTo>
                    <a:cubicBezTo>
                      <a:pt x="28" y="177"/>
                      <a:pt x="28" y="177"/>
                      <a:pt x="28" y="177"/>
                    </a:cubicBezTo>
                    <a:cubicBezTo>
                      <a:pt x="28" y="27"/>
                      <a:pt x="28" y="27"/>
                      <a:pt x="28" y="27"/>
                    </a:cubicBezTo>
                    <a:cubicBezTo>
                      <a:pt x="1337" y="27"/>
                      <a:pt x="1337" y="27"/>
                      <a:pt x="1337" y="27"/>
                    </a:cubicBezTo>
                    <a:cubicBezTo>
                      <a:pt x="1337" y="177"/>
                      <a:pt x="1337" y="177"/>
                      <a:pt x="1337" y="177"/>
                    </a:cubicBezTo>
                    <a:cubicBezTo>
                      <a:pt x="1293" y="177"/>
                      <a:pt x="1293" y="177"/>
                      <a:pt x="1293" y="177"/>
                    </a:cubicBezTo>
                    <a:cubicBezTo>
                      <a:pt x="1300" y="179"/>
                      <a:pt x="1306" y="182"/>
                      <a:pt x="1312" y="186"/>
                    </a:cubicBezTo>
                    <a:cubicBezTo>
                      <a:pt x="1346" y="186"/>
                      <a:pt x="1346" y="186"/>
                      <a:pt x="1346" y="186"/>
                    </a:cubicBezTo>
                    <a:cubicBezTo>
                      <a:pt x="1346" y="18"/>
                      <a:pt x="1346" y="18"/>
                      <a:pt x="1346" y="18"/>
                    </a:cubicBezTo>
                    <a:cubicBezTo>
                      <a:pt x="19" y="18"/>
                      <a:pt x="19" y="18"/>
                      <a:pt x="19" y="18"/>
                    </a:cubicBezTo>
                    <a:cubicBezTo>
                      <a:pt x="19" y="186"/>
                      <a:pt x="19" y="186"/>
                      <a:pt x="19" y="186"/>
                    </a:cubicBezTo>
                    <a:cubicBezTo>
                      <a:pt x="104" y="186"/>
                      <a:pt x="104" y="186"/>
                      <a:pt x="104" y="186"/>
                    </a:cubicBezTo>
                    <a:cubicBezTo>
                      <a:pt x="182" y="314"/>
                      <a:pt x="182" y="314"/>
                      <a:pt x="182" y="314"/>
                    </a:cubicBezTo>
                    <a:lnTo>
                      <a:pt x="182" y="639"/>
                    </a:lnTo>
                    <a:close/>
                    <a:moveTo>
                      <a:pt x="47" y="158"/>
                    </a:moveTo>
                    <a:cubicBezTo>
                      <a:pt x="1318" y="158"/>
                      <a:pt x="1318" y="158"/>
                      <a:pt x="1318" y="158"/>
                    </a:cubicBezTo>
                    <a:cubicBezTo>
                      <a:pt x="1318" y="46"/>
                      <a:pt x="1318" y="46"/>
                      <a:pt x="1318" y="46"/>
                    </a:cubicBezTo>
                    <a:cubicBezTo>
                      <a:pt x="47" y="46"/>
                      <a:pt x="47" y="46"/>
                      <a:pt x="47" y="46"/>
                    </a:cubicBezTo>
                    <a:lnTo>
                      <a:pt x="47"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2" name="Freeform 277">
                <a:extLst>
                  <a:ext uri="{FF2B5EF4-FFF2-40B4-BE49-F238E27FC236}">
                    <a16:creationId xmlns:a16="http://schemas.microsoft.com/office/drawing/2014/main" id="{2081FCC6-3C90-4410-8BC0-0BDF9D2A0F55}"/>
                  </a:ext>
                </a:extLst>
              </p:cNvPr>
              <p:cNvSpPr>
                <a:spLocks/>
              </p:cNvSpPr>
              <p:nvPr/>
            </p:nvSpPr>
            <p:spPr bwMode="auto">
              <a:xfrm>
                <a:off x="346" y="1488"/>
                <a:ext cx="10" cy="77"/>
              </a:xfrm>
              <a:custGeom>
                <a:avLst/>
                <a:gdLst>
                  <a:gd name="T0" fmla="*/ 10 w 10"/>
                  <a:gd name="T1" fmla="*/ 77 h 77"/>
                  <a:gd name="T2" fmla="*/ 1 w 10"/>
                  <a:gd name="T3" fmla="*/ 77 h 77"/>
                  <a:gd name="T4" fmla="*/ 0 w 10"/>
                  <a:gd name="T5" fmla="*/ 72 h 77"/>
                  <a:gd name="T6" fmla="*/ 0 w 10"/>
                  <a:gd name="T7" fmla="*/ 0 h 77"/>
                  <a:gd name="T8" fmla="*/ 10 w 10"/>
                  <a:gd name="T9" fmla="*/ 0 h 77"/>
                  <a:gd name="T10" fmla="*/ 10 w 10"/>
                  <a:gd name="T11" fmla="*/ 77 h 77"/>
                </a:gdLst>
                <a:ahLst/>
                <a:cxnLst>
                  <a:cxn ang="0">
                    <a:pos x="T0" y="T1"/>
                  </a:cxn>
                  <a:cxn ang="0">
                    <a:pos x="T2" y="T3"/>
                  </a:cxn>
                  <a:cxn ang="0">
                    <a:pos x="T4" y="T5"/>
                  </a:cxn>
                  <a:cxn ang="0">
                    <a:pos x="T6" y="T7"/>
                  </a:cxn>
                  <a:cxn ang="0">
                    <a:pos x="T8" y="T9"/>
                  </a:cxn>
                  <a:cxn ang="0">
                    <a:pos x="T10" y="T11"/>
                  </a:cxn>
                </a:cxnLst>
                <a:rect l="0" t="0" r="r" b="b"/>
                <a:pathLst>
                  <a:path w="10" h="77">
                    <a:moveTo>
                      <a:pt x="10" y="77"/>
                    </a:moveTo>
                    <a:lnTo>
                      <a:pt x="1" y="77"/>
                    </a:lnTo>
                    <a:lnTo>
                      <a:pt x="0" y="72"/>
                    </a:lnTo>
                    <a:lnTo>
                      <a:pt x="0" y="0"/>
                    </a:lnTo>
                    <a:lnTo>
                      <a:pt x="10" y="0"/>
                    </a:lnTo>
                    <a:lnTo>
                      <a:pt x="1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3" name="Freeform 278">
                <a:extLst>
                  <a:ext uri="{FF2B5EF4-FFF2-40B4-BE49-F238E27FC236}">
                    <a16:creationId xmlns:a16="http://schemas.microsoft.com/office/drawing/2014/main" id="{63C036D7-DEA6-4877-9FDE-805AFC47DF89}"/>
                  </a:ext>
                </a:extLst>
              </p:cNvPr>
              <p:cNvSpPr>
                <a:spLocks noEditPoints="1"/>
              </p:cNvSpPr>
              <p:nvPr/>
            </p:nvSpPr>
            <p:spPr bwMode="auto">
              <a:xfrm>
                <a:off x="337" y="1479"/>
                <a:ext cx="695" cy="328"/>
              </a:xfrm>
              <a:custGeom>
                <a:avLst/>
                <a:gdLst>
                  <a:gd name="T0" fmla="*/ 1020 w 1345"/>
                  <a:gd name="T1" fmla="*/ 0 h 639"/>
                  <a:gd name="T2" fmla="*/ 1020 w 1345"/>
                  <a:gd name="T3" fmla="*/ 0 h 639"/>
                  <a:gd name="T4" fmla="*/ 973 w 1345"/>
                  <a:gd name="T5" fmla="*/ 0 h 639"/>
                  <a:gd name="T6" fmla="*/ 973 w 1345"/>
                  <a:gd name="T7" fmla="*/ 0 h 639"/>
                  <a:gd name="T8" fmla="*/ 372 w 1345"/>
                  <a:gd name="T9" fmla="*/ 0 h 639"/>
                  <a:gd name="T10" fmla="*/ 372 w 1345"/>
                  <a:gd name="T11" fmla="*/ 0 h 639"/>
                  <a:gd name="T12" fmla="*/ 325 w 1345"/>
                  <a:gd name="T13" fmla="*/ 0 h 639"/>
                  <a:gd name="T14" fmla="*/ 325 w 1345"/>
                  <a:gd name="T15" fmla="*/ 0 h 639"/>
                  <a:gd name="T16" fmla="*/ 0 w 1345"/>
                  <a:gd name="T17" fmla="*/ 0 h 639"/>
                  <a:gd name="T18" fmla="*/ 0 w 1345"/>
                  <a:gd name="T19" fmla="*/ 186 h 639"/>
                  <a:gd name="T20" fmla="*/ 45 w 1345"/>
                  <a:gd name="T21" fmla="*/ 186 h 639"/>
                  <a:gd name="T22" fmla="*/ 137 w 1345"/>
                  <a:gd name="T23" fmla="*/ 163 h 639"/>
                  <a:gd name="T24" fmla="*/ 229 w 1345"/>
                  <a:gd name="T25" fmla="*/ 186 h 639"/>
                  <a:gd name="T26" fmla="*/ 1136 w 1345"/>
                  <a:gd name="T27" fmla="*/ 186 h 639"/>
                  <a:gd name="T28" fmla="*/ 1222 w 1345"/>
                  <a:gd name="T29" fmla="*/ 186 h 639"/>
                  <a:gd name="T30" fmla="*/ 1155 w 1345"/>
                  <a:gd name="T31" fmla="*/ 299 h 639"/>
                  <a:gd name="T32" fmla="*/ 1155 w 1345"/>
                  <a:gd name="T33" fmla="*/ 639 h 639"/>
                  <a:gd name="T34" fmla="*/ 1183 w 1345"/>
                  <a:gd name="T35" fmla="*/ 639 h 639"/>
                  <a:gd name="T36" fmla="*/ 1183 w 1345"/>
                  <a:gd name="T37" fmla="*/ 307 h 639"/>
                  <a:gd name="T38" fmla="*/ 1256 w 1345"/>
                  <a:gd name="T39" fmla="*/ 186 h 639"/>
                  <a:gd name="T40" fmla="*/ 1345 w 1345"/>
                  <a:gd name="T41" fmla="*/ 186 h 639"/>
                  <a:gd name="T42" fmla="*/ 1345 w 1345"/>
                  <a:gd name="T43" fmla="*/ 0 h 639"/>
                  <a:gd name="T44" fmla="*/ 1020 w 1345"/>
                  <a:gd name="T45" fmla="*/ 0 h 639"/>
                  <a:gd name="T46" fmla="*/ 1319 w 1345"/>
                  <a:gd name="T47" fmla="*/ 158 h 639"/>
                  <a:gd name="T48" fmla="*/ 1318 w 1345"/>
                  <a:gd name="T49" fmla="*/ 158 h 639"/>
                  <a:gd name="T50" fmla="*/ 28 w 1345"/>
                  <a:gd name="T51" fmla="*/ 158 h 639"/>
                  <a:gd name="T52" fmla="*/ 27 w 1345"/>
                  <a:gd name="T53" fmla="*/ 158 h 639"/>
                  <a:gd name="T54" fmla="*/ 27 w 1345"/>
                  <a:gd name="T55" fmla="*/ 27 h 639"/>
                  <a:gd name="T56" fmla="*/ 28 w 1345"/>
                  <a:gd name="T57" fmla="*/ 27 h 639"/>
                  <a:gd name="T58" fmla="*/ 1318 w 1345"/>
                  <a:gd name="T59" fmla="*/ 27 h 639"/>
                  <a:gd name="T60" fmla="*/ 1319 w 1345"/>
                  <a:gd name="T61" fmla="*/ 27 h 639"/>
                  <a:gd name="T62" fmla="*/ 1319 w 1345"/>
                  <a:gd name="T63" fmla="*/ 15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5" h="639">
                    <a:moveTo>
                      <a:pt x="1020" y="0"/>
                    </a:moveTo>
                    <a:cubicBezTo>
                      <a:pt x="1020" y="0"/>
                      <a:pt x="1020" y="0"/>
                      <a:pt x="1020" y="0"/>
                    </a:cubicBezTo>
                    <a:cubicBezTo>
                      <a:pt x="973" y="0"/>
                      <a:pt x="973" y="0"/>
                      <a:pt x="973" y="0"/>
                    </a:cubicBezTo>
                    <a:cubicBezTo>
                      <a:pt x="973" y="0"/>
                      <a:pt x="973" y="0"/>
                      <a:pt x="973" y="0"/>
                    </a:cubicBezTo>
                    <a:cubicBezTo>
                      <a:pt x="372" y="0"/>
                      <a:pt x="372" y="0"/>
                      <a:pt x="372" y="0"/>
                    </a:cubicBezTo>
                    <a:cubicBezTo>
                      <a:pt x="372" y="0"/>
                      <a:pt x="372" y="0"/>
                      <a:pt x="372" y="0"/>
                    </a:cubicBezTo>
                    <a:cubicBezTo>
                      <a:pt x="325" y="0"/>
                      <a:pt x="325" y="0"/>
                      <a:pt x="325" y="0"/>
                    </a:cubicBezTo>
                    <a:cubicBezTo>
                      <a:pt x="325" y="0"/>
                      <a:pt x="325" y="0"/>
                      <a:pt x="325" y="0"/>
                    </a:cubicBezTo>
                    <a:cubicBezTo>
                      <a:pt x="0" y="0"/>
                      <a:pt x="0" y="0"/>
                      <a:pt x="0" y="0"/>
                    </a:cubicBezTo>
                    <a:cubicBezTo>
                      <a:pt x="0" y="186"/>
                      <a:pt x="0" y="186"/>
                      <a:pt x="0" y="186"/>
                    </a:cubicBezTo>
                    <a:cubicBezTo>
                      <a:pt x="45" y="186"/>
                      <a:pt x="45" y="186"/>
                      <a:pt x="45" y="186"/>
                    </a:cubicBezTo>
                    <a:cubicBezTo>
                      <a:pt x="70" y="172"/>
                      <a:pt x="101" y="163"/>
                      <a:pt x="137" y="163"/>
                    </a:cubicBezTo>
                    <a:cubicBezTo>
                      <a:pt x="173" y="163"/>
                      <a:pt x="204" y="172"/>
                      <a:pt x="229" y="186"/>
                    </a:cubicBezTo>
                    <a:cubicBezTo>
                      <a:pt x="1136" y="186"/>
                      <a:pt x="1136" y="186"/>
                      <a:pt x="1136" y="186"/>
                    </a:cubicBezTo>
                    <a:cubicBezTo>
                      <a:pt x="1222" y="186"/>
                      <a:pt x="1222" y="186"/>
                      <a:pt x="1222" y="186"/>
                    </a:cubicBezTo>
                    <a:cubicBezTo>
                      <a:pt x="1155" y="299"/>
                      <a:pt x="1155" y="299"/>
                      <a:pt x="1155" y="299"/>
                    </a:cubicBezTo>
                    <a:cubicBezTo>
                      <a:pt x="1155" y="639"/>
                      <a:pt x="1155" y="639"/>
                      <a:pt x="1155" y="639"/>
                    </a:cubicBezTo>
                    <a:cubicBezTo>
                      <a:pt x="1183" y="639"/>
                      <a:pt x="1183" y="639"/>
                      <a:pt x="1183" y="639"/>
                    </a:cubicBezTo>
                    <a:cubicBezTo>
                      <a:pt x="1183" y="307"/>
                      <a:pt x="1183" y="307"/>
                      <a:pt x="1183" y="307"/>
                    </a:cubicBezTo>
                    <a:cubicBezTo>
                      <a:pt x="1256" y="186"/>
                      <a:pt x="1256" y="186"/>
                      <a:pt x="1256" y="186"/>
                    </a:cubicBezTo>
                    <a:cubicBezTo>
                      <a:pt x="1345" y="186"/>
                      <a:pt x="1345" y="186"/>
                      <a:pt x="1345" y="186"/>
                    </a:cubicBezTo>
                    <a:cubicBezTo>
                      <a:pt x="1345" y="0"/>
                      <a:pt x="1345" y="0"/>
                      <a:pt x="1345" y="0"/>
                    </a:cubicBezTo>
                    <a:lnTo>
                      <a:pt x="1020" y="0"/>
                    </a:lnTo>
                    <a:close/>
                    <a:moveTo>
                      <a:pt x="1319" y="158"/>
                    </a:moveTo>
                    <a:cubicBezTo>
                      <a:pt x="1318" y="158"/>
                      <a:pt x="1318" y="158"/>
                      <a:pt x="1318" y="158"/>
                    </a:cubicBezTo>
                    <a:cubicBezTo>
                      <a:pt x="28" y="158"/>
                      <a:pt x="28" y="158"/>
                      <a:pt x="28" y="158"/>
                    </a:cubicBezTo>
                    <a:cubicBezTo>
                      <a:pt x="27" y="158"/>
                      <a:pt x="27" y="158"/>
                      <a:pt x="27" y="158"/>
                    </a:cubicBezTo>
                    <a:cubicBezTo>
                      <a:pt x="27" y="27"/>
                      <a:pt x="27" y="27"/>
                      <a:pt x="27" y="27"/>
                    </a:cubicBezTo>
                    <a:cubicBezTo>
                      <a:pt x="28" y="27"/>
                      <a:pt x="28" y="27"/>
                      <a:pt x="28" y="27"/>
                    </a:cubicBezTo>
                    <a:cubicBezTo>
                      <a:pt x="1318" y="27"/>
                      <a:pt x="1318" y="27"/>
                      <a:pt x="1318" y="27"/>
                    </a:cubicBezTo>
                    <a:cubicBezTo>
                      <a:pt x="1319" y="27"/>
                      <a:pt x="1319" y="27"/>
                      <a:pt x="1319" y="27"/>
                    </a:cubicBezTo>
                    <a:lnTo>
                      <a:pt x="1319"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4" name="Freeform 279">
                <a:extLst>
                  <a:ext uri="{FF2B5EF4-FFF2-40B4-BE49-F238E27FC236}">
                    <a16:creationId xmlns:a16="http://schemas.microsoft.com/office/drawing/2014/main" id="{862500A3-D42E-4B9D-A9E5-9CC5AA0C9655}"/>
                  </a:ext>
                </a:extLst>
              </p:cNvPr>
              <p:cNvSpPr>
                <a:spLocks noEditPoints="1"/>
              </p:cNvSpPr>
              <p:nvPr/>
            </p:nvSpPr>
            <p:spPr bwMode="auto">
              <a:xfrm>
                <a:off x="332" y="1474"/>
                <a:ext cx="706" cy="338"/>
              </a:xfrm>
              <a:custGeom>
                <a:avLst/>
                <a:gdLst>
                  <a:gd name="T0" fmla="*/ 1201 w 1364"/>
                  <a:gd name="T1" fmla="*/ 657 h 657"/>
                  <a:gd name="T2" fmla="*/ 1155 w 1364"/>
                  <a:gd name="T3" fmla="*/ 657 h 657"/>
                  <a:gd name="T4" fmla="*/ 1155 w 1364"/>
                  <a:gd name="T5" fmla="*/ 305 h 657"/>
                  <a:gd name="T6" fmla="*/ 1215 w 1364"/>
                  <a:gd name="T7" fmla="*/ 204 h 657"/>
                  <a:gd name="T8" fmla="*/ 235 w 1364"/>
                  <a:gd name="T9" fmla="*/ 204 h 657"/>
                  <a:gd name="T10" fmla="*/ 233 w 1364"/>
                  <a:gd name="T11" fmla="*/ 203 h 657"/>
                  <a:gd name="T12" fmla="*/ 146 w 1364"/>
                  <a:gd name="T13" fmla="*/ 181 h 657"/>
                  <a:gd name="T14" fmla="*/ 59 w 1364"/>
                  <a:gd name="T15" fmla="*/ 203 h 657"/>
                  <a:gd name="T16" fmla="*/ 57 w 1364"/>
                  <a:gd name="T17" fmla="*/ 204 h 657"/>
                  <a:gd name="T18" fmla="*/ 0 w 1364"/>
                  <a:gd name="T19" fmla="*/ 204 h 657"/>
                  <a:gd name="T20" fmla="*/ 0 w 1364"/>
                  <a:gd name="T21" fmla="*/ 0 h 657"/>
                  <a:gd name="T22" fmla="*/ 1364 w 1364"/>
                  <a:gd name="T23" fmla="*/ 0 h 657"/>
                  <a:gd name="T24" fmla="*/ 1364 w 1364"/>
                  <a:gd name="T25" fmla="*/ 204 h 657"/>
                  <a:gd name="T26" fmla="*/ 1270 w 1364"/>
                  <a:gd name="T27" fmla="*/ 204 h 657"/>
                  <a:gd name="T28" fmla="*/ 1201 w 1364"/>
                  <a:gd name="T29" fmla="*/ 319 h 657"/>
                  <a:gd name="T30" fmla="*/ 1201 w 1364"/>
                  <a:gd name="T31" fmla="*/ 657 h 657"/>
                  <a:gd name="T32" fmla="*/ 1174 w 1364"/>
                  <a:gd name="T33" fmla="*/ 639 h 657"/>
                  <a:gd name="T34" fmla="*/ 1182 w 1364"/>
                  <a:gd name="T35" fmla="*/ 639 h 657"/>
                  <a:gd name="T36" fmla="*/ 1182 w 1364"/>
                  <a:gd name="T37" fmla="*/ 314 h 657"/>
                  <a:gd name="T38" fmla="*/ 1260 w 1364"/>
                  <a:gd name="T39" fmla="*/ 186 h 657"/>
                  <a:gd name="T40" fmla="*/ 1345 w 1364"/>
                  <a:gd name="T41" fmla="*/ 186 h 657"/>
                  <a:gd name="T42" fmla="*/ 1345 w 1364"/>
                  <a:gd name="T43" fmla="*/ 18 h 657"/>
                  <a:gd name="T44" fmla="*/ 18 w 1364"/>
                  <a:gd name="T45" fmla="*/ 18 h 657"/>
                  <a:gd name="T46" fmla="*/ 18 w 1364"/>
                  <a:gd name="T47" fmla="*/ 186 h 657"/>
                  <a:gd name="T48" fmla="*/ 52 w 1364"/>
                  <a:gd name="T49" fmla="*/ 186 h 657"/>
                  <a:gd name="T50" fmla="*/ 71 w 1364"/>
                  <a:gd name="T51" fmla="*/ 177 h 657"/>
                  <a:gd name="T52" fmla="*/ 28 w 1364"/>
                  <a:gd name="T53" fmla="*/ 177 h 657"/>
                  <a:gd name="T54" fmla="*/ 27 w 1364"/>
                  <a:gd name="T55" fmla="*/ 167 h 657"/>
                  <a:gd name="T56" fmla="*/ 27 w 1364"/>
                  <a:gd name="T57" fmla="*/ 27 h 657"/>
                  <a:gd name="T58" fmla="*/ 1336 w 1364"/>
                  <a:gd name="T59" fmla="*/ 27 h 657"/>
                  <a:gd name="T60" fmla="*/ 1337 w 1364"/>
                  <a:gd name="T61" fmla="*/ 36 h 657"/>
                  <a:gd name="T62" fmla="*/ 1337 w 1364"/>
                  <a:gd name="T63" fmla="*/ 177 h 657"/>
                  <a:gd name="T64" fmla="*/ 221 w 1364"/>
                  <a:gd name="T65" fmla="*/ 177 h 657"/>
                  <a:gd name="T66" fmla="*/ 240 w 1364"/>
                  <a:gd name="T67" fmla="*/ 186 h 657"/>
                  <a:gd name="T68" fmla="*/ 1247 w 1364"/>
                  <a:gd name="T69" fmla="*/ 186 h 657"/>
                  <a:gd name="T70" fmla="*/ 1174 w 1364"/>
                  <a:gd name="T71" fmla="*/ 310 h 657"/>
                  <a:gd name="T72" fmla="*/ 1174 w 1364"/>
                  <a:gd name="T73" fmla="*/ 639 h 657"/>
                  <a:gd name="T74" fmla="*/ 46 w 1364"/>
                  <a:gd name="T75" fmla="*/ 158 h 657"/>
                  <a:gd name="T76" fmla="*/ 1318 w 1364"/>
                  <a:gd name="T77" fmla="*/ 158 h 657"/>
                  <a:gd name="T78" fmla="*/ 1318 w 1364"/>
                  <a:gd name="T79" fmla="*/ 46 h 657"/>
                  <a:gd name="T80" fmla="*/ 46 w 1364"/>
                  <a:gd name="T81" fmla="*/ 46 h 657"/>
                  <a:gd name="T82" fmla="*/ 46 w 1364"/>
                  <a:gd name="T83" fmla="*/ 15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4" h="657">
                    <a:moveTo>
                      <a:pt x="1201" y="657"/>
                    </a:moveTo>
                    <a:cubicBezTo>
                      <a:pt x="1155" y="657"/>
                      <a:pt x="1155" y="657"/>
                      <a:pt x="1155" y="657"/>
                    </a:cubicBezTo>
                    <a:cubicBezTo>
                      <a:pt x="1155" y="305"/>
                      <a:pt x="1155" y="305"/>
                      <a:pt x="1155" y="305"/>
                    </a:cubicBezTo>
                    <a:cubicBezTo>
                      <a:pt x="1215" y="204"/>
                      <a:pt x="1215" y="204"/>
                      <a:pt x="1215" y="204"/>
                    </a:cubicBezTo>
                    <a:cubicBezTo>
                      <a:pt x="235" y="204"/>
                      <a:pt x="235" y="204"/>
                      <a:pt x="235" y="204"/>
                    </a:cubicBezTo>
                    <a:cubicBezTo>
                      <a:pt x="233" y="203"/>
                      <a:pt x="233" y="203"/>
                      <a:pt x="233" y="203"/>
                    </a:cubicBezTo>
                    <a:cubicBezTo>
                      <a:pt x="208" y="189"/>
                      <a:pt x="179" y="181"/>
                      <a:pt x="146" y="181"/>
                    </a:cubicBezTo>
                    <a:cubicBezTo>
                      <a:pt x="113" y="181"/>
                      <a:pt x="84" y="189"/>
                      <a:pt x="59" y="203"/>
                    </a:cubicBezTo>
                    <a:cubicBezTo>
                      <a:pt x="57" y="204"/>
                      <a:pt x="57" y="204"/>
                      <a:pt x="57" y="204"/>
                    </a:cubicBezTo>
                    <a:cubicBezTo>
                      <a:pt x="0" y="204"/>
                      <a:pt x="0" y="204"/>
                      <a:pt x="0" y="204"/>
                    </a:cubicBezTo>
                    <a:cubicBezTo>
                      <a:pt x="0" y="0"/>
                      <a:pt x="0" y="0"/>
                      <a:pt x="0" y="0"/>
                    </a:cubicBezTo>
                    <a:cubicBezTo>
                      <a:pt x="1364" y="0"/>
                      <a:pt x="1364" y="0"/>
                      <a:pt x="1364" y="0"/>
                    </a:cubicBezTo>
                    <a:cubicBezTo>
                      <a:pt x="1364" y="204"/>
                      <a:pt x="1364" y="204"/>
                      <a:pt x="1364" y="204"/>
                    </a:cubicBezTo>
                    <a:cubicBezTo>
                      <a:pt x="1270" y="204"/>
                      <a:pt x="1270" y="204"/>
                      <a:pt x="1270" y="204"/>
                    </a:cubicBezTo>
                    <a:cubicBezTo>
                      <a:pt x="1201" y="319"/>
                      <a:pt x="1201" y="319"/>
                      <a:pt x="1201" y="319"/>
                    </a:cubicBezTo>
                    <a:lnTo>
                      <a:pt x="1201" y="657"/>
                    </a:lnTo>
                    <a:close/>
                    <a:moveTo>
                      <a:pt x="1174" y="639"/>
                    </a:moveTo>
                    <a:cubicBezTo>
                      <a:pt x="1182" y="639"/>
                      <a:pt x="1182" y="639"/>
                      <a:pt x="1182" y="639"/>
                    </a:cubicBezTo>
                    <a:cubicBezTo>
                      <a:pt x="1182" y="314"/>
                      <a:pt x="1182" y="314"/>
                      <a:pt x="1182" y="314"/>
                    </a:cubicBezTo>
                    <a:cubicBezTo>
                      <a:pt x="1260" y="186"/>
                      <a:pt x="1260" y="186"/>
                      <a:pt x="1260" y="186"/>
                    </a:cubicBezTo>
                    <a:cubicBezTo>
                      <a:pt x="1345" y="186"/>
                      <a:pt x="1345" y="186"/>
                      <a:pt x="1345" y="186"/>
                    </a:cubicBezTo>
                    <a:cubicBezTo>
                      <a:pt x="1345" y="18"/>
                      <a:pt x="1345" y="18"/>
                      <a:pt x="1345" y="18"/>
                    </a:cubicBezTo>
                    <a:cubicBezTo>
                      <a:pt x="18" y="18"/>
                      <a:pt x="18" y="18"/>
                      <a:pt x="18" y="18"/>
                    </a:cubicBezTo>
                    <a:cubicBezTo>
                      <a:pt x="18" y="186"/>
                      <a:pt x="18" y="186"/>
                      <a:pt x="18" y="186"/>
                    </a:cubicBezTo>
                    <a:cubicBezTo>
                      <a:pt x="52" y="186"/>
                      <a:pt x="52" y="186"/>
                      <a:pt x="52" y="186"/>
                    </a:cubicBezTo>
                    <a:cubicBezTo>
                      <a:pt x="58" y="182"/>
                      <a:pt x="64" y="179"/>
                      <a:pt x="71" y="177"/>
                    </a:cubicBezTo>
                    <a:cubicBezTo>
                      <a:pt x="28" y="177"/>
                      <a:pt x="28" y="177"/>
                      <a:pt x="28" y="177"/>
                    </a:cubicBezTo>
                    <a:cubicBezTo>
                      <a:pt x="27" y="167"/>
                      <a:pt x="27" y="167"/>
                      <a:pt x="27" y="167"/>
                    </a:cubicBezTo>
                    <a:cubicBezTo>
                      <a:pt x="27" y="27"/>
                      <a:pt x="27" y="27"/>
                      <a:pt x="27" y="27"/>
                    </a:cubicBezTo>
                    <a:cubicBezTo>
                      <a:pt x="1336" y="27"/>
                      <a:pt x="1336" y="27"/>
                      <a:pt x="1336" y="27"/>
                    </a:cubicBezTo>
                    <a:cubicBezTo>
                      <a:pt x="1337" y="36"/>
                      <a:pt x="1337" y="36"/>
                      <a:pt x="1337" y="36"/>
                    </a:cubicBezTo>
                    <a:cubicBezTo>
                      <a:pt x="1337" y="177"/>
                      <a:pt x="1337" y="177"/>
                      <a:pt x="1337" y="177"/>
                    </a:cubicBezTo>
                    <a:cubicBezTo>
                      <a:pt x="221" y="177"/>
                      <a:pt x="221" y="177"/>
                      <a:pt x="221" y="177"/>
                    </a:cubicBezTo>
                    <a:cubicBezTo>
                      <a:pt x="228" y="179"/>
                      <a:pt x="234" y="182"/>
                      <a:pt x="240" y="186"/>
                    </a:cubicBezTo>
                    <a:cubicBezTo>
                      <a:pt x="1247" y="186"/>
                      <a:pt x="1247" y="186"/>
                      <a:pt x="1247" y="186"/>
                    </a:cubicBezTo>
                    <a:cubicBezTo>
                      <a:pt x="1174" y="310"/>
                      <a:pt x="1174" y="310"/>
                      <a:pt x="1174" y="310"/>
                    </a:cubicBezTo>
                    <a:lnTo>
                      <a:pt x="1174" y="639"/>
                    </a:lnTo>
                    <a:close/>
                    <a:moveTo>
                      <a:pt x="46" y="158"/>
                    </a:moveTo>
                    <a:cubicBezTo>
                      <a:pt x="1318" y="158"/>
                      <a:pt x="1318" y="158"/>
                      <a:pt x="1318" y="158"/>
                    </a:cubicBezTo>
                    <a:cubicBezTo>
                      <a:pt x="1318" y="46"/>
                      <a:pt x="1318" y="46"/>
                      <a:pt x="1318" y="46"/>
                    </a:cubicBezTo>
                    <a:cubicBezTo>
                      <a:pt x="46" y="46"/>
                      <a:pt x="46" y="46"/>
                      <a:pt x="46" y="46"/>
                    </a:cubicBezTo>
                    <a:lnTo>
                      <a:pt x="46"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5" name="Freeform 280">
                <a:extLst>
                  <a:ext uri="{FF2B5EF4-FFF2-40B4-BE49-F238E27FC236}">
                    <a16:creationId xmlns:a16="http://schemas.microsoft.com/office/drawing/2014/main" id="{E15B6EEE-8DB7-441E-9A5B-46848B51C426}"/>
                  </a:ext>
                </a:extLst>
              </p:cNvPr>
              <p:cNvSpPr>
                <a:spLocks/>
              </p:cNvSpPr>
              <p:nvPr/>
            </p:nvSpPr>
            <p:spPr bwMode="auto">
              <a:xfrm>
                <a:off x="1013" y="1488"/>
                <a:ext cx="11" cy="77"/>
              </a:xfrm>
              <a:custGeom>
                <a:avLst/>
                <a:gdLst>
                  <a:gd name="T0" fmla="*/ 11 w 11"/>
                  <a:gd name="T1" fmla="*/ 77 h 77"/>
                  <a:gd name="T2" fmla="*/ 1 w 11"/>
                  <a:gd name="T3" fmla="*/ 77 h 77"/>
                  <a:gd name="T4" fmla="*/ 0 w 11"/>
                  <a:gd name="T5" fmla="*/ 72 h 77"/>
                  <a:gd name="T6" fmla="*/ 0 w 11"/>
                  <a:gd name="T7" fmla="*/ 0 h 77"/>
                  <a:gd name="T8" fmla="*/ 10 w 11"/>
                  <a:gd name="T9" fmla="*/ 0 h 77"/>
                  <a:gd name="T10" fmla="*/ 11 w 11"/>
                  <a:gd name="T11" fmla="*/ 5 h 77"/>
                  <a:gd name="T12" fmla="*/ 11 w 11"/>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1" h="77">
                    <a:moveTo>
                      <a:pt x="11" y="77"/>
                    </a:moveTo>
                    <a:lnTo>
                      <a:pt x="1" y="77"/>
                    </a:lnTo>
                    <a:lnTo>
                      <a:pt x="0" y="72"/>
                    </a:lnTo>
                    <a:lnTo>
                      <a:pt x="0" y="0"/>
                    </a:lnTo>
                    <a:lnTo>
                      <a:pt x="10" y="0"/>
                    </a:lnTo>
                    <a:lnTo>
                      <a:pt x="11" y="5"/>
                    </a:lnTo>
                    <a:lnTo>
                      <a:pt x="11"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6" name="Freeform 281">
                <a:extLst>
                  <a:ext uri="{FF2B5EF4-FFF2-40B4-BE49-F238E27FC236}">
                    <a16:creationId xmlns:a16="http://schemas.microsoft.com/office/drawing/2014/main" id="{05CDEC3A-8E81-4592-A7AE-541D74F53D94}"/>
                  </a:ext>
                </a:extLst>
              </p:cNvPr>
              <p:cNvSpPr>
                <a:spLocks noEditPoints="1"/>
              </p:cNvSpPr>
              <p:nvPr/>
            </p:nvSpPr>
            <p:spPr bwMode="auto">
              <a:xfrm>
                <a:off x="415" y="1838"/>
                <a:ext cx="99" cy="140"/>
              </a:xfrm>
              <a:custGeom>
                <a:avLst/>
                <a:gdLst>
                  <a:gd name="T0" fmla="*/ 95 w 191"/>
                  <a:gd name="T1" fmla="*/ 273 h 273"/>
                  <a:gd name="T2" fmla="*/ 0 w 191"/>
                  <a:gd name="T3" fmla="*/ 137 h 273"/>
                  <a:gd name="T4" fmla="*/ 95 w 191"/>
                  <a:gd name="T5" fmla="*/ 0 h 273"/>
                  <a:gd name="T6" fmla="*/ 191 w 191"/>
                  <a:gd name="T7" fmla="*/ 137 h 273"/>
                  <a:gd name="T8" fmla="*/ 95 w 191"/>
                  <a:gd name="T9" fmla="*/ 273 h 273"/>
                  <a:gd name="T10" fmla="*/ 95 w 191"/>
                  <a:gd name="T11" fmla="*/ 9 h 273"/>
                  <a:gd name="T12" fmla="*/ 9 w 191"/>
                  <a:gd name="T13" fmla="*/ 137 h 273"/>
                  <a:gd name="T14" fmla="*/ 95 w 191"/>
                  <a:gd name="T15" fmla="*/ 264 h 273"/>
                  <a:gd name="T16" fmla="*/ 182 w 191"/>
                  <a:gd name="T17" fmla="*/ 137 h 273"/>
                  <a:gd name="T18" fmla="*/ 95 w 191"/>
                  <a:gd name="T19" fmla="*/ 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3">
                    <a:moveTo>
                      <a:pt x="95" y="273"/>
                    </a:moveTo>
                    <a:cubicBezTo>
                      <a:pt x="42" y="273"/>
                      <a:pt x="0" y="212"/>
                      <a:pt x="0" y="137"/>
                    </a:cubicBezTo>
                    <a:cubicBezTo>
                      <a:pt x="0" y="45"/>
                      <a:pt x="31" y="0"/>
                      <a:pt x="95" y="0"/>
                    </a:cubicBezTo>
                    <a:cubicBezTo>
                      <a:pt x="159" y="0"/>
                      <a:pt x="191" y="45"/>
                      <a:pt x="191" y="137"/>
                    </a:cubicBezTo>
                    <a:cubicBezTo>
                      <a:pt x="191" y="212"/>
                      <a:pt x="148" y="273"/>
                      <a:pt x="95" y="273"/>
                    </a:cubicBezTo>
                    <a:close/>
                    <a:moveTo>
                      <a:pt x="95" y="9"/>
                    </a:moveTo>
                    <a:cubicBezTo>
                      <a:pt x="58" y="9"/>
                      <a:pt x="9" y="23"/>
                      <a:pt x="9" y="137"/>
                    </a:cubicBezTo>
                    <a:cubicBezTo>
                      <a:pt x="9" y="207"/>
                      <a:pt x="47" y="264"/>
                      <a:pt x="95" y="264"/>
                    </a:cubicBezTo>
                    <a:cubicBezTo>
                      <a:pt x="143" y="264"/>
                      <a:pt x="182" y="207"/>
                      <a:pt x="182" y="137"/>
                    </a:cubicBezTo>
                    <a:cubicBezTo>
                      <a:pt x="182" y="23"/>
                      <a:pt x="132" y="9"/>
                      <a:pt x="9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7" name="Freeform 282">
                <a:extLst>
                  <a:ext uri="{FF2B5EF4-FFF2-40B4-BE49-F238E27FC236}">
                    <a16:creationId xmlns:a16="http://schemas.microsoft.com/office/drawing/2014/main" id="{9A1B731B-D718-486D-9112-65415F9520C5}"/>
                  </a:ext>
                </a:extLst>
              </p:cNvPr>
              <p:cNvSpPr>
                <a:spLocks noEditPoints="1"/>
              </p:cNvSpPr>
              <p:nvPr/>
            </p:nvSpPr>
            <p:spPr bwMode="auto">
              <a:xfrm>
                <a:off x="411" y="1834"/>
                <a:ext cx="106" cy="148"/>
              </a:xfrm>
              <a:custGeom>
                <a:avLst/>
                <a:gdLst>
                  <a:gd name="T0" fmla="*/ 102 w 205"/>
                  <a:gd name="T1" fmla="*/ 287 h 287"/>
                  <a:gd name="T2" fmla="*/ 0 w 205"/>
                  <a:gd name="T3" fmla="*/ 144 h 287"/>
                  <a:gd name="T4" fmla="*/ 102 w 205"/>
                  <a:gd name="T5" fmla="*/ 0 h 287"/>
                  <a:gd name="T6" fmla="*/ 205 w 205"/>
                  <a:gd name="T7" fmla="*/ 144 h 287"/>
                  <a:gd name="T8" fmla="*/ 102 w 205"/>
                  <a:gd name="T9" fmla="*/ 287 h 287"/>
                  <a:gd name="T10" fmla="*/ 102 w 205"/>
                  <a:gd name="T11" fmla="*/ 23 h 287"/>
                  <a:gd name="T12" fmla="*/ 23 w 205"/>
                  <a:gd name="T13" fmla="*/ 144 h 287"/>
                  <a:gd name="T14" fmla="*/ 102 w 205"/>
                  <a:gd name="T15" fmla="*/ 264 h 287"/>
                  <a:gd name="T16" fmla="*/ 182 w 205"/>
                  <a:gd name="T17" fmla="*/ 144 h 287"/>
                  <a:gd name="T18" fmla="*/ 102 w 205"/>
                  <a:gd name="T19" fmla="*/ 2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7">
                    <a:moveTo>
                      <a:pt x="102" y="287"/>
                    </a:moveTo>
                    <a:cubicBezTo>
                      <a:pt x="46" y="287"/>
                      <a:pt x="0" y="222"/>
                      <a:pt x="0" y="144"/>
                    </a:cubicBezTo>
                    <a:cubicBezTo>
                      <a:pt x="0" y="49"/>
                      <a:pt x="34" y="0"/>
                      <a:pt x="102" y="0"/>
                    </a:cubicBezTo>
                    <a:cubicBezTo>
                      <a:pt x="170" y="0"/>
                      <a:pt x="205" y="49"/>
                      <a:pt x="205" y="144"/>
                    </a:cubicBezTo>
                    <a:cubicBezTo>
                      <a:pt x="205" y="222"/>
                      <a:pt x="159" y="287"/>
                      <a:pt x="102" y="287"/>
                    </a:cubicBezTo>
                    <a:close/>
                    <a:moveTo>
                      <a:pt x="102" y="23"/>
                    </a:moveTo>
                    <a:cubicBezTo>
                      <a:pt x="65" y="23"/>
                      <a:pt x="23" y="37"/>
                      <a:pt x="23" y="144"/>
                    </a:cubicBezTo>
                    <a:cubicBezTo>
                      <a:pt x="23" y="210"/>
                      <a:pt x="58" y="264"/>
                      <a:pt x="102" y="264"/>
                    </a:cubicBezTo>
                    <a:cubicBezTo>
                      <a:pt x="146" y="264"/>
                      <a:pt x="182" y="210"/>
                      <a:pt x="182" y="144"/>
                    </a:cubicBezTo>
                    <a:cubicBezTo>
                      <a:pt x="182" y="37"/>
                      <a:pt x="139" y="23"/>
                      <a:pt x="10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8" name="Freeform 283">
                <a:extLst>
                  <a:ext uri="{FF2B5EF4-FFF2-40B4-BE49-F238E27FC236}">
                    <a16:creationId xmlns:a16="http://schemas.microsoft.com/office/drawing/2014/main" id="{C3CEC8ED-64A5-4184-A3EC-78EABBEA6AB0}"/>
                  </a:ext>
                </a:extLst>
              </p:cNvPr>
              <p:cNvSpPr>
                <a:spLocks noEditPoints="1"/>
              </p:cNvSpPr>
              <p:nvPr/>
            </p:nvSpPr>
            <p:spPr bwMode="auto">
              <a:xfrm>
                <a:off x="411" y="1834"/>
                <a:ext cx="106" cy="148"/>
              </a:xfrm>
              <a:custGeom>
                <a:avLst/>
                <a:gdLst>
                  <a:gd name="T0" fmla="*/ 103 w 206"/>
                  <a:gd name="T1" fmla="*/ 280 h 287"/>
                  <a:gd name="T2" fmla="*/ 103 w 206"/>
                  <a:gd name="T3" fmla="*/ 272 h 287"/>
                  <a:gd name="T4" fmla="*/ 42 w 206"/>
                  <a:gd name="T5" fmla="*/ 236 h 287"/>
                  <a:gd name="T6" fmla="*/ 15 w 206"/>
                  <a:gd name="T7" fmla="*/ 144 h 287"/>
                  <a:gd name="T8" fmla="*/ 37 w 206"/>
                  <a:gd name="T9" fmla="*/ 45 h 287"/>
                  <a:gd name="T10" fmla="*/ 103 w 206"/>
                  <a:gd name="T11" fmla="*/ 15 h 287"/>
                  <a:gd name="T12" fmla="*/ 169 w 206"/>
                  <a:gd name="T13" fmla="*/ 45 h 287"/>
                  <a:gd name="T14" fmla="*/ 191 w 206"/>
                  <a:gd name="T15" fmla="*/ 144 h 287"/>
                  <a:gd name="T16" fmla="*/ 165 w 206"/>
                  <a:gd name="T17" fmla="*/ 236 h 287"/>
                  <a:gd name="T18" fmla="*/ 103 w 206"/>
                  <a:gd name="T19" fmla="*/ 272 h 287"/>
                  <a:gd name="T20" fmla="*/ 103 w 206"/>
                  <a:gd name="T21" fmla="*/ 280 h 287"/>
                  <a:gd name="T22" fmla="*/ 103 w 206"/>
                  <a:gd name="T23" fmla="*/ 287 h 287"/>
                  <a:gd name="T24" fmla="*/ 177 w 206"/>
                  <a:gd name="T25" fmla="*/ 244 h 287"/>
                  <a:gd name="T26" fmla="*/ 206 w 206"/>
                  <a:gd name="T27" fmla="*/ 144 h 287"/>
                  <a:gd name="T28" fmla="*/ 181 w 206"/>
                  <a:gd name="T29" fmla="*/ 37 h 287"/>
                  <a:gd name="T30" fmla="*/ 103 w 206"/>
                  <a:gd name="T31" fmla="*/ 0 h 287"/>
                  <a:gd name="T32" fmla="*/ 25 w 206"/>
                  <a:gd name="T33" fmla="*/ 37 h 287"/>
                  <a:gd name="T34" fmla="*/ 0 w 206"/>
                  <a:gd name="T35" fmla="*/ 144 h 287"/>
                  <a:gd name="T36" fmla="*/ 30 w 206"/>
                  <a:gd name="T37" fmla="*/ 244 h 287"/>
                  <a:gd name="T38" fmla="*/ 103 w 206"/>
                  <a:gd name="T39" fmla="*/ 287 h 287"/>
                  <a:gd name="T40" fmla="*/ 103 w 206"/>
                  <a:gd name="T41" fmla="*/ 280 h 287"/>
                  <a:gd name="T42" fmla="*/ 103 w 206"/>
                  <a:gd name="T43" fmla="*/ 16 h 287"/>
                  <a:gd name="T44" fmla="*/ 103 w 206"/>
                  <a:gd name="T45" fmla="*/ 9 h 287"/>
                  <a:gd name="T46" fmla="*/ 72 w 206"/>
                  <a:gd name="T47" fmla="*/ 13 h 287"/>
                  <a:gd name="T48" fmla="*/ 28 w 206"/>
                  <a:gd name="T49" fmla="*/ 50 h 287"/>
                  <a:gd name="T50" fmla="*/ 9 w 206"/>
                  <a:gd name="T51" fmla="*/ 144 h 287"/>
                  <a:gd name="T52" fmla="*/ 36 w 206"/>
                  <a:gd name="T53" fmla="*/ 238 h 287"/>
                  <a:gd name="T54" fmla="*/ 103 w 206"/>
                  <a:gd name="T55" fmla="*/ 278 h 287"/>
                  <a:gd name="T56" fmla="*/ 170 w 206"/>
                  <a:gd name="T57" fmla="*/ 238 h 287"/>
                  <a:gd name="T58" fmla="*/ 197 w 206"/>
                  <a:gd name="T59" fmla="*/ 144 h 287"/>
                  <a:gd name="T60" fmla="*/ 166 w 206"/>
                  <a:gd name="T61" fmla="*/ 32 h 287"/>
                  <a:gd name="T62" fmla="*/ 134 w 206"/>
                  <a:gd name="T63" fmla="*/ 13 h 287"/>
                  <a:gd name="T64" fmla="*/ 103 w 206"/>
                  <a:gd name="T65" fmla="*/ 9 h 287"/>
                  <a:gd name="T66" fmla="*/ 103 w 206"/>
                  <a:gd name="T67" fmla="*/ 16 h 287"/>
                  <a:gd name="T68" fmla="*/ 103 w 206"/>
                  <a:gd name="T69" fmla="*/ 24 h 287"/>
                  <a:gd name="T70" fmla="*/ 130 w 206"/>
                  <a:gd name="T71" fmla="*/ 27 h 287"/>
                  <a:gd name="T72" fmla="*/ 166 w 206"/>
                  <a:gd name="T73" fmla="*/ 57 h 287"/>
                  <a:gd name="T74" fmla="*/ 182 w 206"/>
                  <a:gd name="T75" fmla="*/ 144 h 287"/>
                  <a:gd name="T76" fmla="*/ 158 w 206"/>
                  <a:gd name="T77" fmla="*/ 229 h 287"/>
                  <a:gd name="T78" fmla="*/ 103 w 206"/>
                  <a:gd name="T79" fmla="*/ 263 h 287"/>
                  <a:gd name="T80" fmla="*/ 48 w 206"/>
                  <a:gd name="T81" fmla="*/ 229 h 287"/>
                  <a:gd name="T82" fmla="*/ 24 w 206"/>
                  <a:gd name="T83" fmla="*/ 144 h 287"/>
                  <a:gd name="T84" fmla="*/ 51 w 206"/>
                  <a:gd name="T85" fmla="*/ 42 h 287"/>
                  <a:gd name="T86" fmla="*/ 76 w 206"/>
                  <a:gd name="T87" fmla="*/ 27 h 287"/>
                  <a:gd name="T88" fmla="*/ 103 w 206"/>
                  <a:gd name="T89" fmla="*/ 24 h 287"/>
                  <a:gd name="T90" fmla="*/ 103 w 206"/>
                  <a:gd name="T91" fmla="*/ 1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6" h="287">
                    <a:moveTo>
                      <a:pt x="103" y="280"/>
                    </a:moveTo>
                    <a:cubicBezTo>
                      <a:pt x="103" y="272"/>
                      <a:pt x="103" y="272"/>
                      <a:pt x="103" y="272"/>
                    </a:cubicBezTo>
                    <a:cubicBezTo>
                      <a:pt x="80" y="272"/>
                      <a:pt x="58" y="259"/>
                      <a:pt x="42" y="236"/>
                    </a:cubicBezTo>
                    <a:cubicBezTo>
                      <a:pt x="25" y="212"/>
                      <a:pt x="15" y="180"/>
                      <a:pt x="15" y="144"/>
                    </a:cubicBezTo>
                    <a:cubicBezTo>
                      <a:pt x="15" y="99"/>
                      <a:pt x="23" y="66"/>
                      <a:pt x="37" y="45"/>
                    </a:cubicBezTo>
                    <a:cubicBezTo>
                      <a:pt x="52" y="25"/>
                      <a:pt x="73" y="15"/>
                      <a:pt x="103" y="15"/>
                    </a:cubicBezTo>
                    <a:cubicBezTo>
                      <a:pt x="134" y="15"/>
                      <a:pt x="154" y="25"/>
                      <a:pt x="169" y="45"/>
                    </a:cubicBezTo>
                    <a:cubicBezTo>
                      <a:pt x="183" y="66"/>
                      <a:pt x="191" y="99"/>
                      <a:pt x="191" y="144"/>
                    </a:cubicBezTo>
                    <a:cubicBezTo>
                      <a:pt x="191" y="180"/>
                      <a:pt x="181" y="212"/>
                      <a:pt x="165" y="236"/>
                    </a:cubicBezTo>
                    <a:cubicBezTo>
                      <a:pt x="148" y="259"/>
                      <a:pt x="126" y="272"/>
                      <a:pt x="103" y="272"/>
                    </a:cubicBezTo>
                    <a:cubicBezTo>
                      <a:pt x="103" y="280"/>
                      <a:pt x="103" y="280"/>
                      <a:pt x="103" y="280"/>
                    </a:cubicBezTo>
                    <a:cubicBezTo>
                      <a:pt x="103" y="287"/>
                      <a:pt x="103" y="287"/>
                      <a:pt x="103" y="287"/>
                    </a:cubicBezTo>
                    <a:cubicBezTo>
                      <a:pt x="132" y="287"/>
                      <a:pt x="158" y="270"/>
                      <a:pt x="177" y="244"/>
                    </a:cubicBezTo>
                    <a:cubicBezTo>
                      <a:pt x="195" y="218"/>
                      <a:pt x="206" y="182"/>
                      <a:pt x="206" y="144"/>
                    </a:cubicBezTo>
                    <a:cubicBezTo>
                      <a:pt x="206" y="97"/>
                      <a:pt x="198" y="61"/>
                      <a:pt x="181" y="37"/>
                    </a:cubicBezTo>
                    <a:cubicBezTo>
                      <a:pt x="164" y="12"/>
                      <a:pt x="137" y="0"/>
                      <a:pt x="103" y="0"/>
                    </a:cubicBezTo>
                    <a:cubicBezTo>
                      <a:pt x="69" y="0"/>
                      <a:pt x="42" y="12"/>
                      <a:pt x="25" y="37"/>
                    </a:cubicBezTo>
                    <a:cubicBezTo>
                      <a:pt x="8" y="61"/>
                      <a:pt x="0" y="97"/>
                      <a:pt x="0" y="144"/>
                    </a:cubicBezTo>
                    <a:cubicBezTo>
                      <a:pt x="0" y="182"/>
                      <a:pt x="11" y="218"/>
                      <a:pt x="30" y="244"/>
                    </a:cubicBezTo>
                    <a:cubicBezTo>
                      <a:pt x="48" y="270"/>
                      <a:pt x="74" y="287"/>
                      <a:pt x="103" y="287"/>
                    </a:cubicBezTo>
                    <a:lnTo>
                      <a:pt x="103" y="280"/>
                    </a:lnTo>
                    <a:close/>
                    <a:moveTo>
                      <a:pt x="103" y="16"/>
                    </a:moveTo>
                    <a:cubicBezTo>
                      <a:pt x="103" y="9"/>
                      <a:pt x="103" y="9"/>
                      <a:pt x="103" y="9"/>
                    </a:cubicBezTo>
                    <a:cubicBezTo>
                      <a:pt x="93" y="9"/>
                      <a:pt x="83" y="10"/>
                      <a:pt x="72" y="13"/>
                    </a:cubicBezTo>
                    <a:cubicBezTo>
                      <a:pt x="56" y="18"/>
                      <a:pt x="39" y="29"/>
                      <a:pt x="28" y="50"/>
                    </a:cubicBezTo>
                    <a:cubicBezTo>
                      <a:pt x="16" y="70"/>
                      <a:pt x="9" y="100"/>
                      <a:pt x="9" y="144"/>
                    </a:cubicBezTo>
                    <a:cubicBezTo>
                      <a:pt x="9" y="180"/>
                      <a:pt x="19" y="213"/>
                      <a:pt x="36" y="238"/>
                    </a:cubicBezTo>
                    <a:cubicBezTo>
                      <a:pt x="52" y="262"/>
                      <a:pt x="76" y="278"/>
                      <a:pt x="103" y="278"/>
                    </a:cubicBezTo>
                    <a:cubicBezTo>
                      <a:pt x="130" y="278"/>
                      <a:pt x="154" y="262"/>
                      <a:pt x="170" y="238"/>
                    </a:cubicBezTo>
                    <a:cubicBezTo>
                      <a:pt x="187" y="213"/>
                      <a:pt x="197" y="180"/>
                      <a:pt x="197" y="144"/>
                    </a:cubicBezTo>
                    <a:cubicBezTo>
                      <a:pt x="197" y="86"/>
                      <a:pt x="184" y="52"/>
                      <a:pt x="166" y="32"/>
                    </a:cubicBezTo>
                    <a:cubicBezTo>
                      <a:pt x="156" y="22"/>
                      <a:pt x="145" y="17"/>
                      <a:pt x="134" y="13"/>
                    </a:cubicBezTo>
                    <a:cubicBezTo>
                      <a:pt x="124" y="10"/>
                      <a:pt x="113" y="9"/>
                      <a:pt x="103" y="9"/>
                    </a:cubicBezTo>
                    <a:cubicBezTo>
                      <a:pt x="103" y="16"/>
                      <a:pt x="103" y="16"/>
                      <a:pt x="103" y="16"/>
                    </a:cubicBezTo>
                    <a:cubicBezTo>
                      <a:pt x="103" y="24"/>
                      <a:pt x="103" y="24"/>
                      <a:pt x="103" y="24"/>
                    </a:cubicBezTo>
                    <a:cubicBezTo>
                      <a:pt x="112" y="24"/>
                      <a:pt x="121" y="25"/>
                      <a:pt x="130" y="27"/>
                    </a:cubicBezTo>
                    <a:cubicBezTo>
                      <a:pt x="143" y="31"/>
                      <a:pt x="156" y="39"/>
                      <a:pt x="166" y="57"/>
                    </a:cubicBezTo>
                    <a:cubicBezTo>
                      <a:pt x="175" y="74"/>
                      <a:pt x="182" y="102"/>
                      <a:pt x="182" y="144"/>
                    </a:cubicBezTo>
                    <a:cubicBezTo>
                      <a:pt x="182" y="177"/>
                      <a:pt x="173" y="208"/>
                      <a:pt x="158" y="229"/>
                    </a:cubicBezTo>
                    <a:cubicBezTo>
                      <a:pt x="143" y="251"/>
                      <a:pt x="124" y="263"/>
                      <a:pt x="103" y="263"/>
                    </a:cubicBezTo>
                    <a:cubicBezTo>
                      <a:pt x="82" y="263"/>
                      <a:pt x="63" y="251"/>
                      <a:pt x="48" y="229"/>
                    </a:cubicBezTo>
                    <a:cubicBezTo>
                      <a:pt x="33" y="208"/>
                      <a:pt x="24" y="177"/>
                      <a:pt x="24" y="144"/>
                    </a:cubicBezTo>
                    <a:cubicBezTo>
                      <a:pt x="24" y="88"/>
                      <a:pt x="36" y="58"/>
                      <a:pt x="51" y="42"/>
                    </a:cubicBezTo>
                    <a:cubicBezTo>
                      <a:pt x="59" y="35"/>
                      <a:pt x="67" y="30"/>
                      <a:pt x="76" y="27"/>
                    </a:cubicBezTo>
                    <a:cubicBezTo>
                      <a:pt x="85" y="25"/>
                      <a:pt x="94" y="24"/>
                      <a:pt x="103" y="24"/>
                    </a:cubicBezTo>
                    <a:lnTo>
                      <a:pt x="10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49" name="Freeform 284">
                <a:extLst>
                  <a:ext uri="{FF2B5EF4-FFF2-40B4-BE49-F238E27FC236}">
                    <a16:creationId xmlns:a16="http://schemas.microsoft.com/office/drawing/2014/main" id="{A7A7FB2C-5707-4642-B4C5-3C5B1DBCB719}"/>
                  </a:ext>
                </a:extLst>
              </p:cNvPr>
              <p:cNvSpPr>
                <a:spLocks noEditPoints="1"/>
              </p:cNvSpPr>
              <p:nvPr/>
            </p:nvSpPr>
            <p:spPr bwMode="auto">
              <a:xfrm>
                <a:off x="407" y="1831"/>
                <a:ext cx="114" cy="154"/>
              </a:xfrm>
              <a:custGeom>
                <a:avLst/>
                <a:gdLst>
                  <a:gd name="T0" fmla="*/ 117 w 220"/>
                  <a:gd name="T1" fmla="*/ 301 h 301"/>
                  <a:gd name="T2" fmla="*/ 103 w 220"/>
                  <a:gd name="T3" fmla="*/ 301 h 301"/>
                  <a:gd name="T4" fmla="*/ 31 w 220"/>
                  <a:gd name="T5" fmla="*/ 255 h 301"/>
                  <a:gd name="T6" fmla="*/ 0 w 220"/>
                  <a:gd name="T7" fmla="*/ 151 h 301"/>
                  <a:gd name="T8" fmla="*/ 27 w 220"/>
                  <a:gd name="T9" fmla="*/ 40 h 301"/>
                  <a:gd name="T10" fmla="*/ 110 w 220"/>
                  <a:gd name="T11" fmla="*/ 0 h 301"/>
                  <a:gd name="T12" fmla="*/ 111 w 220"/>
                  <a:gd name="T13" fmla="*/ 0 h 301"/>
                  <a:gd name="T14" fmla="*/ 194 w 220"/>
                  <a:gd name="T15" fmla="*/ 40 h 301"/>
                  <a:gd name="T16" fmla="*/ 220 w 220"/>
                  <a:gd name="T17" fmla="*/ 151 h 301"/>
                  <a:gd name="T18" fmla="*/ 189 w 220"/>
                  <a:gd name="T19" fmla="*/ 255 h 301"/>
                  <a:gd name="T20" fmla="*/ 117 w 220"/>
                  <a:gd name="T21" fmla="*/ 301 h 301"/>
                  <a:gd name="T22" fmla="*/ 110 w 220"/>
                  <a:gd name="T23" fmla="*/ 263 h 301"/>
                  <a:gd name="T24" fmla="*/ 110 w 220"/>
                  <a:gd name="T25" fmla="*/ 263 h 301"/>
                  <a:gd name="T26" fmla="*/ 159 w 220"/>
                  <a:gd name="T27" fmla="*/ 232 h 301"/>
                  <a:gd name="T28" fmla="*/ 182 w 220"/>
                  <a:gd name="T29" fmla="*/ 151 h 301"/>
                  <a:gd name="T30" fmla="*/ 167 w 220"/>
                  <a:gd name="T31" fmla="*/ 67 h 301"/>
                  <a:gd name="T32" fmla="*/ 135 w 220"/>
                  <a:gd name="T33" fmla="*/ 41 h 301"/>
                  <a:gd name="T34" fmla="*/ 85 w 220"/>
                  <a:gd name="T35" fmla="*/ 41 h 301"/>
                  <a:gd name="T36" fmla="*/ 63 w 220"/>
                  <a:gd name="T37" fmla="*/ 54 h 301"/>
                  <a:gd name="T38" fmla="*/ 38 w 220"/>
                  <a:gd name="T39" fmla="*/ 151 h 301"/>
                  <a:gd name="T40" fmla="*/ 61 w 220"/>
                  <a:gd name="T41" fmla="*/ 232 h 301"/>
                  <a:gd name="T42" fmla="*/ 110 w 220"/>
                  <a:gd name="T43" fmla="*/ 263 h 301"/>
                  <a:gd name="T44" fmla="*/ 110 w 220"/>
                  <a:gd name="T45" fmla="*/ 26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301">
                    <a:moveTo>
                      <a:pt x="117" y="301"/>
                    </a:moveTo>
                    <a:cubicBezTo>
                      <a:pt x="103" y="301"/>
                      <a:pt x="103" y="301"/>
                      <a:pt x="103" y="301"/>
                    </a:cubicBezTo>
                    <a:cubicBezTo>
                      <a:pt x="76" y="298"/>
                      <a:pt x="50" y="282"/>
                      <a:pt x="31" y="255"/>
                    </a:cubicBezTo>
                    <a:cubicBezTo>
                      <a:pt x="11" y="227"/>
                      <a:pt x="0" y="190"/>
                      <a:pt x="0" y="151"/>
                    </a:cubicBezTo>
                    <a:cubicBezTo>
                      <a:pt x="0" y="101"/>
                      <a:pt x="9" y="65"/>
                      <a:pt x="27" y="40"/>
                    </a:cubicBezTo>
                    <a:cubicBezTo>
                      <a:pt x="45" y="14"/>
                      <a:pt x="74" y="0"/>
                      <a:pt x="110" y="0"/>
                    </a:cubicBezTo>
                    <a:cubicBezTo>
                      <a:pt x="110" y="0"/>
                      <a:pt x="111" y="0"/>
                      <a:pt x="111" y="0"/>
                    </a:cubicBezTo>
                    <a:cubicBezTo>
                      <a:pt x="147" y="0"/>
                      <a:pt x="176" y="14"/>
                      <a:pt x="194" y="40"/>
                    </a:cubicBezTo>
                    <a:cubicBezTo>
                      <a:pt x="211" y="65"/>
                      <a:pt x="220" y="101"/>
                      <a:pt x="220" y="151"/>
                    </a:cubicBezTo>
                    <a:cubicBezTo>
                      <a:pt x="220" y="190"/>
                      <a:pt x="209" y="227"/>
                      <a:pt x="189" y="255"/>
                    </a:cubicBezTo>
                    <a:cubicBezTo>
                      <a:pt x="170" y="282"/>
                      <a:pt x="144" y="298"/>
                      <a:pt x="117" y="301"/>
                    </a:cubicBezTo>
                    <a:close/>
                    <a:moveTo>
                      <a:pt x="110" y="263"/>
                    </a:moveTo>
                    <a:cubicBezTo>
                      <a:pt x="110" y="263"/>
                      <a:pt x="110" y="263"/>
                      <a:pt x="110" y="263"/>
                    </a:cubicBezTo>
                    <a:cubicBezTo>
                      <a:pt x="128" y="263"/>
                      <a:pt x="146" y="252"/>
                      <a:pt x="159" y="232"/>
                    </a:cubicBezTo>
                    <a:cubicBezTo>
                      <a:pt x="174" y="211"/>
                      <a:pt x="182" y="181"/>
                      <a:pt x="182" y="151"/>
                    </a:cubicBezTo>
                    <a:cubicBezTo>
                      <a:pt x="182" y="114"/>
                      <a:pt x="177" y="86"/>
                      <a:pt x="167" y="67"/>
                    </a:cubicBezTo>
                    <a:cubicBezTo>
                      <a:pt x="159" y="53"/>
                      <a:pt x="149" y="45"/>
                      <a:pt x="135" y="41"/>
                    </a:cubicBezTo>
                    <a:cubicBezTo>
                      <a:pt x="121" y="37"/>
                      <a:pt x="99" y="37"/>
                      <a:pt x="85" y="41"/>
                    </a:cubicBezTo>
                    <a:cubicBezTo>
                      <a:pt x="76" y="44"/>
                      <a:pt x="69" y="48"/>
                      <a:pt x="63" y="54"/>
                    </a:cubicBezTo>
                    <a:cubicBezTo>
                      <a:pt x="46" y="71"/>
                      <a:pt x="38" y="104"/>
                      <a:pt x="38" y="151"/>
                    </a:cubicBezTo>
                    <a:cubicBezTo>
                      <a:pt x="38" y="181"/>
                      <a:pt x="46" y="211"/>
                      <a:pt x="61" y="232"/>
                    </a:cubicBezTo>
                    <a:cubicBezTo>
                      <a:pt x="74" y="252"/>
                      <a:pt x="92" y="263"/>
                      <a:pt x="110" y="263"/>
                    </a:cubicBezTo>
                    <a:cubicBezTo>
                      <a:pt x="110" y="263"/>
                      <a:pt x="110" y="263"/>
                      <a:pt x="11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0" name="Freeform 285">
                <a:extLst>
                  <a:ext uri="{FF2B5EF4-FFF2-40B4-BE49-F238E27FC236}">
                    <a16:creationId xmlns:a16="http://schemas.microsoft.com/office/drawing/2014/main" id="{F2064E17-55C3-47B6-BBA9-E355FD3B69A5}"/>
                  </a:ext>
                </a:extLst>
              </p:cNvPr>
              <p:cNvSpPr>
                <a:spLocks/>
              </p:cNvSpPr>
              <p:nvPr/>
            </p:nvSpPr>
            <p:spPr bwMode="auto">
              <a:xfrm>
                <a:off x="371" y="1969"/>
                <a:ext cx="75" cy="101"/>
              </a:xfrm>
              <a:custGeom>
                <a:avLst/>
                <a:gdLst>
                  <a:gd name="T0" fmla="*/ 9 w 145"/>
                  <a:gd name="T1" fmla="*/ 195 h 195"/>
                  <a:gd name="T2" fmla="*/ 0 w 145"/>
                  <a:gd name="T3" fmla="*/ 195 h 195"/>
                  <a:gd name="T4" fmla="*/ 134 w 145"/>
                  <a:gd name="T5" fmla="*/ 32 h 195"/>
                  <a:gd name="T6" fmla="*/ 136 w 145"/>
                  <a:gd name="T7" fmla="*/ 0 h 195"/>
                  <a:gd name="T8" fmla="*/ 145 w 145"/>
                  <a:gd name="T9" fmla="*/ 0 h 195"/>
                  <a:gd name="T10" fmla="*/ 143 w 145"/>
                  <a:gd name="T11" fmla="*/ 39 h 195"/>
                  <a:gd name="T12" fmla="*/ 139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5"/>
                      <a:pt x="56" y="47"/>
                      <a:pt x="134" y="32"/>
                    </a:cubicBezTo>
                    <a:cubicBezTo>
                      <a:pt x="136" y="0"/>
                      <a:pt x="136" y="0"/>
                      <a:pt x="136" y="0"/>
                    </a:cubicBezTo>
                    <a:cubicBezTo>
                      <a:pt x="145" y="0"/>
                      <a:pt x="145" y="0"/>
                      <a:pt x="145" y="0"/>
                    </a:cubicBezTo>
                    <a:cubicBezTo>
                      <a:pt x="143" y="39"/>
                      <a:pt x="143" y="39"/>
                      <a:pt x="143" y="39"/>
                    </a:cubicBezTo>
                    <a:cubicBezTo>
                      <a:pt x="139" y="40"/>
                      <a:pt x="139" y="40"/>
                      <a:pt x="139" y="40"/>
                    </a:cubicBezTo>
                    <a:cubicBezTo>
                      <a:pt x="64" y="53"/>
                      <a:pt x="9" y="118"/>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1" name="Freeform 286">
                <a:extLst>
                  <a:ext uri="{FF2B5EF4-FFF2-40B4-BE49-F238E27FC236}">
                    <a16:creationId xmlns:a16="http://schemas.microsoft.com/office/drawing/2014/main" id="{ABF3F21E-F635-464E-BCA8-709EAE08A2F3}"/>
                  </a:ext>
                </a:extLst>
              </p:cNvPr>
              <p:cNvSpPr>
                <a:spLocks/>
              </p:cNvSpPr>
              <p:nvPr/>
            </p:nvSpPr>
            <p:spPr bwMode="auto">
              <a:xfrm>
                <a:off x="367" y="1966"/>
                <a:ext cx="82" cy="107"/>
              </a:xfrm>
              <a:custGeom>
                <a:avLst/>
                <a:gdLst>
                  <a:gd name="T0" fmla="*/ 23 w 159"/>
                  <a:gd name="T1" fmla="*/ 209 h 209"/>
                  <a:gd name="T2" fmla="*/ 0 w 159"/>
                  <a:gd name="T3" fmla="*/ 209 h 209"/>
                  <a:gd name="T4" fmla="*/ 0 w 159"/>
                  <a:gd name="T5" fmla="*/ 202 h 209"/>
                  <a:gd name="T6" fmla="*/ 135 w 159"/>
                  <a:gd name="T7" fmla="*/ 33 h 209"/>
                  <a:gd name="T8" fmla="*/ 136 w 159"/>
                  <a:gd name="T9" fmla="*/ 0 h 209"/>
                  <a:gd name="T10" fmla="*/ 159 w 159"/>
                  <a:gd name="T11" fmla="*/ 1 h 209"/>
                  <a:gd name="T12" fmla="*/ 156 w 159"/>
                  <a:gd name="T13" fmla="*/ 52 h 209"/>
                  <a:gd name="T14" fmla="*/ 147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1"/>
                      <a:pt x="56" y="51"/>
                      <a:pt x="135" y="33"/>
                    </a:cubicBezTo>
                    <a:cubicBezTo>
                      <a:pt x="136" y="0"/>
                      <a:pt x="136" y="0"/>
                      <a:pt x="136" y="0"/>
                    </a:cubicBezTo>
                    <a:cubicBezTo>
                      <a:pt x="159" y="1"/>
                      <a:pt x="159" y="1"/>
                      <a:pt x="159" y="1"/>
                    </a:cubicBezTo>
                    <a:cubicBezTo>
                      <a:pt x="156" y="52"/>
                      <a:pt x="156" y="52"/>
                      <a:pt x="156" y="52"/>
                    </a:cubicBezTo>
                    <a:cubicBezTo>
                      <a:pt x="147" y="54"/>
                      <a:pt x="147" y="54"/>
                      <a:pt x="147" y="54"/>
                    </a:cubicBezTo>
                    <a:cubicBezTo>
                      <a:pt x="75" y="66"/>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2" name="Freeform 287">
                <a:extLst>
                  <a:ext uri="{FF2B5EF4-FFF2-40B4-BE49-F238E27FC236}">
                    <a16:creationId xmlns:a16="http://schemas.microsoft.com/office/drawing/2014/main" id="{F46AB11F-AD53-42F8-A1BA-5C49749CD7C8}"/>
                  </a:ext>
                </a:extLst>
              </p:cNvPr>
              <p:cNvSpPr>
                <a:spLocks/>
              </p:cNvSpPr>
              <p:nvPr/>
            </p:nvSpPr>
            <p:spPr bwMode="auto">
              <a:xfrm>
                <a:off x="367" y="1965"/>
                <a:ext cx="82" cy="108"/>
              </a:xfrm>
              <a:custGeom>
                <a:avLst/>
                <a:gdLst>
                  <a:gd name="T0" fmla="*/ 17 w 160"/>
                  <a:gd name="T1" fmla="*/ 203 h 210"/>
                  <a:gd name="T2" fmla="*/ 17 w 160"/>
                  <a:gd name="T3" fmla="*/ 196 h 210"/>
                  <a:gd name="T4" fmla="*/ 8 w 160"/>
                  <a:gd name="T5" fmla="*/ 196 h 210"/>
                  <a:gd name="T6" fmla="*/ 8 w 160"/>
                  <a:gd name="T7" fmla="*/ 203 h 210"/>
                  <a:gd name="T8" fmla="*/ 15 w 160"/>
                  <a:gd name="T9" fmla="*/ 203 h 210"/>
                  <a:gd name="T10" fmla="*/ 144 w 160"/>
                  <a:gd name="T11" fmla="*/ 47 h 210"/>
                  <a:gd name="T12" fmla="*/ 149 w 160"/>
                  <a:gd name="T13" fmla="*/ 46 h 210"/>
                  <a:gd name="T14" fmla="*/ 151 w 160"/>
                  <a:gd name="T15" fmla="*/ 16 h 210"/>
                  <a:gd name="T16" fmla="*/ 152 w 160"/>
                  <a:gd name="T17" fmla="*/ 16 h 210"/>
                  <a:gd name="T18" fmla="*/ 153 w 160"/>
                  <a:gd name="T19" fmla="*/ 8 h 210"/>
                  <a:gd name="T20" fmla="*/ 145 w 160"/>
                  <a:gd name="T21" fmla="*/ 8 h 210"/>
                  <a:gd name="T22" fmla="*/ 143 w 160"/>
                  <a:gd name="T23" fmla="*/ 47 h 210"/>
                  <a:gd name="T24" fmla="*/ 151 w 160"/>
                  <a:gd name="T25" fmla="*/ 47 h 210"/>
                  <a:gd name="T26" fmla="*/ 149 w 160"/>
                  <a:gd name="T27" fmla="*/ 40 h 210"/>
                  <a:gd name="T28" fmla="*/ 146 w 160"/>
                  <a:gd name="T29" fmla="*/ 41 h 210"/>
                  <a:gd name="T30" fmla="*/ 9 w 160"/>
                  <a:gd name="T31" fmla="*/ 203 h 210"/>
                  <a:gd name="T32" fmla="*/ 17 w 160"/>
                  <a:gd name="T33" fmla="*/ 203 h 210"/>
                  <a:gd name="T34" fmla="*/ 17 w 160"/>
                  <a:gd name="T35" fmla="*/ 196 h 210"/>
                  <a:gd name="T36" fmla="*/ 17 w 160"/>
                  <a:gd name="T37" fmla="*/ 203 h 210"/>
                  <a:gd name="T38" fmla="*/ 24 w 160"/>
                  <a:gd name="T39" fmla="*/ 203 h 210"/>
                  <a:gd name="T40" fmla="*/ 148 w 160"/>
                  <a:gd name="T41" fmla="*/ 55 h 210"/>
                  <a:gd name="T42" fmla="*/ 152 w 160"/>
                  <a:gd name="T43" fmla="*/ 54 h 210"/>
                  <a:gd name="T44" fmla="*/ 158 w 160"/>
                  <a:gd name="T45" fmla="*/ 53 h 210"/>
                  <a:gd name="T46" fmla="*/ 160 w 160"/>
                  <a:gd name="T47" fmla="*/ 1 h 210"/>
                  <a:gd name="T48" fmla="*/ 144 w 160"/>
                  <a:gd name="T49" fmla="*/ 1 h 210"/>
                  <a:gd name="T50" fmla="*/ 137 w 160"/>
                  <a:gd name="T51" fmla="*/ 0 h 210"/>
                  <a:gd name="T52" fmla="*/ 135 w 160"/>
                  <a:gd name="T53" fmla="*/ 39 h 210"/>
                  <a:gd name="T54" fmla="*/ 142 w 160"/>
                  <a:gd name="T55" fmla="*/ 40 h 210"/>
                  <a:gd name="T56" fmla="*/ 141 w 160"/>
                  <a:gd name="T57" fmla="*/ 33 h 210"/>
                  <a:gd name="T58" fmla="*/ 0 w 160"/>
                  <a:gd name="T59" fmla="*/ 203 h 210"/>
                  <a:gd name="T60" fmla="*/ 0 w 160"/>
                  <a:gd name="T61" fmla="*/ 210 h 210"/>
                  <a:gd name="T62" fmla="*/ 17 w 160"/>
                  <a:gd name="T63" fmla="*/ 210 h 210"/>
                  <a:gd name="T64" fmla="*/ 24 w 160"/>
                  <a:gd name="T65" fmla="*/ 210 h 210"/>
                  <a:gd name="T66" fmla="*/ 24 w 160"/>
                  <a:gd name="T67" fmla="*/ 203 h 210"/>
                  <a:gd name="T68" fmla="*/ 17 w 160"/>
                  <a:gd name="T69" fmla="*/ 2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7" y="203"/>
                    </a:moveTo>
                    <a:cubicBezTo>
                      <a:pt x="17" y="196"/>
                      <a:pt x="17" y="196"/>
                      <a:pt x="17" y="196"/>
                    </a:cubicBezTo>
                    <a:cubicBezTo>
                      <a:pt x="8" y="196"/>
                      <a:pt x="8" y="196"/>
                      <a:pt x="8" y="196"/>
                    </a:cubicBezTo>
                    <a:cubicBezTo>
                      <a:pt x="8" y="203"/>
                      <a:pt x="8" y="203"/>
                      <a:pt x="8" y="203"/>
                    </a:cubicBezTo>
                    <a:cubicBezTo>
                      <a:pt x="15" y="203"/>
                      <a:pt x="15" y="203"/>
                      <a:pt x="15" y="203"/>
                    </a:cubicBezTo>
                    <a:cubicBezTo>
                      <a:pt x="15" y="127"/>
                      <a:pt x="69" y="62"/>
                      <a:pt x="144" y="47"/>
                    </a:cubicBezTo>
                    <a:cubicBezTo>
                      <a:pt x="149" y="46"/>
                      <a:pt x="149" y="46"/>
                      <a:pt x="149" y="46"/>
                    </a:cubicBezTo>
                    <a:cubicBezTo>
                      <a:pt x="151" y="16"/>
                      <a:pt x="151" y="16"/>
                      <a:pt x="151" y="16"/>
                    </a:cubicBezTo>
                    <a:cubicBezTo>
                      <a:pt x="152" y="16"/>
                      <a:pt x="152" y="16"/>
                      <a:pt x="152" y="16"/>
                    </a:cubicBezTo>
                    <a:cubicBezTo>
                      <a:pt x="153" y="8"/>
                      <a:pt x="153" y="8"/>
                      <a:pt x="153" y="8"/>
                    </a:cubicBezTo>
                    <a:cubicBezTo>
                      <a:pt x="145" y="8"/>
                      <a:pt x="145" y="8"/>
                      <a:pt x="145" y="8"/>
                    </a:cubicBezTo>
                    <a:cubicBezTo>
                      <a:pt x="143" y="47"/>
                      <a:pt x="143" y="47"/>
                      <a:pt x="143" y="47"/>
                    </a:cubicBezTo>
                    <a:cubicBezTo>
                      <a:pt x="151" y="47"/>
                      <a:pt x="151" y="47"/>
                      <a:pt x="151" y="47"/>
                    </a:cubicBezTo>
                    <a:cubicBezTo>
                      <a:pt x="149" y="40"/>
                      <a:pt x="149" y="40"/>
                      <a:pt x="149" y="40"/>
                    </a:cubicBezTo>
                    <a:cubicBezTo>
                      <a:pt x="146" y="41"/>
                      <a:pt x="146" y="41"/>
                      <a:pt x="146" y="41"/>
                    </a:cubicBezTo>
                    <a:cubicBezTo>
                      <a:pt x="67" y="54"/>
                      <a:pt x="9" y="123"/>
                      <a:pt x="9" y="203"/>
                    </a:cubicBezTo>
                    <a:cubicBezTo>
                      <a:pt x="17" y="203"/>
                      <a:pt x="17" y="203"/>
                      <a:pt x="17" y="203"/>
                    </a:cubicBezTo>
                    <a:cubicBezTo>
                      <a:pt x="17" y="196"/>
                      <a:pt x="17" y="196"/>
                      <a:pt x="17" y="196"/>
                    </a:cubicBezTo>
                    <a:cubicBezTo>
                      <a:pt x="17" y="203"/>
                      <a:pt x="17" y="203"/>
                      <a:pt x="17" y="203"/>
                    </a:cubicBezTo>
                    <a:cubicBezTo>
                      <a:pt x="24" y="203"/>
                      <a:pt x="24" y="203"/>
                      <a:pt x="24" y="203"/>
                    </a:cubicBezTo>
                    <a:cubicBezTo>
                      <a:pt x="24" y="130"/>
                      <a:pt x="76" y="68"/>
                      <a:pt x="148" y="55"/>
                    </a:cubicBezTo>
                    <a:cubicBezTo>
                      <a:pt x="152" y="54"/>
                      <a:pt x="152" y="54"/>
                      <a:pt x="152" y="54"/>
                    </a:cubicBezTo>
                    <a:cubicBezTo>
                      <a:pt x="158" y="53"/>
                      <a:pt x="158" y="53"/>
                      <a:pt x="158" y="53"/>
                    </a:cubicBezTo>
                    <a:cubicBezTo>
                      <a:pt x="160" y="1"/>
                      <a:pt x="160" y="1"/>
                      <a:pt x="160" y="1"/>
                    </a:cubicBezTo>
                    <a:cubicBezTo>
                      <a:pt x="144" y="1"/>
                      <a:pt x="144" y="1"/>
                      <a:pt x="144" y="1"/>
                    </a:cubicBezTo>
                    <a:cubicBezTo>
                      <a:pt x="137" y="0"/>
                      <a:pt x="137" y="0"/>
                      <a:pt x="137" y="0"/>
                    </a:cubicBezTo>
                    <a:cubicBezTo>
                      <a:pt x="135" y="39"/>
                      <a:pt x="135" y="39"/>
                      <a:pt x="135" y="39"/>
                    </a:cubicBezTo>
                    <a:cubicBezTo>
                      <a:pt x="142" y="40"/>
                      <a:pt x="142" y="40"/>
                      <a:pt x="142" y="40"/>
                    </a:cubicBezTo>
                    <a:cubicBezTo>
                      <a:pt x="141" y="33"/>
                      <a:pt x="141" y="33"/>
                      <a:pt x="141" y="33"/>
                    </a:cubicBezTo>
                    <a:cubicBezTo>
                      <a:pt x="59" y="49"/>
                      <a:pt x="0" y="120"/>
                      <a:pt x="0" y="203"/>
                    </a:cubicBezTo>
                    <a:cubicBezTo>
                      <a:pt x="0" y="210"/>
                      <a:pt x="0" y="210"/>
                      <a:pt x="0" y="210"/>
                    </a:cubicBezTo>
                    <a:cubicBezTo>
                      <a:pt x="17" y="210"/>
                      <a:pt x="17" y="210"/>
                      <a:pt x="17" y="210"/>
                    </a:cubicBezTo>
                    <a:cubicBezTo>
                      <a:pt x="24" y="210"/>
                      <a:pt x="24" y="210"/>
                      <a:pt x="24" y="210"/>
                    </a:cubicBezTo>
                    <a:cubicBezTo>
                      <a:pt x="24" y="203"/>
                      <a:pt x="24" y="203"/>
                      <a:pt x="24" y="203"/>
                    </a:cubicBezTo>
                    <a:lnTo>
                      <a:pt x="17"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3" name="Freeform 288">
                <a:extLst>
                  <a:ext uri="{FF2B5EF4-FFF2-40B4-BE49-F238E27FC236}">
                    <a16:creationId xmlns:a16="http://schemas.microsoft.com/office/drawing/2014/main" id="{483D333A-AF7D-4759-A0B4-4FA897CDD46C}"/>
                  </a:ext>
                </a:extLst>
              </p:cNvPr>
              <p:cNvSpPr>
                <a:spLocks/>
              </p:cNvSpPr>
              <p:nvPr/>
            </p:nvSpPr>
            <p:spPr bwMode="auto">
              <a:xfrm>
                <a:off x="364" y="1962"/>
                <a:ext cx="90" cy="115"/>
              </a:xfrm>
              <a:custGeom>
                <a:avLst/>
                <a:gdLst>
                  <a:gd name="T0" fmla="*/ 37 w 174"/>
                  <a:gd name="T1" fmla="*/ 224 h 224"/>
                  <a:gd name="T2" fmla="*/ 0 w 174"/>
                  <a:gd name="T3" fmla="*/ 224 h 224"/>
                  <a:gd name="T4" fmla="*/ 0 w 174"/>
                  <a:gd name="T5" fmla="*/ 210 h 224"/>
                  <a:gd name="T6" fmla="*/ 134 w 174"/>
                  <a:gd name="T7" fmla="*/ 35 h 224"/>
                  <a:gd name="T8" fmla="*/ 136 w 174"/>
                  <a:gd name="T9" fmla="*/ 0 h 224"/>
                  <a:gd name="T10" fmla="*/ 174 w 174"/>
                  <a:gd name="T11" fmla="*/ 7 h 224"/>
                  <a:gd name="T12" fmla="*/ 170 w 174"/>
                  <a:gd name="T13" fmla="*/ 66 h 224"/>
                  <a:gd name="T14" fmla="*/ 156 w 174"/>
                  <a:gd name="T15" fmla="*/ 69 h 224"/>
                  <a:gd name="T16" fmla="*/ 37 w 174"/>
                  <a:gd name="T17" fmla="*/ 210 h 224"/>
                  <a:gd name="T18" fmla="*/ 37 w 174"/>
                  <a:gd name="T1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4">
                    <a:moveTo>
                      <a:pt x="37" y="224"/>
                    </a:moveTo>
                    <a:cubicBezTo>
                      <a:pt x="0" y="224"/>
                      <a:pt x="0" y="224"/>
                      <a:pt x="0" y="224"/>
                    </a:cubicBezTo>
                    <a:cubicBezTo>
                      <a:pt x="0" y="210"/>
                      <a:pt x="0" y="210"/>
                      <a:pt x="0" y="210"/>
                    </a:cubicBezTo>
                    <a:cubicBezTo>
                      <a:pt x="0" y="128"/>
                      <a:pt x="56" y="56"/>
                      <a:pt x="134" y="35"/>
                    </a:cubicBezTo>
                    <a:cubicBezTo>
                      <a:pt x="136" y="0"/>
                      <a:pt x="136" y="0"/>
                      <a:pt x="136" y="0"/>
                    </a:cubicBezTo>
                    <a:cubicBezTo>
                      <a:pt x="174" y="7"/>
                      <a:pt x="174" y="7"/>
                      <a:pt x="174" y="7"/>
                    </a:cubicBezTo>
                    <a:cubicBezTo>
                      <a:pt x="170" y="66"/>
                      <a:pt x="170" y="66"/>
                      <a:pt x="170" y="66"/>
                    </a:cubicBezTo>
                    <a:cubicBezTo>
                      <a:pt x="156" y="69"/>
                      <a:pt x="156" y="69"/>
                      <a:pt x="156" y="69"/>
                    </a:cubicBezTo>
                    <a:cubicBezTo>
                      <a:pt x="87" y="81"/>
                      <a:pt x="37" y="140"/>
                      <a:pt x="37" y="210"/>
                    </a:cubicBezTo>
                    <a:lnTo>
                      <a:pt x="37"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4" name="Freeform 289">
                <a:extLst>
                  <a:ext uri="{FF2B5EF4-FFF2-40B4-BE49-F238E27FC236}">
                    <a16:creationId xmlns:a16="http://schemas.microsoft.com/office/drawing/2014/main" id="{E17369D4-D6E1-48E9-88D2-346FCF6BFCB2}"/>
                  </a:ext>
                </a:extLst>
              </p:cNvPr>
              <p:cNvSpPr>
                <a:spLocks/>
              </p:cNvSpPr>
              <p:nvPr/>
            </p:nvSpPr>
            <p:spPr bwMode="auto">
              <a:xfrm>
                <a:off x="481" y="1969"/>
                <a:ext cx="76" cy="101"/>
              </a:xfrm>
              <a:custGeom>
                <a:avLst/>
                <a:gdLst>
                  <a:gd name="T0" fmla="*/ 146 w 146"/>
                  <a:gd name="T1" fmla="*/ 195 h 195"/>
                  <a:gd name="T2" fmla="*/ 137 w 146"/>
                  <a:gd name="T3" fmla="*/ 195 h 195"/>
                  <a:gd name="T4" fmla="*/ 6 w 146"/>
                  <a:gd name="T5" fmla="*/ 40 h 195"/>
                  <a:gd name="T6" fmla="*/ 3 w 146"/>
                  <a:gd name="T7" fmla="*/ 39 h 195"/>
                  <a:gd name="T8" fmla="*/ 0 w 146"/>
                  <a:gd name="T9" fmla="*/ 0 h 195"/>
                  <a:gd name="T10" fmla="*/ 9 w 146"/>
                  <a:gd name="T11" fmla="*/ 0 h 195"/>
                  <a:gd name="T12" fmla="*/ 11 w 146"/>
                  <a:gd name="T13" fmla="*/ 32 h 195"/>
                  <a:gd name="T14" fmla="*/ 146 w 146"/>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95">
                    <a:moveTo>
                      <a:pt x="146" y="195"/>
                    </a:moveTo>
                    <a:cubicBezTo>
                      <a:pt x="137" y="195"/>
                      <a:pt x="137" y="195"/>
                      <a:pt x="137" y="195"/>
                    </a:cubicBezTo>
                    <a:cubicBezTo>
                      <a:pt x="137" y="118"/>
                      <a:pt x="82" y="53"/>
                      <a:pt x="6" y="40"/>
                    </a:cubicBezTo>
                    <a:cubicBezTo>
                      <a:pt x="3" y="39"/>
                      <a:pt x="3" y="39"/>
                      <a:pt x="3" y="39"/>
                    </a:cubicBezTo>
                    <a:cubicBezTo>
                      <a:pt x="0" y="0"/>
                      <a:pt x="0" y="0"/>
                      <a:pt x="0" y="0"/>
                    </a:cubicBezTo>
                    <a:cubicBezTo>
                      <a:pt x="9" y="0"/>
                      <a:pt x="9" y="0"/>
                      <a:pt x="9" y="0"/>
                    </a:cubicBezTo>
                    <a:cubicBezTo>
                      <a:pt x="11" y="32"/>
                      <a:pt x="11" y="32"/>
                      <a:pt x="11" y="32"/>
                    </a:cubicBezTo>
                    <a:cubicBezTo>
                      <a:pt x="89" y="47"/>
                      <a:pt x="146" y="115"/>
                      <a:pt x="146"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5" name="Freeform 290">
                <a:extLst>
                  <a:ext uri="{FF2B5EF4-FFF2-40B4-BE49-F238E27FC236}">
                    <a16:creationId xmlns:a16="http://schemas.microsoft.com/office/drawing/2014/main" id="{3BC0A62A-26E9-4DB0-AA6C-BE2070AE636E}"/>
                  </a:ext>
                </a:extLst>
              </p:cNvPr>
              <p:cNvSpPr>
                <a:spLocks/>
              </p:cNvSpPr>
              <p:nvPr/>
            </p:nvSpPr>
            <p:spPr bwMode="auto">
              <a:xfrm>
                <a:off x="477" y="1966"/>
                <a:ext cx="83" cy="107"/>
              </a:xfrm>
              <a:custGeom>
                <a:avLst/>
                <a:gdLst>
                  <a:gd name="T0" fmla="*/ 160 w 160"/>
                  <a:gd name="T1" fmla="*/ 209 h 209"/>
                  <a:gd name="T2" fmla="*/ 137 w 160"/>
                  <a:gd name="T3" fmla="*/ 209 h 209"/>
                  <a:gd name="T4" fmla="*/ 137 w 160"/>
                  <a:gd name="T5" fmla="*/ 202 h 209"/>
                  <a:gd name="T6" fmla="*/ 12 w 160"/>
                  <a:gd name="T7" fmla="*/ 54 h 209"/>
                  <a:gd name="T8" fmla="*/ 3 w 160"/>
                  <a:gd name="T9" fmla="*/ 52 h 209"/>
                  <a:gd name="T10" fmla="*/ 0 w 160"/>
                  <a:gd name="T11" fmla="*/ 1 h 209"/>
                  <a:gd name="T12" fmla="*/ 22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7" y="209"/>
                      <a:pt x="137" y="209"/>
                      <a:pt x="137" y="209"/>
                    </a:cubicBezTo>
                    <a:cubicBezTo>
                      <a:pt x="137" y="202"/>
                      <a:pt x="137" y="202"/>
                      <a:pt x="137" y="202"/>
                    </a:cubicBezTo>
                    <a:cubicBezTo>
                      <a:pt x="137" y="129"/>
                      <a:pt x="84" y="66"/>
                      <a:pt x="12" y="54"/>
                    </a:cubicBezTo>
                    <a:cubicBezTo>
                      <a:pt x="3" y="52"/>
                      <a:pt x="3" y="52"/>
                      <a:pt x="3" y="52"/>
                    </a:cubicBezTo>
                    <a:cubicBezTo>
                      <a:pt x="0" y="1"/>
                      <a:pt x="0" y="1"/>
                      <a:pt x="0" y="1"/>
                    </a:cubicBezTo>
                    <a:cubicBezTo>
                      <a:pt x="22" y="0"/>
                      <a:pt x="22" y="0"/>
                      <a:pt x="22" y="0"/>
                    </a:cubicBezTo>
                    <a:cubicBezTo>
                      <a:pt x="25" y="33"/>
                      <a:pt x="25" y="33"/>
                      <a:pt x="25" y="33"/>
                    </a:cubicBezTo>
                    <a:cubicBezTo>
                      <a:pt x="103" y="51"/>
                      <a:pt x="160" y="121"/>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6" name="Freeform 291">
                <a:extLst>
                  <a:ext uri="{FF2B5EF4-FFF2-40B4-BE49-F238E27FC236}">
                    <a16:creationId xmlns:a16="http://schemas.microsoft.com/office/drawing/2014/main" id="{DCD2C158-C1F9-41D1-BC8F-C16AD818F619}"/>
                  </a:ext>
                </a:extLst>
              </p:cNvPr>
              <p:cNvSpPr>
                <a:spLocks/>
              </p:cNvSpPr>
              <p:nvPr/>
            </p:nvSpPr>
            <p:spPr bwMode="auto">
              <a:xfrm>
                <a:off x="477" y="1965"/>
                <a:ext cx="83" cy="108"/>
              </a:xfrm>
              <a:custGeom>
                <a:avLst/>
                <a:gdLst>
                  <a:gd name="T0" fmla="*/ 154 w 161"/>
                  <a:gd name="T1" fmla="*/ 203 h 210"/>
                  <a:gd name="T2" fmla="*/ 154 w 161"/>
                  <a:gd name="T3" fmla="*/ 196 h 210"/>
                  <a:gd name="T4" fmla="*/ 145 w 161"/>
                  <a:gd name="T5" fmla="*/ 196 h 210"/>
                  <a:gd name="T6" fmla="*/ 145 w 161"/>
                  <a:gd name="T7" fmla="*/ 203 h 210"/>
                  <a:gd name="T8" fmla="*/ 152 w 161"/>
                  <a:gd name="T9" fmla="*/ 203 h 210"/>
                  <a:gd name="T10" fmla="*/ 15 w 161"/>
                  <a:gd name="T11" fmla="*/ 41 h 210"/>
                  <a:gd name="T12" fmla="*/ 12 w 161"/>
                  <a:gd name="T13" fmla="*/ 40 h 210"/>
                  <a:gd name="T14" fmla="*/ 11 w 161"/>
                  <a:gd name="T15" fmla="*/ 47 h 210"/>
                  <a:gd name="T16" fmla="*/ 18 w 161"/>
                  <a:gd name="T17" fmla="*/ 47 h 210"/>
                  <a:gd name="T18" fmla="*/ 16 w 161"/>
                  <a:gd name="T19" fmla="*/ 15 h 210"/>
                  <a:gd name="T20" fmla="*/ 17 w 161"/>
                  <a:gd name="T21" fmla="*/ 15 h 210"/>
                  <a:gd name="T22" fmla="*/ 17 w 161"/>
                  <a:gd name="T23" fmla="*/ 8 h 210"/>
                  <a:gd name="T24" fmla="*/ 10 w 161"/>
                  <a:gd name="T25" fmla="*/ 8 h 210"/>
                  <a:gd name="T26" fmla="*/ 12 w 161"/>
                  <a:gd name="T27" fmla="*/ 46 h 210"/>
                  <a:gd name="T28" fmla="*/ 18 w 161"/>
                  <a:gd name="T29" fmla="*/ 47 h 210"/>
                  <a:gd name="T30" fmla="*/ 147 w 161"/>
                  <a:gd name="T31" fmla="*/ 203 h 210"/>
                  <a:gd name="T32" fmla="*/ 154 w 161"/>
                  <a:gd name="T33" fmla="*/ 203 h 210"/>
                  <a:gd name="T34" fmla="*/ 154 w 161"/>
                  <a:gd name="T35" fmla="*/ 196 h 210"/>
                  <a:gd name="T36" fmla="*/ 154 w 161"/>
                  <a:gd name="T37" fmla="*/ 203 h 210"/>
                  <a:gd name="T38" fmla="*/ 161 w 161"/>
                  <a:gd name="T39" fmla="*/ 203 h 210"/>
                  <a:gd name="T40" fmla="*/ 20 w 161"/>
                  <a:gd name="T41" fmla="*/ 33 h 210"/>
                  <a:gd name="T42" fmla="*/ 19 w 161"/>
                  <a:gd name="T43" fmla="*/ 40 h 210"/>
                  <a:gd name="T44" fmla="*/ 26 w 161"/>
                  <a:gd name="T45" fmla="*/ 39 h 210"/>
                  <a:gd name="T46" fmla="*/ 24 w 161"/>
                  <a:gd name="T47" fmla="*/ 0 h 210"/>
                  <a:gd name="T48" fmla="*/ 8 w 161"/>
                  <a:gd name="T49" fmla="*/ 1 h 210"/>
                  <a:gd name="T50" fmla="*/ 0 w 161"/>
                  <a:gd name="T51" fmla="*/ 2 h 210"/>
                  <a:gd name="T52" fmla="*/ 4 w 161"/>
                  <a:gd name="T53" fmla="*/ 53 h 210"/>
                  <a:gd name="T54" fmla="*/ 13 w 161"/>
                  <a:gd name="T55" fmla="*/ 55 h 210"/>
                  <a:gd name="T56" fmla="*/ 138 w 161"/>
                  <a:gd name="T57" fmla="*/ 203 h 210"/>
                  <a:gd name="T58" fmla="*/ 138 w 161"/>
                  <a:gd name="T59" fmla="*/ 210 h 210"/>
                  <a:gd name="T60" fmla="*/ 154 w 161"/>
                  <a:gd name="T61" fmla="*/ 210 h 210"/>
                  <a:gd name="T62" fmla="*/ 161 w 161"/>
                  <a:gd name="T63" fmla="*/ 210 h 210"/>
                  <a:gd name="T64" fmla="*/ 161 w 161"/>
                  <a:gd name="T65" fmla="*/ 203 h 210"/>
                  <a:gd name="T66" fmla="*/ 154 w 161"/>
                  <a:gd name="T67" fmla="*/ 2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0">
                    <a:moveTo>
                      <a:pt x="154" y="203"/>
                    </a:moveTo>
                    <a:cubicBezTo>
                      <a:pt x="154" y="196"/>
                      <a:pt x="154" y="196"/>
                      <a:pt x="154" y="196"/>
                    </a:cubicBezTo>
                    <a:cubicBezTo>
                      <a:pt x="145" y="196"/>
                      <a:pt x="145" y="196"/>
                      <a:pt x="145" y="196"/>
                    </a:cubicBezTo>
                    <a:cubicBezTo>
                      <a:pt x="145" y="203"/>
                      <a:pt x="145" y="203"/>
                      <a:pt x="145" y="203"/>
                    </a:cubicBezTo>
                    <a:cubicBezTo>
                      <a:pt x="152" y="203"/>
                      <a:pt x="152" y="203"/>
                      <a:pt x="152" y="203"/>
                    </a:cubicBezTo>
                    <a:cubicBezTo>
                      <a:pt x="152" y="123"/>
                      <a:pt x="95" y="54"/>
                      <a:pt x="15" y="41"/>
                    </a:cubicBezTo>
                    <a:cubicBezTo>
                      <a:pt x="12" y="40"/>
                      <a:pt x="12" y="40"/>
                      <a:pt x="12" y="40"/>
                    </a:cubicBezTo>
                    <a:cubicBezTo>
                      <a:pt x="11" y="47"/>
                      <a:pt x="11" y="47"/>
                      <a:pt x="11" y="47"/>
                    </a:cubicBezTo>
                    <a:cubicBezTo>
                      <a:pt x="18" y="47"/>
                      <a:pt x="18" y="47"/>
                      <a:pt x="18" y="47"/>
                    </a:cubicBezTo>
                    <a:cubicBezTo>
                      <a:pt x="16" y="15"/>
                      <a:pt x="16" y="15"/>
                      <a:pt x="16" y="15"/>
                    </a:cubicBezTo>
                    <a:cubicBezTo>
                      <a:pt x="17" y="15"/>
                      <a:pt x="17" y="15"/>
                      <a:pt x="17" y="15"/>
                    </a:cubicBezTo>
                    <a:cubicBezTo>
                      <a:pt x="17" y="8"/>
                      <a:pt x="17" y="8"/>
                      <a:pt x="17" y="8"/>
                    </a:cubicBezTo>
                    <a:cubicBezTo>
                      <a:pt x="10" y="8"/>
                      <a:pt x="10" y="8"/>
                      <a:pt x="10" y="8"/>
                    </a:cubicBezTo>
                    <a:cubicBezTo>
                      <a:pt x="12" y="46"/>
                      <a:pt x="12" y="46"/>
                      <a:pt x="12" y="46"/>
                    </a:cubicBezTo>
                    <a:cubicBezTo>
                      <a:pt x="18" y="47"/>
                      <a:pt x="18" y="47"/>
                      <a:pt x="18" y="47"/>
                    </a:cubicBezTo>
                    <a:cubicBezTo>
                      <a:pt x="93" y="62"/>
                      <a:pt x="147" y="127"/>
                      <a:pt x="147" y="203"/>
                    </a:cubicBezTo>
                    <a:cubicBezTo>
                      <a:pt x="154" y="203"/>
                      <a:pt x="154" y="203"/>
                      <a:pt x="154" y="203"/>
                    </a:cubicBezTo>
                    <a:cubicBezTo>
                      <a:pt x="154" y="196"/>
                      <a:pt x="154" y="196"/>
                      <a:pt x="154" y="196"/>
                    </a:cubicBezTo>
                    <a:cubicBezTo>
                      <a:pt x="154" y="203"/>
                      <a:pt x="154" y="203"/>
                      <a:pt x="154" y="203"/>
                    </a:cubicBezTo>
                    <a:cubicBezTo>
                      <a:pt x="161" y="203"/>
                      <a:pt x="161" y="203"/>
                      <a:pt x="161" y="203"/>
                    </a:cubicBezTo>
                    <a:cubicBezTo>
                      <a:pt x="161" y="120"/>
                      <a:pt x="102" y="49"/>
                      <a:pt x="20" y="33"/>
                    </a:cubicBezTo>
                    <a:cubicBezTo>
                      <a:pt x="19" y="40"/>
                      <a:pt x="19" y="40"/>
                      <a:pt x="19" y="40"/>
                    </a:cubicBezTo>
                    <a:cubicBezTo>
                      <a:pt x="26" y="39"/>
                      <a:pt x="26" y="39"/>
                      <a:pt x="26" y="39"/>
                    </a:cubicBezTo>
                    <a:cubicBezTo>
                      <a:pt x="24" y="0"/>
                      <a:pt x="24" y="0"/>
                      <a:pt x="24" y="0"/>
                    </a:cubicBezTo>
                    <a:cubicBezTo>
                      <a:pt x="8" y="1"/>
                      <a:pt x="8" y="1"/>
                      <a:pt x="8" y="1"/>
                    </a:cubicBezTo>
                    <a:cubicBezTo>
                      <a:pt x="0" y="2"/>
                      <a:pt x="0" y="2"/>
                      <a:pt x="0" y="2"/>
                    </a:cubicBezTo>
                    <a:cubicBezTo>
                      <a:pt x="4" y="53"/>
                      <a:pt x="4" y="53"/>
                      <a:pt x="4" y="53"/>
                    </a:cubicBezTo>
                    <a:cubicBezTo>
                      <a:pt x="13" y="55"/>
                      <a:pt x="13" y="55"/>
                      <a:pt x="13" y="55"/>
                    </a:cubicBezTo>
                    <a:cubicBezTo>
                      <a:pt x="85" y="68"/>
                      <a:pt x="138" y="130"/>
                      <a:pt x="138" y="203"/>
                    </a:cubicBezTo>
                    <a:cubicBezTo>
                      <a:pt x="138" y="210"/>
                      <a:pt x="138" y="210"/>
                      <a:pt x="138" y="210"/>
                    </a:cubicBezTo>
                    <a:cubicBezTo>
                      <a:pt x="154" y="210"/>
                      <a:pt x="154" y="210"/>
                      <a:pt x="154" y="210"/>
                    </a:cubicBezTo>
                    <a:cubicBezTo>
                      <a:pt x="161" y="210"/>
                      <a:pt x="161" y="210"/>
                      <a:pt x="161" y="210"/>
                    </a:cubicBezTo>
                    <a:cubicBezTo>
                      <a:pt x="161" y="203"/>
                      <a:pt x="161" y="203"/>
                      <a:pt x="161" y="203"/>
                    </a:cubicBezTo>
                    <a:lnTo>
                      <a:pt x="15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7" name="Freeform 292">
                <a:extLst>
                  <a:ext uri="{FF2B5EF4-FFF2-40B4-BE49-F238E27FC236}">
                    <a16:creationId xmlns:a16="http://schemas.microsoft.com/office/drawing/2014/main" id="{16A52D1E-2D7C-442A-B144-05ABF3F3939C}"/>
                  </a:ext>
                </a:extLst>
              </p:cNvPr>
              <p:cNvSpPr>
                <a:spLocks/>
              </p:cNvSpPr>
              <p:nvPr/>
            </p:nvSpPr>
            <p:spPr bwMode="auto">
              <a:xfrm>
                <a:off x="473" y="1962"/>
                <a:ext cx="91" cy="115"/>
              </a:xfrm>
              <a:custGeom>
                <a:avLst/>
                <a:gdLst>
                  <a:gd name="T0" fmla="*/ 175 w 175"/>
                  <a:gd name="T1" fmla="*/ 224 h 224"/>
                  <a:gd name="T2" fmla="*/ 138 w 175"/>
                  <a:gd name="T3" fmla="*/ 224 h 224"/>
                  <a:gd name="T4" fmla="*/ 138 w 175"/>
                  <a:gd name="T5" fmla="*/ 210 h 224"/>
                  <a:gd name="T6" fmla="*/ 19 w 175"/>
                  <a:gd name="T7" fmla="*/ 69 h 224"/>
                  <a:gd name="T8" fmla="*/ 4 w 175"/>
                  <a:gd name="T9" fmla="*/ 66 h 224"/>
                  <a:gd name="T10" fmla="*/ 0 w 175"/>
                  <a:gd name="T11" fmla="*/ 9 h 224"/>
                  <a:gd name="T12" fmla="*/ 37 w 175"/>
                  <a:gd name="T13" fmla="*/ 0 h 224"/>
                  <a:gd name="T14" fmla="*/ 40 w 175"/>
                  <a:gd name="T15" fmla="*/ 35 h 224"/>
                  <a:gd name="T16" fmla="*/ 175 w 175"/>
                  <a:gd name="T17" fmla="*/ 203 h 224"/>
                  <a:gd name="T18" fmla="*/ 175 w 175"/>
                  <a:gd name="T19" fmla="*/ 203 h 224"/>
                  <a:gd name="T20" fmla="*/ 175 w 175"/>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224">
                    <a:moveTo>
                      <a:pt x="175" y="224"/>
                    </a:moveTo>
                    <a:cubicBezTo>
                      <a:pt x="138" y="224"/>
                      <a:pt x="138" y="224"/>
                      <a:pt x="138" y="224"/>
                    </a:cubicBezTo>
                    <a:cubicBezTo>
                      <a:pt x="138" y="210"/>
                      <a:pt x="138" y="210"/>
                      <a:pt x="138" y="210"/>
                    </a:cubicBezTo>
                    <a:cubicBezTo>
                      <a:pt x="138" y="140"/>
                      <a:pt x="88" y="81"/>
                      <a:pt x="19" y="69"/>
                    </a:cubicBezTo>
                    <a:cubicBezTo>
                      <a:pt x="4" y="66"/>
                      <a:pt x="4" y="66"/>
                      <a:pt x="4" y="66"/>
                    </a:cubicBezTo>
                    <a:cubicBezTo>
                      <a:pt x="0" y="9"/>
                      <a:pt x="0" y="9"/>
                      <a:pt x="0" y="9"/>
                    </a:cubicBezTo>
                    <a:cubicBezTo>
                      <a:pt x="37" y="0"/>
                      <a:pt x="37" y="0"/>
                      <a:pt x="37" y="0"/>
                    </a:cubicBezTo>
                    <a:cubicBezTo>
                      <a:pt x="40" y="35"/>
                      <a:pt x="40" y="35"/>
                      <a:pt x="40" y="35"/>
                    </a:cubicBezTo>
                    <a:cubicBezTo>
                      <a:pt x="117" y="55"/>
                      <a:pt x="172" y="124"/>
                      <a:pt x="175" y="203"/>
                    </a:cubicBezTo>
                    <a:cubicBezTo>
                      <a:pt x="175" y="203"/>
                      <a:pt x="175" y="203"/>
                      <a:pt x="175" y="203"/>
                    </a:cubicBezTo>
                    <a:lnTo>
                      <a:pt x="17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8" name="Freeform 293">
                <a:extLst>
                  <a:ext uri="{FF2B5EF4-FFF2-40B4-BE49-F238E27FC236}">
                    <a16:creationId xmlns:a16="http://schemas.microsoft.com/office/drawing/2014/main" id="{5C8A8B53-F880-4767-AC82-7EBF5D6EAF27}"/>
                  </a:ext>
                </a:extLst>
              </p:cNvPr>
              <p:cNvSpPr>
                <a:spLocks noEditPoints="1"/>
              </p:cNvSpPr>
              <p:nvPr/>
            </p:nvSpPr>
            <p:spPr bwMode="auto">
              <a:xfrm>
                <a:off x="636" y="1838"/>
                <a:ext cx="99" cy="140"/>
              </a:xfrm>
              <a:custGeom>
                <a:avLst/>
                <a:gdLst>
                  <a:gd name="T0" fmla="*/ 95 w 191"/>
                  <a:gd name="T1" fmla="*/ 273 h 273"/>
                  <a:gd name="T2" fmla="*/ 0 w 191"/>
                  <a:gd name="T3" fmla="*/ 137 h 273"/>
                  <a:gd name="T4" fmla="*/ 95 w 191"/>
                  <a:gd name="T5" fmla="*/ 0 h 273"/>
                  <a:gd name="T6" fmla="*/ 191 w 191"/>
                  <a:gd name="T7" fmla="*/ 137 h 273"/>
                  <a:gd name="T8" fmla="*/ 95 w 191"/>
                  <a:gd name="T9" fmla="*/ 273 h 273"/>
                  <a:gd name="T10" fmla="*/ 95 w 191"/>
                  <a:gd name="T11" fmla="*/ 9 h 273"/>
                  <a:gd name="T12" fmla="*/ 9 w 191"/>
                  <a:gd name="T13" fmla="*/ 137 h 273"/>
                  <a:gd name="T14" fmla="*/ 95 w 191"/>
                  <a:gd name="T15" fmla="*/ 264 h 273"/>
                  <a:gd name="T16" fmla="*/ 182 w 191"/>
                  <a:gd name="T17" fmla="*/ 137 h 273"/>
                  <a:gd name="T18" fmla="*/ 95 w 191"/>
                  <a:gd name="T19" fmla="*/ 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3">
                    <a:moveTo>
                      <a:pt x="95" y="273"/>
                    </a:moveTo>
                    <a:cubicBezTo>
                      <a:pt x="42" y="273"/>
                      <a:pt x="0" y="212"/>
                      <a:pt x="0" y="137"/>
                    </a:cubicBezTo>
                    <a:cubicBezTo>
                      <a:pt x="0" y="45"/>
                      <a:pt x="31" y="0"/>
                      <a:pt x="95" y="0"/>
                    </a:cubicBezTo>
                    <a:cubicBezTo>
                      <a:pt x="159" y="0"/>
                      <a:pt x="191" y="45"/>
                      <a:pt x="191" y="137"/>
                    </a:cubicBezTo>
                    <a:cubicBezTo>
                      <a:pt x="191" y="212"/>
                      <a:pt x="148" y="273"/>
                      <a:pt x="95" y="273"/>
                    </a:cubicBezTo>
                    <a:close/>
                    <a:moveTo>
                      <a:pt x="95" y="9"/>
                    </a:moveTo>
                    <a:cubicBezTo>
                      <a:pt x="58" y="9"/>
                      <a:pt x="9" y="23"/>
                      <a:pt x="9" y="137"/>
                    </a:cubicBezTo>
                    <a:cubicBezTo>
                      <a:pt x="9" y="207"/>
                      <a:pt x="47" y="264"/>
                      <a:pt x="95" y="264"/>
                    </a:cubicBezTo>
                    <a:cubicBezTo>
                      <a:pt x="143" y="264"/>
                      <a:pt x="182" y="207"/>
                      <a:pt x="182" y="137"/>
                    </a:cubicBezTo>
                    <a:cubicBezTo>
                      <a:pt x="182" y="23"/>
                      <a:pt x="132" y="9"/>
                      <a:pt x="9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59" name="Freeform 294">
                <a:extLst>
                  <a:ext uri="{FF2B5EF4-FFF2-40B4-BE49-F238E27FC236}">
                    <a16:creationId xmlns:a16="http://schemas.microsoft.com/office/drawing/2014/main" id="{CE869680-F72C-42D5-84EF-4FB3751A7001}"/>
                  </a:ext>
                </a:extLst>
              </p:cNvPr>
              <p:cNvSpPr>
                <a:spLocks noEditPoints="1"/>
              </p:cNvSpPr>
              <p:nvPr/>
            </p:nvSpPr>
            <p:spPr bwMode="auto">
              <a:xfrm>
                <a:off x="633" y="1834"/>
                <a:ext cx="105" cy="148"/>
              </a:xfrm>
              <a:custGeom>
                <a:avLst/>
                <a:gdLst>
                  <a:gd name="T0" fmla="*/ 102 w 204"/>
                  <a:gd name="T1" fmla="*/ 287 h 287"/>
                  <a:gd name="T2" fmla="*/ 0 w 204"/>
                  <a:gd name="T3" fmla="*/ 144 h 287"/>
                  <a:gd name="T4" fmla="*/ 102 w 204"/>
                  <a:gd name="T5" fmla="*/ 0 h 287"/>
                  <a:gd name="T6" fmla="*/ 204 w 204"/>
                  <a:gd name="T7" fmla="*/ 144 h 287"/>
                  <a:gd name="T8" fmla="*/ 102 w 204"/>
                  <a:gd name="T9" fmla="*/ 287 h 287"/>
                  <a:gd name="T10" fmla="*/ 102 w 204"/>
                  <a:gd name="T11" fmla="*/ 23 h 287"/>
                  <a:gd name="T12" fmla="*/ 23 w 204"/>
                  <a:gd name="T13" fmla="*/ 144 h 287"/>
                  <a:gd name="T14" fmla="*/ 102 w 204"/>
                  <a:gd name="T15" fmla="*/ 264 h 287"/>
                  <a:gd name="T16" fmla="*/ 182 w 204"/>
                  <a:gd name="T17" fmla="*/ 144 h 287"/>
                  <a:gd name="T18" fmla="*/ 102 w 204"/>
                  <a:gd name="T19" fmla="*/ 2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87">
                    <a:moveTo>
                      <a:pt x="102" y="287"/>
                    </a:moveTo>
                    <a:cubicBezTo>
                      <a:pt x="46" y="287"/>
                      <a:pt x="0" y="222"/>
                      <a:pt x="0" y="144"/>
                    </a:cubicBezTo>
                    <a:cubicBezTo>
                      <a:pt x="0" y="49"/>
                      <a:pt x="34" y="0"/>
                      <a:pt x="102" y="0"/>
                    </a:cubicBezTo>
                    <a:cubicBezTo>
                      <a:pt x="170" y="0"/>
                      <a:pt x="204" y="49"/>
                      <a:pt x="204" y="144"/>
                    </a:cubicBezTo>
                    <a:cubicBezTo>
                      <a:pt x="204" y="222"/>
                      <a:pt x="159" y="287"/>
                      <a:pt x="102" y="287"/>
                    </a:cubicBezTo>
                    <a:close/>
                    <a:moveTo>
                      <a:pt x="102" y="23"/>
                    </a:moveTo>
                    <a:cubicBezTo>
                      <a:pt x="65" y="23"/>
                      <a:pt x="23" y="37"/>
                      <a:pt x="23" y="144"/>
                    </a:cubicBezTo>
                    <a:cubicBezTo>
                      <a:pt x="23" y="210"/>
                      <a:pt x="58" y="264"/>
                      <a:pt x="102" y="264"/>
                    </a:cubicBezTo>
                    <a:cubicBezTo>
                      <a:pt x="146" y="264"/>
                      <a:pt x="182" y="210"/>
                      <a:pt x="182" y="144"/>
                    </a:cubicBezTo>
                    <a:cubicBezTo>
                      <a:pt x="182" y="37"/>
                      <a:pt x="139" y="23"/>
                      <a:pt x="10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0" name="Freeform 295">
                <a:extLst>
                  <a:ext uri="{FF2B5EF4-FFF2-40B4-BE49-F238E27FC236}">
                    <a16:creationId xmlns:a16="http://schemas.microsoft.com/office/drawing/2014/main" id="{1924E20A-DBD7-4C07-9B9A-E39049C377C4}"/>
                  </a:ext>
                </a:extLst>
              </p:cNvPr>
              <p:cNvSpPr>
                <a:spLocks noEditPoints="1"/>
              </p:cNvSpPr>
              <p:nvPr/>
            </p:nvSpPr>
            <p:spPr bwMode="auto">
              <a:xfrm>
                <a:off x="632" y="1834"/>
                <a:ext cx="107" cy="148"/>
              </a:xfrm>
              <a:custGeom>
                <a:avLst/>
                <a:gdLst>
                  <a:gd name="T0" fmla="*/ 103 w 206"/>
                  <a:gd name="T1" fmla="*/ 280 h 287"/>
                  <a:gd name="T2" fmla="*/ 103 w 206"/>
                  <a:gd name="T3" fmla="*/ 272 h 287"/>
                  <a:gd name="T4" fmla="*/ 42 w 206"/>
                  <a:gd name="T5" fmla="*/ 236 h 287"/>
                  <a:gd name="T6" fmla="*/ 15 w 206"/>
                  <a:gd name="T7" fmla="*/ 144 h 287"/>
                  <a:gd name="T8" fmla="*/ 37 w 206"/>
                  <a:gd name="T9" fmla="*/ 45 h 287"/>
                  <a:gd name="T10" fmla="*/ 103 w 206"/>
                  <a:gd name="T11" fmla="*/ 15 h 287"/>
                  <a:gd name="T12" fmla="*/ 169 w 206"/>
                  <a:gd name="T13" fmla="*/ 45 h 287"/>
                  <a:gd name="T14" fmla="*/ 191 w 206"/>
                  <a:gd name="T15" fmla="*/ 144 h 287"/>
                  <a:gd name="T16" fmla="*/ 165 w 206"/>
                  <a:gd name="T17" fmla="*/ 236 h 287"/>
                  <a:gd name="T18" fmla="*/ 103 w 206"/>
                  <a:gd name="T19" fmla="*/ 272 h 287"/>
                  <a:gd name="T20" fmla="*/ 103 w 206"/>
                  <a:gd name="T21" fmla="*/ 280 h 287"/>
                  <a:gd name="T22" fmla="*/ 103 w 206"/>
                  <a:gd name="T23" fmla="*/ 287 h 287"/>
                  <a:gd name="T24" fmla="*/ 177 w 206"/>
                  <a:gd name="T25" fmla="*/ 244 h 287"/>
                  <a:gd name="T26" fmla="*/ 206 w 206"/>
                  <a:gd name="T27" fmla="*/ 144 h 287"/>
                  <a:gd name="T28" fmla="*/ 181 w 206"/>
                  <a:gd name="T29" fmla="*/ 37 h 287"/>
                  <a:gd name="T30" fmla="*/ 103 w 206"/>
                  <a:gd name="T31" fmla="*/ 0 h 287"/>
                  <a:gd name="T32" fmla="*/ 25 w 206"/>
                  <a:gd name="T33" fmla="*/ 37 h 287"/>
                  <a:gd name="T34" fmla="*/ 0 w 206"/>
                  <a:gd name="T35" fmla="*/ 144 h 287"/>
                  <a:gd name="T36" fmla="*/ 30 w 206"/>
                  <a:gd name="T37" fmla="*/ 244 h 287"/>
                  <a:gd name="T38" fmla="*/ 103 w 206"/>
                  <a:gd name="T39" fmla="*/ 287 h 287"/>
                  <a:gd name="T40" fmla="*/ 103 w 206"/>
                  <a:gd name="T41" fmla="*/ 280 h 287"/>
                  <a:gd name="T42" fmla="*/ 103 w 206"/>
                  <a:gd name="T43" fmla="*/ 16 h 287"/>
                  <a:gd name="T44" fmla="*/ 103 w 206"/>
                  <a:gd name="T45" fmla="*/ 9 h 287"/>
                  <a:gd name="T46" fmla="*/ 72 w 206"/>
                  <a:gd name="T47" fmla="*/ 13 h 287"/>
                  <a:gd name="T48" fmla="*/ 28 w 206"/>
                  <a:gd name="T49" fmla="*/ 50 h 287"/>
                  <a:gd name="T50" fmla="*/ 9 w 206"/>
                  <a:gd name="T51" fmla="*/ 144 h 287"/>
                  <a:gd name="T52" fmla="*/ 36 w 206"/>
                  <a:gd name="T53" fmla="*/ 238 h 287"/>
                  <a:gd name="T54" fmla="*/ 103 w 206"/>
                  <a:gd name="T55" fmla="*/ 278 h 287"/>
                  <a:gd name="T56" fmla="*/ 170 w 206"/>
                  <a:gd name="T57" fmla="*/ 238 h 287"/>
                  <a:gd name="T58" fmla="*/ 197 w 206"/>
                  <a:gd name="T59" fmla="*/ 144 h 287"/>
                  <a:gd name="T60" fmla="*/ 166 w 206"/>
                  <a:gd name="T61" fmla="*/ 32 h 287"/>
                  <a:gd name="T62" fmla="*/ 134 w 206"/>
                  <a:gd name="T63" fmla="*/ 13 h 287"/>
                  <a:gd name="T64" fmla="*/ 103 w 206"/>
                  <a:gd name="T65" fmla="*/ 9 h 287"/>
                  <a:gd name="T66" fmla="*/ 103 w 206"/>
                  <a:gd name="T67" fmla="*/ 16 h 287"/>
                  <a:gd name="T68" fmla="*/ 103 w 206"/>
                  <a:gd name="T69" fmla="*/ 24 h 287"/>
                  <a:gd name="T70" fmla="*/ 130 w 206"/>
                  <a:gd name="T71" fmla="*/ 27 h 287"/>
                  <a:gd name="T72" fmla="*/ 166 w 206"/>
                  <a:gd name="T73" fmla="*/ 57 h 287"/>
                  <a:gd name="T74" fmla="*/ 182 w 206"/>
                  <a:gd name="T75" fmla="*/ 144 h 287"/>
                  <a:gd name="T76" fmla="*/ 158 w 206"/>
                  <a:gd name="T77" fmla="*/ 229 h 287"/>
                  <a:gd name="T78" fmla="*/ 103 w 206"/>
                  <a:gd name="T79" fmla="*/ 263 h 287"/>
                  <a:gd name="T80" fmla="*/ 48 w 206"/>
                  <a:gd name="T81" fmla="*/ 229 h 287"/>
                  <a:gd name="T82" fmla="*/ 24 w 206"/>
                  <a:gd name="T83" fmla="*/ 144 h 287"/>
                  <a:gd name="T84" fmla="*/ 51 w 206"/>
                  <a:gd name="T85" fmla="*/ 42 h 287"/>
                  <a:gd name="T86" fmla="*/ 76 w 206"/>
                  <a:gd name="T87" fmla="*/ 27 h 287"/>
                  <a:gd name="T88" fmla="*/ 103 w 206"/>
                  <a:gd name="T89" fmla="*/ 24 h 287"/>
                  <a:gd name="T90" fmla="*/ 103 w 206"/>
                  <a:gd name="T91" fmla="*/ 1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6" h="287">
                    <a:moveTo>
                      <a:pt x="103" y="280"/>
                    </a:moveTo>
                    <a:cubicBezTo>
                      <a:pt x="103" y="272"/>
                      <a:pt x="103" y="272"/>
                      <a:pt x="103" y="272"/>
                    </a:cubicBezTo>
                    <a:cubicBezTo>
                      <a:pt x="80" y="272"/>
                      <a:pt x="58" y="259"/>
                      <a:pt x="42" y="236"/>
                    </a:cubicBezTo>
                    <a:cubicBezTo>
                      <a:pt x="25" y="212"/>
                      <a:pt x="15" y="180"/>
                      <a:pt x="15" y="144"/>
                    </a:cubicBezTo>
                    <a:cubicBezTo>
                      <a:pt x="15" y="99"/>
                      <a:pt x="23" y="66"/>
                      <a:pt x="37" y="45"/>
                    </a:cubicBezTo>
                    <a:cubicBezTo>
                      <a:pt x="52" y="25"/>
                      <a:pt x="73" y="15"/>
                      <a:pt x="103" y="15"/>
                    </a:cubicBezTo>
                    <a:cubicBezTo>
                      <a:pt x="134" y="15"/>
                      <a:pt x="154" y="25"/>
                      <a:pt x="169" y="45"/>
                    </a:cubicBezTo>
                    <a:cubicBezTo>
                      <a:pt x="183" y="66"/>
                      <a:pt x="191" y="99"/>
                      <a:pt x="191" y="144"/>
                    </a:cubicBezTo>
                    <a:cubicBezTo>
                      <a:pt x="191" y="180"/>
                      <a:pt x="181" y="212"/>
                      <a:pt x="165" y="236"/>
                    </a:cubicBezTo>
                    <a:cubicBezTo>
                      <a:pt x="148" y="259"/>
                      <a:pt x="126" y="272"/>
                      <a:pt x="103" y="272"/>
                    </a:cubicBezTo>
                    <a:cubicBezTo>
                      <a:pt x="103" y="280"/>
                      <a:pt x="103" y="280"/>
                      <a:pt x="103" y="280"/>
                    </a:cubicBezTo>
                    <a:cubicBezTo>
                      <a:pt x="103" y="287"/>
                      <a:pt x="103" y="287"/>
                      <a:pt x="103" y="287"/>
                    </a:cubicBezTo>
                    <a:cubicBezTo>
                      <a:pt x="132" y="287"/>
                      <a:pt x="158" y="270"/>
                      <a:pt x="177" y="244"/>
                    </a:cubicBezTo>
                    <a:cubicBezTo>
                      <a:pt x="195" y="218"/>
                      <a:pt x="206" y="182"/>
                      <a:pt x="206" y="144"/>
                    </a:cubicBezTo>
                    <a:cubicBezTo>
                      <a:pt x="206" y="97"/>
                      <a:pt x="198" y="61"/>
                      <a:pt x="181" y="37"/>
                    </a:cubicBezTo>
                    <a:cubicBezTo>
                      <a:pt x="164" y="12"/>
                      <a:pt x="137" y="0"/>
                      <a:pt x="103" y="0"/>
                    </a:cubicBezTo>
                    <a:cubicBezTo>
                      <a:pt x="69" y="0"/>
                      <a:pt x="42" y="12"/>
                      <a:pt x="25" y="37"/>
                    </a:cubicBezTo>
                    <a:cubicBezTo>
                      <a:pt x="8" y="61"/>
                      <a:pt x="0" y="97"/>
                      <a:pt x="0" y="144"/>
                    </a:cubicBezTo>
                    <a:cubicBezTo>
                      <a:pt x="0" y="182"/>
                      <a:pt x="11" y="218"/>
                      <a:pt x="30" y="244"/>
                    </a:cubicBezTo>
                    <a:cubicBezTo>
                      <a:pt x="48" y="270"/>
                      <a:pt x="74" y="287"/>
                      <a:pt x="103" y="287"/>
                    </a:cubicBezTo>
                    <a:lnTo>
                      <a:pt x="103" y="280"/>
                    </a:lnTo>
                    <a:close/>
                    <a:moveTo>
                      <a:pt x="103" y="16"/>
                    </a:moveTo>
                    <a:cubicBezTo>
                      <a:pt x="103" y="9"/>
                      <a:pt x="103" y="9"/>
                      <a:pt x="103" y="9"/>
                    </a:cubicBezTo>
                    <a:cubicBezTo>
                      <a:pt x="93" y="9"/>
                      <a:pt x="83" y="10"/>
                      <a:pt x="72" y="13"/>
                    </a:cubicBezTo>
                    <a:cubicBezTo>
                      <a:pt x="56" y="18"/>
                      <a:pt x="39" y="29"/>
                      <a:pt x="28" y="50"/>
                    </a:cubicBezTo>
                    <a:cubicBezTo>
                      <a:pt x="16" y="70"/>
                      <a:pt x="9" y="100"/>
                      <a:pt x="9" y="144"/>
                    </a:cubicBezTo>
                    <a:cubicBezTo>
                      <a:pt x="9" y="180"/>
                      <a:pt x="19" y="213"/>
                      <a:pt x="36" y="238"/>
                    </a:cubicBezTo>
                    <a:cubicBezTo>
                      <a:pt x="52" y="262"/>
                      <a:pt x="76" y="278"/>
                      <a:pt x="103" y="278"/>
                    </a:cubicBezTo>
                    <a:cubicBezTo>
                      <a:pt x="130" y="278"/>
                      <a:pt x="154" y="262"/>
                      <a:pt x="170" y="238"/>
                    </a:cubicBezTo>
                    <a:cubicBezTo>
                      <a:pt x="187" y="213"/>
                      <a:pt x="197" y="180"/>
                      <a:pt x="197" y="144"/>
                    </a:cubicBezTo>
                    <a:cubicBezTo>
                      <a:pt x="197" y="86"/>
                      <a:pt x="184" y="52"/>
                      <a:pt x="166" y="32"/>
                    </a:cubicBezTo>
                    <a:cubicBezTo>
                      <a:pt x="156" y="22"/>
                      <a:pt x="145" y="17"/>
                      <a:pt x="134" y="13"/>
                    </a:cubicBezTo>
                    <a:cubicBezTo>
                      <a:pt x="124" y="10"/>
                      <a:pt x="113" y="9"/>
                      <a:pt x="103" y="9"/>
                    </a:cubicBezTo>
                    <a:cubicBezTo>
                      <a:pt x="103" y="16"/>
                      <a:pt x="103" y="16"/>
                      <a:pt x="103" y="16"/>
                    </a:cubicBezTo>
                    <a:cubicBezTo>
                      <a:pt x="103" y="24"/>
                      <a:pt x="103" y="24"/>
                      <a:pt x="103" y="24"/>
                    </a:cubicBezTo>
                    <a:cubicBezTo>
                      <a:pt x="112" y="24"/>
                      <a:pt x="121" y="25"/>
                      <a:pt x="130" y="27"/>
                    </a:cubicBezTo>
                    <a:cubicBezTo>
                      <a:pt x="143" y="31"/>
                      <a:pt x="156" y="39"/>
                      <a:pt x="166" y="57"/>
                    </a:cubicBezTo>
                    <a:cubicBezTo>
                      <a:pt x="175" y="74"/>
                      <a:pt x="182" y="102"/>
                      <a:pt x="182" y="144"/>
                    </a:cubicBezTo>
                    <a:cubicBezTo>
                      <a:pt x="182" y="177"/>
                      <a:pt x="173" y="208"/>
                      <a:pt x="158" y="229"/>
                    </a:cubicBezTo>
                    <a:cubicBezTo>
                      <a:pt x="143" y="251"/>
                      <a:pt x="124" y="263"/>
                      <a:pt x="103" y="263"/>
                    </a:cubicBezTo>
                    <a:cubicBezTo>
                      <a:pt x="82" y="263"/>
                      <a:pt x="63" y="251"/>
                      <a:pt x="48" y="229"/>
                    </a:cubicBezTo>
                    <a:cubicBezTo>
                      <a:pt x="33" y="208"/>
                      <a:pt x="24" y="177"/>
                      <a:pt x="24" y="144"/>
                    </a:cubicBezTo>
                    <a:cubicBezTo>
                      <a:pt x="24" y="88"/>
                      <a:pt x="36" y="58"/>
                      <a:pt x="51" y="42"/>
                    </a:cubicBezTo>
                    <a:cubicBezTo>
                      <a:pt x="59" y="35"/>
                      <a:pt x="67" y="30"/>
                      <a:pt x="76" y="27"/>
                    </a:cubicBezTo>
                    <a:cubicBezTo>
                      <a:pt x="85" y="25"/>
                      <a:pt x="94" y="24"/>
                      <a:pt x="103" y="24"/>
                    </a:cubicBezTo>
                    <a:lnTo>
                      <a:pt x="10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1" name="Freeform 296">
                <a:extLst>
                  <a:ext uri="{FF2B5EF4-FFF2-40B4-BE49-F238E27FC236}">
                    <a16:creationId xmlns:a16="http://schemas.microsoft.com/office/drawing/2014/main" id="{BA507BE3-7ADE-4134-BA25-00EF5F9AD0B8}"/>
                  </a:ext>
                </a:extLst>
              </p:cNvPr>
              <p:cNvSpPr>
                <a:spLocks noEditPoints="1"/>
              </p:cNvSpPr>
              <p:nvPr/>
            </p:nvSpPr>
            <p:spPr bwMode="auto">
              <a:xfrm>
                <a:off x="628" y="1831"/>
                <a:ext cx="114" cy="154"/>
              </a:xfrm>
              <a:custGeom>
                <a:avLst/>
                <a:gdLst>
                  <a:gd name="T0" fmla="*/ 117 w 220"/>
                  <a:gd name="T1" fmla="*/ 301 h 301"/>
                  <a:gd name="T2" fmla="*/ 103 w 220"/>
                  <a:gd name="T3" fmla="*/ 301 h 301"/>
                  <a:gd name="T4" fmla="*/ 31 w 220"/>
                  <a:gd name="T5" fmla="*/ 255 h 301"/>
                  <a:gd name="T6" fmla="*/ 0 w 220"/>
                  <a:gd name="T7" fmla="*/ 151 h 301"/>
                  <a:gd name="T8" fmla="*/ 27 w 220"/>
                  <a:gd name="T9" fmla="*/ 40 h 301"/>
                  <a:gd name="T10" fmla="*/ 109 w 220"/>
                  <a:gd name="T11" fmla="*/ 0 h 301"/>
                  <a:gd name="T12" fmla="*/ 111 w 220"/>
                  <a:gd name="T13" fmla="*/ 0 h 301"/>
                  <a:gd name="T14" fmla="*/ 194 w 220"/>
                  <a:gd name="T15" fmla="*/ 40 h 301"/>
                  <a:gd name="T16" fmla="*/ 220 w 220"/>
                  <a:gd name="T17" fmla="*/ 151 h 301"/>
                  <a:gd name="T18" fmla="*/ 189 w 220"/>
                  <a:gd name="T19" fmla="*/ 255 h 301"/>
                  <a:gd name="T20" fmla="*/ 117 w 220"/>
                  <a:gd name="T21" fmla="*/ 301 h 301"/>
                  <a:gd name="T22" fmla="*/ 110 w 220"/>
                  <a:gd name="T23" fmla="*/ 263 h 301"/>
                  <a:gd name="T24" fmla="*/ 110 w 220"/>
                  <a:gd name="T25" fmla="*/ 263 h 301"/>
                  <a:gd name="T26" fmla="*/ 159 w 220"/>
                  <a:gd name="T27" fmla="*/ 232 h 301"/>
                  <a:gd name="T28" fmla="*/ 182 w 220"/>
                  <a:gd name="T29" fmla="*/ 151 h 301"/>
                  <a:gd name="T30" fmla="*/ 167 w 220"/>
                  <a:gd name="T31" fmla="*/ 67 h 301"/>
                  <a:gd name="T32" fmla="*/ 135 w 220"/>
                  <a:gd name="T33" fmla="*/ 41 h 301"/>
                  <a:gd name="T34" fmla="*/ 85 w 220"/>
                  <a:gd name="T35" fmla="*/ 41 h 301"/>
                  <a:gd name="T36" fmla="*/ 63 w 220"/>
                  <a:gd name="T37" fmla="*/ 54 h 301"/>
                  <a:gd name="T38" fmla="*/ 38 w 220"/>
                  <a:gd name="T39" fmla="*/ 151 h 301"/>
                  <a:gd name="T40" fmla="*/ 61 w 220"/>
                  <a:gd name="T41" fmla="*/ 232 h 301"/>
                  <a:gd name="T42" fmla="*/ 110 w 220"/>
                  <a:gd name="T43" fmla="*/ 26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301">
                    <a:moveTo>
                      <a:pt x="117" y="301"/>
                    </a:moveTo>
                    <a:cubicBezTo>
                      <a:pt x="103" y="301"/>
                      <a:pt x="103" y="301"/>
                      <a:pt x="103" y="301"/>
                    </a:cubicBezTo>
                    <a:cubicBezTo>
                      <a:pt x="76" y="298"/>
                      <a:pt x="50" y="282"/>
                      <a:pt x="31" y="255"/>
                    </a:cubicBezTo>
                    <a:cubicBezTo>
                      <a:pt x="11" y="227"/>
                      <a:pt x="0" y="190"/>
                      <a:pt x="0" y="151"/>
                    </a:cubicBezTo>
                    <a:cubicBezTo>
                      <a:pt x="0" y="101"/>
                      <a:pt x="9" y="65"/>
                      <a:pt x="27" y="40"/>
                    </a:cubicBezTo>
                    <a:cubicBezTo>
                      <a:pt x="45" y="14"/>
                      <a:pt x="73" y="0"/>
                      <a:pt x="109" y="0"/>
                    </a:cubicBezTo>
                    <a:cubicBezTo>
                      <a:pt x="110" y="0"/>
                      <a:pt x="110" y="0"/>
                      <a:pt x="111" y="0"/>
                    </a:cubicBezTo>
                    <a:cubicBezTo>
                      <a:pt x="147" y="0"/>
                      <a:pt x="176" y="14"/>
                      <a:pt x="194" y="40"/>
                    </a:cubicBezTo>
                    <a:cubicBezTo>
                      <a:pt x="211" y="65"/>
                      <a:pt x="220" y="101"/>
                      <a:pt x="220" y="151"/>
                    </a:cubicBezTo>
                    <a:cubicBezTo>
                      <a:pt x="220" y="190"/>
                      <a:pt x="209" y="227"/>
                      <a:pt x="189" y="255"/>
                    </a:cubicBezTo>
                    <a:cubicBezTo>
                      <a:pt x="170" y="282"/>
                      <a:pt x="144" y="298"/>
                      <a:pt x="117" y="301"/>
                    </a:cubicBezTo>
                    <a:close/>
                    <a:moveTo>
                      <a:pt x="110" y="263"/>
                    </a:moveTo>
                    <a:cubicBezTo>
                      <a:pt x="110" y="263"/>
                      <a:pt x="110" y="263"/>
                      <a:pt x="110" y="263"/>
                    </a:cubicBezTo>
                    <a:cubicBezTo>
                      <a:pt x="128" y="263"/>
                      <a:pt x="146" y="252"/>
                      <a:pt x="159" y="232"/>
                    </a:cubicBezTo>
                    <a:cubicBezTo>
                      <a:pt x="174" y="211"/>
                      <a:pt x="182" y="181"/>
                      <a:pt x="182" y="151"/>
                    </a:cubicBezTo>
                    <a:cubicBezTo>
                      <a:pt x="182" y="114"/>
                      <a:pt x="177" y="86"/>
                      <a:pt x="167" y="67"/>
                    </a:cubicBezTo>
                    <a:cubicBezTo>
                      <a:pt x="159" y="53"/>
                      <a:pt x="149" y="45"/>
                      <a:pt x="135" y="41"/>
                    </a:cubicBezTo>
                    <a:cubicBezTo>
                      <a:pt x="121" y="37"/>
                      <a:pt x="99" y="37"/>
                      <a:pt x="85" y="41"/>
                    </a:cubicBezTo>
                    <a:cubicBezTo>
                      <a:pt x="76" y="44"/>
                      <a:pt x="69" y="48"/>
                      <a:pt x="63" y="54"/>
                    </a:cubicBezTo>
                    <a:cubicBezTo>
                      <a:pt x="46" y="71"/>
                      <a:pt x="38" y="104"/>
                      <a:pt x="38" y="151"/>
                    </a:cubicBezTo>
                    <a:cubicBezTo>
                      <a:pt x="38" y="181"/>
                      <a:pt x="46" y="211"/>
                      <a:pt x="61" y="232"/>
                    </a:cubicBezTo>
                    <a:cubicBezTo>
                      <a:pt x="74" y="252"/>
                      <a:pt x="92" y="263"/>
                      <a:pt x="11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2" name="Freeform 297">
                <a:extLst>
                  <a:ext uri="{FF2B5EF4-FFF2-40B4-BE49-F238E27FC236}">
                    <a16:creationId xmlns:a16="http://schemas.microsoft.com/office/drawing/2014/main" id="{97E02D1E-38FA-4967-95B2-677BFF12AFA2}"/>
                  </a:ext>
                </a:extLst>
              </p:cNvPr>
              <p:cNvSpPr>
                <a:spLocks/>
              </p:cNvSpPr>
              <p:nvPr/>
            </p:nvSpPr>
            <p:spPr bwMode="auto">
              <a:xfrm>
                <a:off x="592" y="1969"/>
                <a:ext cx="75" cy="101"/>
              </a:xfrm>
              <a:custGeom>
                <a:avLst/>
                <a:gdLst>
                  <a:gd name="T0" fmla="*/ 9 w 145"/>
                  <a:gd name="T1" fmla="*/ 195 h 195"/>
                  <a:gd name="T2" fmla="*/ 0 w 145"/>
                  <a:gd name="T3" fmla="*/ 195 h 195"/>
                  <a:gd name="T4" fmla="*/ 134 w 145"/>
                  <a:gd name="T5" fmla="*/ 32 h 195"/>
                  <a:gd name="T6" fmla="*/ 136 w 145"/>
                  <a:gd name="T7" fmla="*/ 0 h 195"/>
                  <a:gd name="T8" fmla="*/ 145 w 145"/>
                  <a:gd name="T9" fmla="*/ 0 h 195"/>
                  <a:gd name="T10" fmla="*/ 143 w 145"/>
                  <a:gd name="T11" fmla="*/ 39 h 195"/>
                  <a:gd name="T12" fmla="*/ 139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5"/>
                      <a:pt x="56" y="47"/>
                      <a:pt x="134" y="32"/>
                    </a:cubicBezTo>
                    <a:cubicBezTo>
                      <a:pt x="136" y="0"/>
                      <a:pt x="136" y="0"/>
                      <a:pt x="136" y="0"/>
                    </a:cubicBezTo>
                    <a:cubicBezTo>
                      <a:pt x="145" y="0"/>
                      <a:pt x="145" y="0"/>
                      <a:pt x="145" y="0"/>
                    </a:cubicBezTo>
                    <a:cubicBezTo>
                      <a:pt x="143" y="39"/>
                      <a:pt x="143" y="39"/>
                      <a:pt x="143" y="39"/>
                    </a:cubicBezTo>
                    <a:cubicBezTo>
                      <a:pt x="139" y="40"/>
                      <a:pt x="139" y="40"/>
                      <a:pt x="139" y="40"/>
                    </a:cubicBezTo>
                    <a:cubicBezTo>
                      <a:pt x="64" y="53"/>
                      <a:pt x="9" y="118"/>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3" name="Freeform 298">
                <a:extLst>
                  <a:ext uri="{FF2B5EF4-FFF2-40B4-BE49-F238E27FC236}">
                    <a16:creationId xmlns:a16="http://schemas.microsoft.com/office/drawing/2014/main" id="{0DC9A21F-6A58-445A-B5E7-5830121AB9E3}"/>
                  </a:ext>
                </a:extLst>
              </p:cNvPr>
              <p:cNvSpPr>
                <a:spLocks/>
              </p:cNvSpPr>
              <p:nvPr/>
            </p:nvSpPr>
            <p:spPr bwMode="auto">
              <a:xfrm>
                <a:off x="589" y="1966"/>
                <a:ext cx="82" cy="107"/>
              </a:xfrm>
              <a:custGeom>
                <a:avLst/>
                <a:gdLst>
                  <a:gd name="T0" fmla="*/ 23 w 159"/>
                  <a:gd name="T1" fmla="*/ 209 h 209"/>
                  <a:gd name="T2" fmla="*/ 0 w 159"/>
                  <a:gd name="T3" fmla="*/ 209 h 209"/>
                  <a:gd name="T4" fmla="*/ 0 w 159"/>
                  <a:gd name="T5" fmla="*/ 202 h 209"/>
                  <a:gd name="T6" fmla="*/ 134 w 159"/>
                  <a:gd name="T7" fmla="*/ 33 h 209"/>
                  <a:gd name="T8" fmla="*/ 136 w 159"/>
                  <a:gd name="T9" fmla="*/ 0 h 209"/>
                  <a:gd name="T10" fmla="*/ 159 w 159"/>
                  <a:gd name="T11" fmla="*/ 1 h 209"/>
                  <a:gd name="T12" fmla="*/ 156 w 159"/>
                  <a:gd name="T13" fmla="*/ 52 h 209"/>
                  <a:gd name="T14" fmla="*/ 147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1"/>
                      <a:pt x="56" y="51"/>
                      <a:pt x="134" y="33"/>
                    </a:cubicBezTo>
                    <a:cubicBezTo>
                      <a:pt x="136" y="0"/>
                      <a:pt x="136" y="0"/>
                      <a:pt x="136" y="0"/>
                    </a:cubicBezTo>
                    <a:cubicBezTo>
                      <a:pt x="159" y="1"/>
                      <a:pt x="159" y="1"/>
                      <a:pt x="159" y="1"/>
                    </a:cubicBezTo>
                    <a:cubicBezTo>
                      <a:pt x="156" y="52"/>
                      <a:pt x="156" y="52"/>
                      <a:pt x="156" y="52"/>
                    </a:cubicBezTo>
                    <a:cubicBezTo>
                      <a:pt x="147" y="54"/>
                      <a:pt x="147" y="54"/>
                      <a:pt x="147" y="54"/>
                    </a:cubicBezTo>
                    <a:cubicBezTo>
                      <a:pt x="75" y="66"/>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4" name="Freeform 299">
                <a:extLst>
                  <a:ext uri="{FF2B5EF4-FFF2-40B4-BE49-F238E27FC236}">
                    <a16:creationId xmlns:a16="http://schemas.microsoft.com/office/drawing/2014/main" id="{FA632837-BFF0-4ED7-9813-77B9ED1E6BCA}"/>
                  </a:ext>
                </a:extLst>
              </p:cNvPr>
              <p:cNvSpPr>
                <a:spLocks/>
              </p:cNvSpPr>
              <p:nvPr/>
            </p:nvSpPr>
            <p:spPr bwMode="auto">
              <a:xfrm>
                <a:off x="588" y="1965"/>
                <a:ext cx="83" cy="108"/>
              </a:xfrm>
              <a:custGeom>
                <a:avLst/>
                <a:gdLst>
                  <a:gd name="T0" fmla="*/ 17 w 160"/>
                  <a:gd name="T1" fmla="*/ 203 h 210"/>
                  <a:gd name="T2" fmla="*/ 17 w 160"/>
                  <a:gd name="T3" fmla="*/ 196 h 210"/>
                  <a:gd name="T4" fmla="*/ 8 w 160"/>
                  <a:gd name="T5" fmla="*/ 196 h 210"/>
                  <a:gd name="T6" fmla="*/ 8 w 160"/>
                  <a:gd name="T7" fmla="*/ 203 h 210"/>
                  <a:gd name="T8" fmla="*/ 15 w 160"/>
                  <a:gd name="T9" fmla="*/ 203 h 210"/>
                  <a:gd name="T10" fmla="*/ 144 w 160"/>
                  <a:gd name="T11" fmla="*/ 47 h 210"/>
                  <a:gd name="T12" fmla="*/ 149 w 160"/>
                  <a:gd name="T13" fmla="*/ 46 h 210"/>
                  <a:gd name="T14" fmla="*/ 151 w 160"/>
                  <a:gd name="T15" fmla="*/ 16 h 210"/>
                  <a:gd name="T16" fmla="*/ 152 w 160"/>
                  <a:gd name="T17" fmla="*/ 16 h 210"/>
                  <a:gd name="T18" fmla="*/ 153 w 160"/>
                  <a:gd name="T19" fmla="*/ 8 h 210"/>
                  <a:gd name="T20" fmla="*/ 145 w 160"/>
                  <a:gd name="T21" fmla="*/ 8 h 210"/>
                  <a:gd name="T22" fmla="*/ 143 w 160"/>
                  <a:gd name="T23" fmla="*/ 47 h 210"/>
                  <a:gd name="T24" fmla="*/ 151 w 160"/>
                  <a:gd name="T25" fmla="*/ 47 h 210"/>
                  <a:gd name="T26" fmla="*/ 149 w 160"/>
                  <a:gd name="T27" fmla="*/ 40 h 210"/>
                  <a:gd name="T28" fmla="*/ 146 w 160"/>
                  <a:gd name="T29" fmla="*/ 41 h 210"/>
                  <a:gd name="T30" fmla="*/ 9 w 160"/>
                  <a:gd name="T31" fmla="*/ 203 h 210"/>
                  <a:gd name="T32" fmla="*/ 17 w 160"/>
                  <a:gd name="T33" fmla="*/ 203 h 210"/>
                  <a:gd name="T34" fmla="*/ 17 w 160"/>
                  <a:gd name="T35" fmla="*/ 196 h 210"/>
                  <a:gd name="T36" fmla="*/ 17 w 160"/>
                  <a:gd name="T37" fmla="*/ 203 h 210"/>
                  <a:gd name="T38" fmla="*/ 24 w 160"/>
                  <a:gd name="T39" fmla="*/ 203 h 210"/>
                  <a:gd name="T40" fmla="*/ 148 w 160"/>
                  <a:gd name="T41" fmla="*/ 55 h 210"/>
                  <a:gd name="T42" fmla="*/ 152 w 160"/>
                  <a:gd name="T43" fmla="*/ 54 h 210"/>
                  <a:gd name="T44" fmla="*/ 158 w 160"/>
                  <a:gd name="T45" fmla="*/ 53 h 210"/>
                  <a:gd name="T46" fmla="*/ 160 w 160"/>
                  <a:gd name="T47" fmla="*/ 1 h 210"/>
                  <a:gd name="T48" fmla="*/ 144 w 160"/>
                  <a:gd name="T49" fmla="*/ 1 h 210"/>
                  <a:gd name="T50" fmla="*/ 137 w 160"/>
                  <a:gd name="T51" fmla="*/ 0 h 210"/>
                  <a:gd name="T52" fmla="*/ 135 w 160"/>
                  <a:gd name="T53" fmla="*/ 39 h 210"/>
                  <a:gd name="T54" fmla="*/ 142 w 160"/>
                  <a:gd name="T55" fmla="*/ 40 h 210"/>
                  <a:gd name="T56" fmla="*/ 141 w 160"/>
                  <a:gd name="T57" fmla="*/ 33 h 210"/>
                  <a:gd name="T58" fmla="*/ 0 w 160"/>
                  <a:gd name="T59" fmla="*/ 203 h 210"/>
                  <a:gd name="T60" fmla="*/ 0 w 160"/>
                  <a:gd name="T61" fmla="*/ 210 h 210"/>
                  <a:gd name="T62" fmla="*/ 17 w 160"/>
                  <a:gd name="T63" fmla="*/ 210 h 210"/>
                  <a:gd name="T64" fmla="*/ 24 w 160"/>
                  <a:gd name="T65" fmla="*/ 210 h 210"/>
                  <a:gd name="T66" fmla="*/ 24 w 160"/>
                  <a:gd name="T67" fmla="*/ 203 h 210"/>
                  <a:gd name="T68" fmla="*/ 17 w 160"/>
                  <a:gd name="T69" fmla="*/ 2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7" y="203"/>
                    </a:moveTo>
                    <a:cubicBezTo>
                      <a:pt x="17" y="196"/>
                      <a:pt x="17" y="196"/>
                      <a:pt x="17" y="196"/>
                    </a:cubicBezTo>
                    <a:cubicBezTo>
                      <a:pt x="8" y="196"/>
                      <a:pt x="8" y="196"/>
                      <a:pt x="8" y="196"/>
                    </a:cubicBezTo>
                    <a:cubicBezTo>
                      <a:pt x="8" y="203"/>
                      <a:pt x="8" y="203"/>
                      <a:pt x="8" y="203"/>
                    </a:cubicBezTo>
                    <a:cubicBezTo>
                      <a:pt x="15" y="203"/>
                      <a:pt x="15" y="203"/>
                      <a:pt x="15" y="203"/>
                    </a:cubicBezTo>
                    <a:cubicBezTo>
                      <a:pt x="15" y="127"/>
                      <a:pt x="69" y="62"/>
                      <a:pt x="144" y="47"/>
                    </a:cubicBezTo>
                    <a:cubicBezTo>
                      <a:pt x="149" y="46"/>
                      <a:pt x="149" y="46"/>
                      <a:pt x="149" y="46"/>
                    </a:cubicBezTo>
                    <a:cubicBezTo>
                      <a:pt x="151" y="16"/>
                      <a:pt x="151" y="16"/>
                      <a:pt x="151" y="16"/>
                    </a:cubicBezTo>
                    <a:cubicBezTo>
                      <a:pt x="152" y="16"/>
                      <a:pt x="152" y="16"/>
                      <a:pt x="152" y="16"/>
                    </a:cubicBezTo>
                    <a:cubicBezTo>
                      <a:pt x="153" y="8"/>
                      <a:pt x="153" y="8"/>
                      <a:pt x="153" y="8"/>
                    </a:cubicBezTo>
                    <a:cubicBezTo>
                      <a:pt x="145" y="8"/>
                      <a:pt x="145" y="8"/>
                      <a:pt x="145" y="8"/>
                    </a:cubicBezTo>
                    <a:cubicBezTo>
                      <a:pt x="143" y="47"/>
                      <a:pt x="143" y="47"/>
                      <a:pt x="143" y="47"/>
                    </a:cubicBezTo>
                    <a:cubicBezTo>
                      <a:pt x="151" y="47"/>
                      <a:pt x="151" y="47"/>
                      <a:pt x="151" y="47"/>
                    </a:cubicBezTo>
                    <a:cubicBezTo>
                      <a:pt x="149" y="40"/>
                      <a:pt x="149" y="40"/>
                      <a:pt x="149" y="40"/>
                    </a:cubicBezTo>
                    <a:cubicBezTo>
                      <a:pt x="146" y="41"/>
                      <a:pt x="146" y="41"/>
                      <a:pt x="146" y="41"/>
                    </a:cubicBezTo>
                    <a:cubicBezTo>
                      <a:pt x="67" y="54"/>
                      <a:pt x="9" y="123"/>
                      <a:pt x="9" y="203"/>
                    </a:cubicBezTo>
                    <a:cubicBezTo>
                      <a:pt x="17" y="203"/>
                      <a:pt x="17" y="203"/>
                      <a:pt x="17" y="203"/>
                    </a:cubicBezTo>
                    <a:cubicBezTo>
                      <a:pt x="17" y="196"/>
                      <a:pt x="17" y="196"/>
                      <a:pt x="17" y="196"/>
                    </a:cubicBezTo>
                    <a:cubicBezTo>
                      <a:pt x="17" y="203"/>
                      <a:pt x="17" y="203"/>
                      <a:pt x="17" y="203"/>
                    </a:cubicBezTo>
                    <a:cubicBezTo>
                      <a:pt x="24" y="203"/>
                      <a:pt x="24" y="203"/>
                      <a:pt x="24" y="203"/>
                    </a:cubicBezTo>
                    <a:cubicBezTo>
                      <a:pt x="24" y="130"/>
                      <a:pt x="76" y="68"/>
                      <a:pt x="148" y="55"/>
                    </a:cubicBezTo>
                    <a:cubicBezTo>
                      <a:pt x="152" y="54"/>
                      <a:pt x="152" y="54"/>
                      <a:pt x="152" y="54"/>
                    </a:cubicBezTo>
                    <a:cubicBezTo>
                      <a:pt x="158" y="53"/>
                      <a:pt x="158" y="53"/>
                      <a:pt x="158" y="53"/>
                    </a:cubicBezTo>
                    <a:cubicBezTo>
                      <a:pt x="160" y="1"/>
                      <a:pt x="160" y="1"/>
                      <a:pt x="160" y="1"/>
                    </a:cubicBezTo>
                    <a:cubicBezTo>
                      <a:pt x="144" y="1"/>
                      <a:pt x="144" y="1"/>
                      <a:pt x="144" y="1"/>
                    </a:cubicBezTo>
                    <a:cubicBezTo>
                      <a:pt x="137" y="0"/>
                      <a:pt x="137" y="0"/>
                      <a:pt x="137" y="0"/>
                    </a:cubicBezTo>
                    <a:cubicBezTo>
                      <a:pt x="135" y="39"/>
                      <a:pt x="135" y="39"/>
                      <a:pt x="135" y="39"/>
                    </a:cubicBezTo>
                    <a:cubicBezTo>
                      <a:pt x="142" y="40"/>
                      <a:pt x="142" y="40"/>
                      <a:pt x="142" y="40"/>
                    </a:cubicBezTo>
                    <a:cubicBezTo>
                      <a:pt x="141" y="33"/>
                      <a:pt x="141" y="33"/>
                      <a:pt x="141" y="33"/>
                    </a:cubicBezTo>
                    <a:cubicBezTo>
                      <a:pt x="59" y="49"/>
                      <a:pt x="0" y="120"/>
                      <a:pt x="0" y="203"/>
                    </a:cubicBezTo>
                    <a:cubicBezTo>
                      <a:pt x="0" y="210"/>
                      <a:pt x="0" y="210"/>
                      <a:pt x="0" y="210"/>
                    </a:cubicBezTo>
                    <a:cubicBezTo>
                      <a:pt x="17" y="210"/>
                      <a:pt x="17" y="210"/>
                      <a:pt x="17" y="210"/>
                    </a:cubicBezTo>
                    <a:cubicBezTo>
                      <a:pt x="24" y="210"/>
                      <a:pt x="24" y="210"/>
                      <a:pt x="24" y="210"/>
                    </a:cubicBezTo>
                    <a:cubicBezTo>
                      <a:pt x="24" y="203"/>
                      <a:pt x="24" y="203"/>
                      <a:pt x="24" y="203"/>
                    </a:cubicBezTo>
                    <a:lnTo>
                      <a:pt x="17"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5" name="Freeform 300">
                <a:extLst>
                  <a:ext uri="{FF2B5EF4-FFF2-40B4-BE49-F238E27FC236}">
                    <a16:creationId xmlns:a16="http://schemas.microsoft.com/office/drawing/2014/main" id="{EB62079C-37E7-4018-BBCB-EA82E9A86A20}"/>
                  </a:ext>
                </a:extLst>
              </p:cNvPr>
              <p:cNvSpPr>
                <a:spLocks/>
              </p:cNvSpPr>
              <p:nvPr/>
            </p:nvSpPr>
            <p:spPr bwMode="auto">
              <a:xfrm>
                <a:off x="584" y="1962"/>
                <a:ext cx="91" cy="115"/>
              </a:xfrm>
              <a:custGeom>
                <a:avLst/>
                <a:gdLst>
                  <a:gd name="T0" fmla="*/ 38 w 175"/>
                  <a:gd name="T1" fmla="*/ 224 h 224"/>
                  <a:gd name="T2" fmla="*/ 1 w 175"/>
                  <a:gd name="T3" fmla="*/ 224 h 224"/>
                  <a:gd name="T4" fmla="*/ 1 w 175"/>
                  <a:gd name="T5" fmla="*/ 210 h 224"/>
                  <a:gd name="T6" fmla="*/ 135 w 175"/>
                  <a:gd name="T7" fmla="*/ 35 h 224"/>
                  <a:gd name="T8" fmla="*/ 137 w 175"/>
                  <a:gd name="T9" fmla="*/ 0 h 224"/>
                  <a:gd name="T10" fmla="*/ 175 w 175"/>
                  <a:gd name="T11" fmla="*/ 8 h 224"/>
                  <a:gd name="T12" fmla="*/ 171 w 175"/>
                  <a:gd name="T13" fmla="*/ 66 h 224"/>
                  <a:gd name="T14" fmla="*/ 157 w 175"/>
                  <a:gd name="T15" fmla="*/ 69 h 224"/>
                  <a:gd name="T16" fmla="*/ 38 w 175"/>
                  <a:gd name="T17" fmla="*/ 210 h 224"/>
                  <a:gd name="T18" fmla="*/ 38 w 175"/>
                  <a:gd name="T1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 h="224">
                    <a:moveTo>
                      <a:pt x="38" y="224"/>
                    </a:moveTo>
                    <a:cubicBezTo>
                      <a:pt x="1" y="224"/>
                      <a:pt x="1" y="224"/>
                      <a:pt x="1" y="224"/>
                    </a:cubicBezTo>
                    <a:cubicBezTo>
                      <a:pt x="1" y="210"/>
                      <a:pt x="1" y="210"/>
                      <a:pt x="1" y="210"/>
                    </a:cubicBezTo>
                    <a:cubicBezTo>
                      <a:pt x="0" y="128"/>
                      <a:pt x="57" y="56"/>
                      <a:pt x="135" y="35"/>
                    </a:cubicBezTo>
                    <a:cubicBezTo>
                      <a:pt x="137" y="0"/>
                      <a:pt x="137" y="0"/>
                      <a:pt x="137" y="0"/>
                    </a:cubicBezTo>
                    <a:cubicBezTo>
                      <a:pt x="175" y="8"/>
                      <a:pt x="175" y="8"/>
                      <a:pt x="175" y="8"/>
                    </a:cubicBezTo>
                    <a:cubicBezTo>
                      <a:pt x="171" y="66"/>
                      <a:pt x="171" y="66"/>
                      <a:pt x="171" y="66"/>
                    </a:cubicBezTo>
                    <a:cubicBezTo>
                      <a:pt x="157" y="69"/>
                      <a:pt x="157" y="69"/>
                      <a:pt x="157" y="69"/>
                    </a:cubicBezTo>
                    <a:cubicBezTo>
                      <a:pt x="88" y="81"/>
                      <a:pt x="38" y="140"/>
                      <a:pt x="38" y="210"/>
                    </a:cubicBezTo>
                    <a:lnTo>
                      <a:pt x="3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6" name="Freeform 301">
                <a:extLst>
                  <a:ext uri="{FF2B5EF4-FFF2-40B4-BE49-F238E27FC236}">
                    <a16:creationId xmlns:a16="http://schemas.microsoft.com/office/drawing/2014/main" id="{5D92DAE5-0F58-4448-93FB-A483E42B7575}"/>
                  </a:ext>
                </a:extLst>
              </p:cNvPr>
              <p:cNvSpPr>
                <a:spLocks/>
              </p:cNvSpPr>
              <p:nvPr/>
            </p:nvSpPr>
            <p:spPr bwMode="auto">
              <a:xfrm>
                <a:off x="702" y="1969"/>
                <a:ext cx="76" cy="101"/>
              </a:xfrm>
              <a:custGeom>
                <a:avLst/>
                <a:gdLst>
                  <a:gd name="T0" fmla="*/ 146 w 146"/>
                  <a:gd name="T1" fmla="*/ 195 h 195"/>
                  <a:gd name="T2" fmla="*/ 137 w 146"/>
                  <a:gd name="T3" fmla="*/ 195 h 195"/>
                  <a:gd name="T4" fmla="*/ 6 w 146"/>
                  <a:gd name="T5" fmla="*/ 40 h 195"/>
                  <a:gd name="T6" fmla="*/ 3 w 146"/>
                  <a:gd name="T7" fmla="*/ 39 h 195"/>
                  <a:gd name="T8" fmla="*/ 0 w 146"/>
                  <a:gd name="T9" fmla="*/ 0 h 195"/>
                  <a:gd name="T10" fmla="*/ 9 w 146"/>
                  <a:gd name="T11" fmla="*/ 0 h 195"/>
                  <a:gd name="T12" fmla="*/ 11 w 146"/>
                  <a:gd name="T13" fmla="*/ 32 h 195"/>
                  <a:gd name="T14" fmla="*/ 146 w 146"/>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95">
                    <a:moveTo>
                      <a:pt x="146" y="195"/>
                    </a:moveTo>
                    <a:cubicBezTo>
                      <a:pt x="137" y="195"/>
                      <a:pt x="137" y="195"/>
                      <a:pt x="137" y="195"/>
                    </a:cubicBezTo>
                    <a:cubicBezTo>
                      <a:pt x="137" y="118"/>
                      <a:pt x="82" y="53"/>
                      <a:pt x="6" y="40"/>
                    </a:cubicBezTo>
                    <a:cubicBezTo>
                      <a:pt x="3" y="39"/>
                      <a:pt x="3" y="39"/>
                      <a:pt x="3" y="39"/>
                    </a:cubicBezTo>
                    <a:cubicBezTo>
                      <a:pt x="0" y="0"/>
                      <a:pt x="0" y="0"/>
                      <a:pt x="0" y="0"/>
                    </a:cubicBezTo>
                    <a:cubicBezTo>
                      <a:pt x="9" y="0"/>
                      <a:pt x="9" y="0"/>
                      <a:pt x="9" y="0"/>
                    </a:cubicBezTo>
                    <a:cubicBezTo>
                      <a:pt x="11" y="32"/>
                      <a:pt x="11" y="32"/>
                      <a:pt x="11" y="32"/>
                    </a:cubicBezTo>
                    <a:cubicBezTo>
                      <a:pt x="89" y="47"/>
                      <a:pt x="146" y="115"/>
                      <a:pt x="146"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7" name="Freeform 302">
                <a:extLst>
                  <a:ext uri="{FF2B5EF4-FFF2-40B4-BE49-F238E27FC236}">
                    <a16:creationId xmlns:a16="http://schemas.microsoft.com/office/drawing/2014/main" id="{4F68550B-FEB7-4EF9-87C2-30E42345778E}"/>
                  </a:ext>
                </a:extLst>
              </p:cNvPr>
              <p:cNvSpPr>
                <a:spLocks/>
              </p:cNvSpPr>
              <p:nvPr/>
            </p:nvSpPr>
            <p:spPr bwMode="auto">
              <a:xfrm>
                <a:off x="699" y="1966"/>
                <a:ext cx="83" cy="107"/>
              </a:xfrm>
              <a:custGeom>
                <a:avLst/>
                <a:gdLst>
                  <a:gd name="T0" fmla="*/ 160 w 160"/>
                  <a:gd name="T1" fmla="*/ 209 h 209"/>
                  <a:gd name="T2" fmla="*/ 137 w 160"/>
                  <a:gd name="T3" fmla="*/ 209 h 209"/>
                  <a:gd name="T4" fmla="*/ 137 w 160"/>
                  <a:gd name="T5" fmla="*/ 202 h 209"/>
                  <a:gd name="T6" fmla="*/ 12 w 160"/>
                  <a:gd name="T7" fmla="*/ 54 h 209"/>
                  <a:gd name="T8" fmla="*/ 3 w 160"/>
                  <a:gd name="T9" fmla="*/ 52 h 209"/>
                  <a:gd name="T10" fmla="*/ 0 w 160"/>
                  <a:gd name="T11" fmla="*/ 1 h 209"/>
                  <a:gd name="T12" fmla="*/ 22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7" y="209"/>
                      <a:pt x="137" y="209"/>
                      <a:pt x="137" y="209"/>
                    </a:cubicBezTo>
                    <a:cubicBezTo>
                      <a:pt x="137" y="202"/>
                      <a:pt x="137" y="202"/>
                      <a:pt x="137" y="202"/>
                    </a:cubicBezTo>
                    <a:cubicBezTo>
                      <a:pt x="137" y="129"/>
                      <a:pt x="84" y="66"/>
                      <a:pt x="12" y="54"/>
                    </a:cubicBezTo>
                    <a:cubicBezTo>
                      <a:pt x="3" y="52"/>
                      <a:pt x="3" y="52"/>
                      <a:pt x="3" y="52"/>
                    </a:cubicBezTo>
                    <a:cubicBezTo>
                      <a:pt x="0" y="1"/>
                      <a:pt x="0" y="1"/>
                      <a:pt x="0" y="1"/>
                    </a:cubicBezTo>
                    <a:cubicBezTo>
                      <a:pt x="22" y="0"/>
                      <a:pt x="22" y="0"/>
                      <a:pt x="22" y="0"/>
                    </a:cubicBezTo>
                    <a:cubicBezTo>
                      <a:pt x="25" y="33"/>
                      <a:pt x="25" y="33"/>
                      <a:pt x="25" y="33"/>
                    </a:cubicBezTo>
                    <a:cubicBezTo>
                      <a:pt x="103" y="51"/>
                      <a:pt x="160" y="121"/>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8" name="Freeform 303">
                <a:extLst>
                  <a:ext uri="{FF2B5EF4-FFF2-40B4-BE49-F238E27FC236}">
                    <a16:creationId xmlns:a16="http://schemas.microsoft.com/office/drawing/2014/main" id="{1F329AD2-B72C-485A-AE49-95113F77FB22}"/>
                  </a:ext>
                </a:extLst>
              </p:cNvPr>
              <p:cNvSpPr>
                <a:spLocks/>
              </p:cNvSpPr>
              <p:nvPr/>
            </p:nvSpPr>
            <p:spPr bwMode="auto">
              <a:xfrm>
                <a:off x="698" y="1965"/>
                <a:ext cx="84" cy="108"/>
              </a:xfrm>
              <a:custGeom>
                <a:avLst/>
                <a:gdLst>
                  <a:gd name="T0" fmla="*/ 154 w 161"/>
                  <a:gd name="T1" fmla="*/ 203 h 210"/>
                  <a:gd name="T2" fmla="*/ 154 w 161"/>
                  <a:gd name="T3" fmla="*/ 196 h 210"/>
                  <a:gd name="T4" fmla="*/ 145 w 161"/>
                  <a:gd name="T5" fmla="*/ 196 h 210"/>
                  <a:gd name="T6" fmla="*/ 145 w 161"/>
                  <a:gd name="T7" fmla="*/ 203 h 210"/>
                  <a:gd name="T8" fmla="*/ 152 w 161"/>
                  <a:gd name="T9" fmla="*/ 203 h 210"/>
                  <a:gd name="T10" fmla="*/ 15 w 161"/>
                  <a:gd name="T11" fmla="*/ 41 h 210"/>
                  <a:gd name="T12" fmla="*/ 12 w 161"/>
                  <a:gd name="T13" fmla="*/ 40 h 210"/>
                  <a:gd name="T14" fmla="*/ 11 w 161"/>
                  <a:gd name="T15" fmla="*/ 47 h 210"/>
                  <a:gd name="T16" fmla="*/ 18 w 161"/>
                  <a:gd name="T17" fmla="*/ 47 h 210"/>
                  <a:gd name="T18" fmla="*/ 16 w 161"/>
                  <a:gd name="T19" fmla="*/ 15 h 210"/>
                  <a:gd name="T20" fmla="*/ 17 w 161"/>
                  <a:gd name="T21" fmla="*/ 15 h 210"/>
                  <a:gd name="T22" fmla="*/ 17 w 161"/>
                  <a:gd name="T23" fmla="*/ 8 h 210"/>
                  <a:gd name="T24" fmla="*/ 10 w 161"/>
                  <a:gd name="T25" fmla="*/ 8 h 210"/>
                  <a:gd name="T26" fmla="*/ 12 w 161"/>
                  <a:gd name="T27" fmla="*/ 46 h 210"/>
                  <a:gd name="T28" fmla="*/ 18 w 161"/>
                  <a:gd name="T29" fmla="*/ 47 h 210"/>
                  <a:gd name="T30" fmla="*/ 147 w 161"/>
                  <a:gd name="T31" fmla="*/ 203 h 210"/>
                  <a:gd name="T32" fmla="*/ 154 w 161"/>
                  <a:gd name="T33" fmla="*/ 203 h 210"/>
                  <a:gd name="T34" fmla="*/ 154 w 161"/>
                  <a:gd name="T35" fmla="*/ 196 h 210"/>
                  <a:gd name="T36" fmla="*/ 154 w 161"/>
                  <a:gd name="T37" fmla="*/ 203 h 210"/>
                  <a:gd name="T38" fmla="*/ 161 w 161"/>
                  <a:gd name="T39" fmla="*/ 203 h 210"/>
                  <a:gd name="T40" fmla="*/ 20 w 161"/>
                  <a:gd name="T41" fmla="*/ 33 h 210"/>
                  <a:gd name="T42" fmla="*/ 19 w 161"/>
                  <a:gd name="T43" fmla="*/ 40 h 210"/>
                  <a:gd name="T44" fmla="*/ 26 w 161"/>
                  <a:gd name="T45" fmla="*/ 39 h 210"/>
                  <a:gd name="T46" fmla="*/ 24 w 161"/>
                  <a:gd name="T47" fmla="*/ 0 h 210"/>
                  <a:gd name="T48" fmla="*/ 8 w 161"/>
                  <a:gd name="T49" fmla="*/ 1 h 210"/>
                  <a:gd name="T50" fmla="*/ 0 w 161"/>
                  <a:gd name="T51" fmla="*/ 2 h 210"/>
                  <a:gd name="T52" fmla="*/ 4 w 161"/>
                  <a:gd name="T53" fmla="*/ 53 h 210"/>
                  <a:gd name="T54" fmla="*/ 13 w 161"/>
                  <a:gd name="T55" fmla="*/ 55 h 210"/>
                  <a:gd name="T56" fmla="*/ 138 w 161"/>
                  <a:gd name="T57" fmla="*/ 203 h 210"/>
                  <a:gd name="T58" fmla="*/ 138 w 161"/>
                  <a:gd name="T59" fmla="*/ 210 h 210"/>
                  <a:gd name="T60" fmla="*/ 154 w 161"/>
                  <a:gd name="T61" fmla="*/ 210 h 210"/>
                  <a:gd name="T62" fmla="*/ 161 w 161"/>
                  <a:gd name="T63" fmla="*/ 210 h 210"/>
                  <a:gd name="T64" fmla="*/ 161 w 161"/>
                  <a:gd name="T65" fmla="*/ 203 h 210"/>
                  <a:gd name="T66" fmla="*/ 154 w 161"/>
                  <a:gd name="T67" fmla="*/ 2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0">
                    <a:moveTo>
                      <a:pt x="154" y="203"/>
                    </a:moveTo>
                    <a:cubicBezTo>
                      <a:pt x="154" y="196"/>
                      <a:pt x="154" y="196"/>
                      <a:pt x="154" y="196"/>
                    </a:cubicBezTo>
                    <a:cubicBezTo>
                      <a:pt x="145" y="196"/>
                      <a:pt x="145" y="196"/>
                      <a:pt x="145" y="196"/>
                    </a:cubicBezTo>
                    <a:cubicBezTo>
                      <a:pt x="145" y="203"/>
                      <a:pt x="145" y="203"/>
                      <a:pt x="145" y="203"/>
                    </a:cubicBezTo>
                    <a:cubicBezTo>
                      <a:pt x="152" y="203"/>
                      <a:pt x="152" y="203"/>
                      <a:pt x="152" y="203"/>
                    </a:cubicBezTo>
                    <a:cubicBezTo>
                      <a:pt x="152" y="123"/>
                      <a:pt x="95" y="54"/>
                      <a:pt x="15" y="41"/>
                    </a:cubicBezTo>
                    <a:cubicBezTo>
                      <a:pt x="12" y="40"/>
                      <a:pt x="12" y="40"/>
                      <a:pt x="12" y="40"/>
                    </a:cubicBezTo>
                    <a:cubicBezTo>
                      <a:pt x="11" y="47"/>
                      <a:pt x="11" y="47"/>
                      <a:pt x="11" y="47"/>
                    </a:cubicBezTo>
                    <a:cubicBezTo>
                      <a:pt x="18" y="47"/>
                      <a:pt x="18" y="47"/>
                      <a:pt x="18" y="47"/>
                    </a:cubicBezTo>
                    <a:cubicBezTo>
                      <a:pt x="16" y="15"/>
                      <a:pt x="16" y="15"/>
                      <a:pt x="16" y="15"/>
                    </a:cubicBezTo>
                    <a:cubicBezTo>
                      <a:pt x="17" y="15"/>
                      <a:pt x="17" y="15"/>
                      <a:pt x="17" y="15"/>
                    </a:cubicBezTo>
                    <a:cubicBezTo>
                      <a:pt x="17" y="8"/>
                      <a:pt x="17" y="8"/>
                      <a:pt x="17" y="8"/>
                    </a:cubicBezTo>
                    <a:cubicBezTo>
                      <a:pt x="10" y="8"/>
                      <a:pt x="10" y="8"/>
                      <a:pt x="10" y="8"/>
                    </a:cubicBezTo>
                    <a:cubicBezTo>
                      <a:pt x="12" y="46"/>
                      <a:pt x="12" y="46"/>
                      <a:pt x="12" y="46"/>
                    </a:cubicBezTo>
                    <a:cubicBezTo>
                      <a:pt x="18" y="47"/>
                      <a:pt x="18" y="47"/>
                      <a:pt x="18" y="47"/>
                    </a:cubicBezTo>
                    <a:cubicBezTo>
                      <a:pt x="93" y="62"/>
                      <a:pt x="147" y="127"/>
                      <a:pt x="147" y="203"/>
                    </a:cubicBezTo>
                    <a:cubicBezTo>
                      <a:pt x="154" y="203"/>
                      <a:pt x="154" y="203"/>
                      <a:pt x="154" y="203"/>
                    </a:cubicBezTo>
                    <a:cubicBezTo>
                      <a:pt x="154" y="196"/>
                      <a:pt x="154" y="196"/>
                      <a:pt x="154" y="196"/>
                    </a:cubicBezTo>
                    <a:cubicBezTo>
                      <a:pt x="154" y="203"/>
                      <a:pt x="154" y="203"/>
                      <a:pt x="154" y="203"/>
                    </a:cubicBezTo>
                    <a:cubicBezTo>
                      <a:pt x="161" y="203"/>
                      <a:pt x="161" y="203"/>
                      <a:pt x="161" y="203"/>
                    </a:cubicBezTo>
                    <a:cubicBezTo>
                      <a:pt x="161" y="120"/>
                      <a:pt x="102" y="49"/>
                      <a:pt x="20" y="33"/>
                    </a:cubicBezTo>
                    <a:cubicBezTo>
                      <a:pt x="19" y="40"/>
                      <a:pt x="19" y="40"/>
                      <a:pt x="19" y="40"/>
                    </a:cubicBezTo>
                    <a:cubicBezTo>
                      <a:pt x="26" y="39"/>
                      <a:pt x="26" y="39"/>
                      <a:pt x="26" y="39"/>
                    </a:cubicBezTo>
                    <a:cubicBezTo>
                      <a:pt x="24" y="0"/>
                      <a:pt x="24" y="0"/>
                      <a:pt x="24" y="0"/>
                    </a:cubicBezTo>
                    <a:cubicBezTo>
                      <a:pt x="8" y="1"/>
                      <a:pt x="8" y="1"/>
                      <a:pt x="8" y="1"/>
                    </a:cubicBezTo>
                    <a:cubicBezTo>
                      <a:pt x="0" y="2"/>
                      <a:pt x="0" y="2"/>
                      <a:pt x="0" y="2"/>
                    </a:cubicBezTo>
                    <a:cubicBezTo>
                      <a:pt x="4" y="53"/>
                      <a:pt x="4" y="53"/>
                      <a:pt x="4" y="53"/>
                    </a:cubicBezTo>
                    <a:cubicBezTo>
                      <a:pt x="13" y="55"/>
                      <a:pt x="13" y="55"/>
                      <a:pt x="13" y="55"/>
                    </a:cubicBezTo>
                    <a:cubicBezTo>
                      <a:pt x="85" y="68"/>
                      <a:pt x="138" y="130"/>
                      <a:pt x="138" y="203"/>
                    </a:cubicBezTo>
                    <a:cubicBezTo>
                      <a:pt x="138" y="210"/>
                      <a:pt x="138" y="210"/>
                      <a:pt x="138" y="210"/>
                    </a:cubicBezTo>
                    <a:cubicBezTo>
                      <a:pt x="154" y="210"/>
                      <a:pt x="154" y="210"/>
                      <a:pt x="154" y="210"/>
                    </a:cubicBezTo>
                    <a:cubicBezTo>
                      <a:pt x="161" y="210"/>
                      <a:pt x="161" y="210"/>
                      <a:pt x="161" y="210"/>
                    </a:cubicBezTo>
                    <a:cubicBezTo>
                      <a:pt x="161" y="203"/>
                      <a:pt x="161" y="203"/>
                      <a:pt x="161" y="203"/>
                    </a:cubicBezTo>
                    <a:lnTo>
                      <a:pt x="15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69" name="Freeform 304">
                <a:extLst>
                  <a:ext uri="{FF2B5EF4-FFF2-40B4-BE49-F238E27FC236}">
                    <a16:creationId xmlns:a16="http://schemas.microsoft.com/office/drawing/2014/main" id="{98A9190D-CA18-48ED-B70D-2C181DD1B1B0}"/>
                  </a:ext>
                </a:extLst>
              </p:cNvPr>
              <p:cNvSpPr>
                <a:spLocks/>
              </p:cNvSpPr>
              <p:nvPr/>
            </p:nvSpPr>
            <p:spPr bwMode="auto">
              <a:xfrm>
                <a:off x="695" y="1962"/>
                <a:ext cx="90" cy="115"/>
              </a:xfrm>
              <a:custGeom>
                <a:avLst/>
                <a:gdLst>
                  <a:gd name="T0" fmla="*/ 175 w 175"/>
                  <a:gd name="T1" fmla="*/ 224 h 224"/>
                  <a:gd name="T2" fmla="*/ 138 w 175"/>
                  <a:gd name="T3" fmla="*/ 224 h 224"/>
                  <a:gd name="T4" fmla="*/ 138 w 175"/>
                  <a:gd name="T5" fmla="*/ 210 h 224"/>
                  <a:gd name="T6" fmla="*/ 19 w 175"/>
                  <a:gd name="T7" fmla="*/ 69 h 224"/>
                  <a:gd name="T8" fmla="*/ 4 w 175"/>
                  <a:gd name="T9" fmla="*/ 66 h 224"/>
                  <a:gd name="T10" fmla="*/ 0 w 175"/>
                  <a:gd name="T11" fmla="*/ 11 h 224"/>
                  <a:gd name="T12" fmla="*/ 37 w 175"/>
                  <a:gd name="T13" fmla="*/ 0 h 224"/>
                  <a:gd name="T14" fmla="*/ 40 w 175"/>
                  <a:gd name="T15" fmla="*/ 35 h 224"/>
                  <a:gd name="T16" fmla="*/ 175 w 175"/>
                  <a:gd name="T17" fmla="*/ 203 h 224"/>
                  <a:gd name="T18" fmla="*/ 175 w 175"/>
                  <a:gd name="T19" fmla="*/ 203 h 224"/>
                  <a:gd name="T20" fmla="*/ 175 w 175"/>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224">
                    <a:moveTo>
                      <a:pt x="175" y="224"/>
                    </a:moveTo>
                    <a:cubicBezTo>
                      <a:pt x="138" y="224"/>
                      <a:pt x="138" y="224"/>
                      <a:pt x="138" y="224"/>
                    </a:cubicBezTo>
                    <a:cubicBezTo>
                      <a:pt x="138" y="210"/>
                      <a:pt x="138" y="210"/>
                      <a:pt x="138" y="210"/>
                    </a:cubicBezTo>
                    <a:cubicBezTo>
                      <a:pt x="138" y="140"/>
                      <a:pt x="88" y="81"/>
                      <a:pt x="19" y="69"/>
                    </a:cubicBezTo>
                    <a:cubicBezTo>
                      <a:pt x="4" y="66"/>
                      <a:pt x="4" y="66"/>
                      <a:pt x="4" y="66"/>
                    </a:cubicBezTo>
                    <a:cubicBezTo>
                      <a:pt x="0" y="11"/>
                      <a:pt x="0" y="11"/>
                      <a:pt x="0" y="11"/>
                    </a:cubicBezTo>
                    <a:cubicBezTo>
                      <a:pt x="37" y="0"/>
                      <a:pt x="37" y="0"/>
                      <a:pt x="37" y="0"/>
                    </a:cubicBezTo>
                    <a:cubicBezTo>
                      <a:pt x="40" y="35"/>
                      <a:pt x="40" y="35"/>
                      <a:pt x="40" y="35"/>
                    </a:cubicBezTo>
                    <a:cubicBezTo>
                      <a:pt x="117" y="55"/>
                      <a:pt x="172" y="124"/>
                      <a:pt x="175" y="203"/>
                    </a:cubicBezTo>
                    <a:cubicBezTo>
                      <a:pt x="175" y="203"/>
                      <a:pt x="175" y="203"/>
                      <a:pt x="175" y="203"/>
                    </a:cubicBezTo>
                    <a:lnTo>
                      <a:pt x="17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0" name="Freeform 305">
                <a:extLst>
                  <a:ext uri="{FF2B5EF4-FFF2-40B4-BE49-F238E27FC236}">
                    <a16:creationId xmlns:a16="http://schemas.microsoft.com/office/drawing/2014/main" id="{D794578E-49A4-4B31-830F-CA59D22905C5}"/>
                  </a:ext>
                </a:extLst>
              </p:cNvPr>
              <p:cNvSpPr>
                <a:spLocks noEditPoints="1"/>
              </p:cNvSpPr>
              <p:nvPr/>
            </p:nvSpPr>
            <p:spPr bwMode="auto">
              <a:xfrm>
                <a:off x="858" y="1838"/>
                <a:ext cx="98" cy="140"/>
              </a:xfrm>
              <a:custGeom>
                <a:avLst/>
                <a:gdLst>
                  <a:gd name="T0" fmla="*/ 95 w 191"/>
                  <a:gd name="T1" fmla="*/ 273 h 273"/>
                  <a:gd name="T2" fmla="*/ 0 w 191"/>
                  <a:gd name="T3" fmla="*/ 137 h 273"/>
                  <a:gd name="T4" fmla="*/ 95 w 191"/>
                  <a:gd name="T5" fmla="*/ 0 h 273"/>
                  <a:gd name="T6" fmla="*/ 191 w 191"/>
                  <a:gd name="T7" fmla="*/ 137 h 273"/>
                  <a:gd name="T8" fmla="*/ 95 w 191"/>
                  <a:gd name="T9" fmla="*/ 273 h 273"/>
                  <a:gd name="T10" fmla="*/ 95 w 191"/>
                  <a:gd name="T11" fmla="*/ 9 h 273"/>
                  <a:gd name="T12" fmla="*/ 9 w 191"/>
                  <a:gd name="T13" fmla="*/ 137 h 273"/>
                  <a:gd name="T14" fmla="*/ 95 w 191"/>
                  <a:gd name="T15" fmla="*/ 264 h 273"/>
                  <a:gd name="T16" fmla="*/ 182 w 191"/>
                  <a:gd name="T17" fmla="*/ 137 h 273"/>
                  <a:gd name="T18" fmla="*/ 95 w 191"/>
                  <a:gd name="T19" fmla="*/ 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3">
                    <a:moveTo>
                      <a:pt x="95" y="273"/>
                    </a:moveTo>
                    <a:cubicBezTo>
                      <a:pt x="43" y="273"/>
                      <a:pt x="0" y="212"/>
                      <a:pt x="0" y="137"/>
                    </a:cubicBezTo>
                    <a:cubicBezTo>
                      <a:pt x="0" y="45"/>
                      <a:pt x="31" y="0"/>
                      <a:pt x="95" y="0"/>
                    </a:cubicBezTo>
                    <a:cubicBezTo>
                      <a:pt x="159" y="0"/>
                      <a:pt x="191" y="45"/>
                      <a:pt x="191" y="137"/>
                    </a:cubicBezTo>
                    <a:cubicBezTo>
                      <a:pt x="191" y="212"/>
                      <a:pt x="148" y="273"/>
                      <a:pt x="95" y="273"/>
                    </a:cubicBezTo>
                    <a:close/>
                    <a:moveTo>
                      <a:pt x="95" y="9"/>
                    </a:moveTo>
                    <a:cubicBezTo>
                      <a:pt x="58" y="9"/>
                      <a:pt x="9" y="23"/>
                      <a:pt x="9" y="137"/>
                    </a:cubicBezTo>
                    <a:cubicBezTo>
                      <a:pt x="9" y="207"/>
                      <a:pt x="48" y="264"/>
                      <a:pt x="95" y="264"/>
                    </a:cubicBezTo>
                    <a:cubicBezTo>
                      <a:pt x="143" y="264"/>
                      <a:pt x="182" y="207"/>
                      <a:pt x="182" y="137"/>
                    </a:cubicBezTo>
                    <a:cubicBezTo>
                      <a:pt x="182" y="23"/>
                      <a:pt x="132" y="9"/>
                      <a:pt x="9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1" name="Freeform 306">
                <a:extLst>
                  <a:ext uri="{FF2B5EF4-FFF2-40B4-BE49-F238E27FC236}">
                    <a16:creationId xmlns:a16="http://schemas.microsoft.com/office/drawing/2014/main" id="{3C382DE4-5249-499B-B69B-B4B1E8DB99EB}"/>
                  </a:ext>
                </a:extLst>
              </p:cNvPr>
              <p:cNvSpPr>
                <a:spLocks noEditPoints="1"/>
              </p:cNvSpPr>
              <p:nvPr/>
            </p:nvSpPr>
            <p:spPr bwMode="auto">
              <a:xfrm>
                <a:off x="854" y="1834"/>
                <a:ext cx="106" cy="148"/>
              </a:xfrm>
              <a:custGeom>
                <a:avLst/>
                <a:gdLst>
                  <a:gd name="T0" fmla="*/ 102 w 205"/>
                  <a:gd name="T1" fmla="*/ 287 h 287"/>
                  <a:gd name="T2" fmla="*/ 0 w 205"/>
                  <a:gd name="T3" fmla="*/ 144 h 287"/>
                  <a:gd name="T4" fmla="*/ 102 w 205"/>
                  <a:gd name="T5" fmla="*/ 0 h 287"/>
                  <a:gd name="T6" fmla="*/ 205 w 205"/>
                  <a:gd name="T7" fmla="*/ 144 h 287"/>
                  <a:gd name="T8" fmla="*/ 102 w 205"/>
                  <a:gd name="T9" fmla="*/ 287 h 287"/>
                  <a:gd name="T10" fmla="*/ 102 w 205"/>
                  <a:gd name="T11" fmla="*/ 23 h 287"/>
                  <a:gd name="T12" fmla="*/ 23 w 205"/>
                  <a:gd name="T13" fmla="*/ 144 h 287"/>
                  <a:gd name="T14" fmla="*/ 102 w 205"/>
                  <a:gd name="T15" fmla="*/ 264 h 287"/>
                  <a:gd name="T16" fmla="*/ 182 w 205"/>
                  <a:gd name="T17" fmla="*/ 144 h 287"/>
                  <a:gd name="T18" fmla="*/ 102 w 205"/>
                  <a:gd name="T19" fmla="*/ 2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7">
                    <a:moveTo>
                      <a:pt x="102" y="287"/>
                    </a:moveTo>
                    <a:cubicBezTo>
                      <a:pt x="46" y="287"/>
                      <a:pt x="0" y="222"/>
                      <a:pt x="0" y="144"/>
                    </a:cubicBezTo>
                    <a:cubicBezTo>
                      <a:pt x="0" y="49"/>
                      <a:pt x="34" y="0"/>
                      <a:pt x="102" y="0"/>
                    </a:cubicBezTo>
                    <a:cubicBezTo>
                      <a:pt x="170" y="0"/>
                      <a:pt x="205" y="49"/>
                      <a:pt x="205" y="144"/>
                    </a:cubicBezTo>
                    <a:cubicBezTo>
                      <a:pt x="205" y="222"/>
                      <a:pt x="159" y="287"/>
                      <a:pt x="102" y="287"/>
                    </a:cubicBezTo>
                    <a:close/>
                    <a:moveTo>
                      <a:pt x="102" y="23"/>
                    </a:moveTo>
                    <a:cubicBezTo>
                      <a:pt x="65" y="23"/>
                      <a:pt x="23" y="37"/>
                      <a:pt x="23" y="144"/>
                    </a:cubicBezTo>
                    <a:cubicBezTo>
                      <a:pt x="23" y="210"/>
                      <a:pt x="58" y="264"/>
                      <a:pt x="102" y="264"/>
                    </a:cubicBezTo>
                    <a:cubicBezTo>
                      <a:pt x="146" y="264"/>
                      <a:pt x="182" y="210"/>
                      <a:pt x="182" y="144"/>
                    </a:cubicBezTo>
                    <a:cubicBezTo>
                      <a:pt x="182" y="37"/>
                      <a:pt x="139" y="23"/>
                      <a:pt x="10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2" name="Freeform 307">
                <a:extLst>
                  <a:ext uri="{FF2B5EF4-FFF2-40B4-BE49-F238E27FC236}">
                    <a16:creationId xmlns:a16="http://schemas.microsoft.com/office/drawing/2014/main" id="{363513E9-9B1C-4BE2-9EB6-5F698BD19C0E}"/>
                  </a:ext>
                </a:extLst>
              </p:cNvPr>
              <p:cNvSpPr>
                <a:spLocks noEditPoints="1"/>
              </p:cNvSpPr>
              <p:nvPr/>
            </p:nvSpPr>
            <p:spPr bwMode="auto">
              <a:xfrm>
                <a:off x="853" y="1834"/>
                <a:ext cx="107" cy="148"/>
              </a:xfrm>
              <a:custGeom>
                <a:avLst/>
                <a:gdLst>
                  <a:gd name="T0" fmla="*/ 103 w 206"/>
                  <a:gd name="T1" fmla="*/ 280 h 287"/>
                  <a:gd name="T2" fmla="*/ 103 w 206"/>
                  <a:gd name="T3" fmla="*/ 272 h 287"/>
                  <a:gd name="T4" fmla="*/ 42 w 206"/>
                  <a:gd name="T5" fmla="*/ 236 h 287"/>
                  <a:gd name="T6" fmla="*/ 15 w 206"/>
                  <a:gd name="T7" fmla="*/ 144 h 287"/>
                  <a:gd name="T8" fmla="*/ 37 w 206"/>
                  <a:gd name="T9" fmla="*/ 45 h 287"/>
                  <a:gd name="T10" fmla="*/ 103 w 206"/>
                  <a:gd name="T11" fmla="*/ 15 h 287"/>
                  <a:gd name="T12" fmla="*/ 169 w 206"/>
                  <a:gd name="T13" fmla="*/ 45 h 287"/>
                  <a:gd name="T14" fmla="*/ 191 w 206"/>
                  <a:gd name="T15" fmla="*/ 144 h 287"/>
                  <a:gd name="T16" fmla="*/ 165 w 206"/>
                  <a:gd name="T17" fmla="*/ 236 h 287"/>
                  <a:gd name="T18" fmla="*/ 103 w 206"/>
                  <a:gd name="T19" fmla="*/ 272 h 287"/>
                  <a:gd name="T20" fmla="*/ 103 w 206"/>
                  <a:gd name="T21" fmla="*/ 280 h 287"/>
                  <a:gd name="T22" fmla="*/ 103 w 206"/>
                  <a:gd name="T23" fmla="*/ 287 h 287"/>
                  <a:gd name="T24" fmla="*/ 177 w 206"/>
                  <a:gd name="T25" fmla="*/ 244 h 287"/>
                  <a:gd name="T26" fmla="*/ 206 w 206"/>
                  <a:gd name="T27" fmla="*/ 144 h 287"/>
                  <a:gd name="T28" fmla="*/ 181 w 206"/>
                  <a:gd name="T29" fmla="*/ 37 h 287"/>
                  <a:gd name="T30" fmla="*/ 103 w 206"/>
                  <a:gd name="T31" fmla="*/ 0 h 287"/>
                  <a:gd name="T32" fmla="*/ 25 w 206"/>
                  <a:gd name="T33" fmla="*/ 37 h 287"/>
                  <a:gd name="T34" fmla="*/ 0 w 206"/>
                  <a:gd name="T35" fmla="*/ 144 h 287"/>
                  <a:gd name="T36" fmla="*/ 30 w 206"/>
                  <a:gd name="T37" fmla="*/ 244 h 287"/>
                  <a:gd name="T38" fmla="*/ 103 w 206"/>
                  <a:gd name="T39" fmla="*/ 287 h 287"/>
                  <a:gd name="T40" fmla="*/ 103 w 206"/>
                  <a:gd name="T41" fmla="*/ 280 h 287"/>
                  <a:gd name="T42" fmla="*/ 103 w 206"/>
                  <a:gd name="T43" fmla="*/ 16 h 287"/>
                  <a:gd name="T44" fmla="*/ 103 w 206"/>
                  <a:gd name="T45" fmla="*/ 9 h 287"/>
                  <a:gd name="T46" fmla="*/ 72 w 206"/>
                  <a:gd name="T47" fmla="*/ 13 h 287"/>
                  <a:gd name="T48" fmla="*/ 28 w 206"/>
                  <a:gd name="T49" fmla="*/ 50 h 287"/>
                  <a:gd name="T50" fmla="*/ 9 w 206"/>
                  <a:gd name="T51" fmla="*/ 144 h 287"/>
                  <a:gd name="T52" fmla="*/ 36 w 206"/>
                  <a:gd name="T53" fmla="*/ 238 h 287"/>
                  <a:gd name="T54" fmla="*/ 103 w 206"/>
                  <a:gd name="T55" fmla="*/ 278 h 287"/>
                  <a:gd name="T56" fmla="*/ 170 w 206"/>
                  <a:gd name="T57" fmla="*/ 238 h 287"/>
                  <a:gd name="T58" fmla="*/ 197 w 206"/>
                  <a:gd name="T59" fmla="*/ 144 h 287"/>
                  <a:gd name="T60" fmla="*/ 166 w 206"/>
                  <a:gd name="T61" fmla="*/ 32 h 287"/>
                  <a:gd name="T62" fmla="*/ 135 w 206"/>
                  <a:gd name="T63" fmla="*/ 13 h 287"/>
                  <a:gd name="T64" fmla="*/ 103 w 206"/>
                  <a:gd name="T65" fmla="*/ 9 h 287"/>
                  <a:gd name="T66" fmla="*/ 103 w 206"/>
                  <a:gd name="T67" fmla="*/ 16 h 287"/>
                  <a:gd name="T68" fmla="*/ 103 w 206"/>
                  <a:gd name="T69" fmla="*/ 24 h 287"/>
                  <a:gd name="T70" fmla="*/ 130 w 206"/>
                  <a:gd name="T71" fmla="*/ 27 h 287"/>
                  <a:gd name="T72" fmla="*/ 166 w 206"/>
                  <a:gd name="T73" fmla="*/ 57 h 287"/>
                  <a:gd name="T74" fmla="*/ 182 w 206"/>
                  <a:gd name="T75" fmla="*/ 144 h 287"/>
                  <a:gd name="T76" fmla="*/ 158 w 206"/>
                  <a:gd name="T77" fmla="*/ 229 h 287"/>
                  <a:gd name="T78" fmla="*/ 103 w 206"/>
                  <a:gd name="T79" fmla="*/ 263 h 287"/>
                  <a:gd name="T80" fmla="*/ 48 w 206"/>
                  <a:gd name="T81" fmla="*/ 229 h 287"/>
                  <a:gd name="T82" fmla="*/ 24 w 206"/>
                  <a:gd name="T83" fmla="*/ 144 h 287"/>
                  <a:gd name="T84" fmla="*/ 51 w 206"/>
                  <a:gd name="T85" fmla="*/ 42 h 287"/>
                  <a:gd name="T86" fmla="*/ 76 w 206"/>
                  <a:gd name="T87" fmla="*/ 27 h 287"/>
                  <a:gd name="T88" fmla="*/ 103 w 206"/>
                  <a:gd name="T89" fmla="*/ 24 h 287"/>
                  <a:gd name="T90" fmla="*/ 103 w 206"/>
                  <a:gd name="T91" fmla="*/ 1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6" h="287">
                    <a:moveTo>
                      <a:pt x="103" y="280"/>
                    </a:moveTo>
                    <a:cubicBezTo>
                      <a:pt x="103" y="272"/>
                      <a:pt x="103" y="272"/>
                      <a:pt x="103" y="272"/>
                    </a:cubicBezTo>
                    <a:cubicBezTo>
                      <a:pt x="80" y="272"/>
                      <a:pt x="58" y="259"/>
                      <a:pt x="42" y="236"/>
                    </a:cubicBezTo>
                    <a:cubicBezTo>
                      <a:pt x="25" y="212"/>
                      <a:pt x="15" y="180"/>
                      <a:pt x="15" y="144"/>
                    </a:cubicBezTo>
                    <a:cubicBezTo>
                      <a:pt x="15" y="99"/>
                      <a:pt x="23" y="66"/>
                      <a:pt x="37" y="45"/>
                    </a:cubicBezTo>
                    <a:cubicBezTo>
                      <a:pt x="52" y="25"/>
                      <a:pt x="73" y="15"/>
                      <a:pt x="103" y="15"/>
                    </a:cubicBezTo>
                    <a:cubicBezTo>
                      <a:pt x="134" y="15"/>
                      <a:pt x="154" y="25"/>
                      <a:pt x="169" y="45"/>
                    </a:cubicBezTo>
                    <a:cubicBezTo>
                      <a:pt x="184" y="66"/>
                      <a:pt x="191" y="99"/>
                      <a:pt x="191" y="144"/>
                    </a:cubicBezTo>
                    <a:cubicBezTo>
                      <a:pt x="191" y="180"/>
                      <a:pt x="181" y="212"/>
                      <a:pt x="165" y="236"/>
                    </a:cubicBezTo>
                    <a:cubicBezTo>
                      <a:pt x="148" y="259"/>
                      <a:pt x="127" y="272"/>
                      <a:pt x="103" y="272"/>
                    </a:cubicBezTo>
                    <a:cubicBezTo>
                      <a:pt x="103" y="280"/>
                      <a:pt x="103" y="280"/>
                      <a:pt x="103" y="280"/>
                    </a:cubicBezTo>
                    <a:cubicBezTo>
                      <a:pt x="103" y="287"/>
                      <a:pt x="103" y="287"/>
                      <a:pt x="103" y="287"/>
                    </a:cubicBezTo>
                    <a:cubicBezTo>
                      <a:pt x="133" y="287"/>
                      <a:pt x="159" y="270"/>
                      <a:pt x="177" y="244"/>
                    </a:cubicBezTo>
                    <a:cubicBezTo>
                      <a:pt x="195" y="218"/>
                      <a:pt x="206" y="182"/>
                      <a:pt x="206" y="144"/>
                    </a:cubicBezTo>
                    <a:cubicBezTo>
                      <a:pt x="206" y="97"/>
                      <a:pt x="198" y="61"/>
                      <a:pt x="181" y="37"/>
                    </a:cubicBezTo>
                    <a:cubicBezTo>
                      <a:pt x="164" y="12"/>
                      <a:pt x="137" y="0"/>
                      <a:pt x="103" y="0"/>
                    </a:cubicBezTo>
                    <a:cubicBezTo>
                      <a:pt x="69" y="0"/>
                      <a:pt x="43" y="12"/>
                      <a:pt x="25" y="37"/>
                    </a:cubicBezTo>
                    <a:cubicBezTo>
                      <a:pt x="8" y="61"/>
                      <a:pt x="0" y="97"/>
                      <a:pt x="0" y="144"/>
                    </a:cubicBezTo>
                    <a:cubicBezTo>
                      <a:pt x="0" y="182"/>
                      <a:pt x="11" y="218"/>
                      <a:pt x="30" y="244"/>
                    </a:cubicBezTo>
                    <a:cubicBezTo>
                      <a:pt x="48" y="270"/>
                      <a:pt x="74" y="287"/>
                      <a:pt x="103" y="287"/>
                    </a:cubicBezTo>
                    <a:lnTo>
                      <a:pt x="103" y="280"/>
                    </a:lnTo>
                    <a:close/>
                    <a:moveTo>
                      <a:pt x="103" y="16"/>
                    </a:moveTo>
                    <a:cubicBezTo>
                      <a:pt x="103" y="9"/>
                      <a:pt x="103" y="9"/>
                      <a:pt x="103" y="9"/>
                    </a:cubicBezTo>
                    <a:cubicBezTo>
                      <a:pt x="94" y="9"/>
                      <a:pt x="83" y="10"/>
                      <a:pt x="72" y="13"/>
                    </a:cubicBezTo>
                    <a:cubicBezTo>
                      <a:pt x="56" y="18"/>
                      <a:pt x="39" y="29"/>
                      <a:pt x="28" y="50"/>
                    </a:cubicBezTo>
                    <a:cubicBezTo>
                      <a:pt x="16" y="70"/>
                      <a:pt x="9" y="100"/>
                      <a:pt x="9" y="144"/>
                    </a:cubicBezTo>
                    <a:cubicBezTo>
                      <a:pt x="9" y="180"/>
                      <a:pt x="19" y="213"/>
                      <a:pt x="36" y="238"/>
                    </a:cubicBezTo>
                    <a:cubicBezTo>
                      <a:pt x="53" y="262"/>
                      <a:pt x="76" y="278"/>
                      <a:pt x="103" y="278"/>
                    </a:cubicBezTo>
                    <a:cubicBezTo>
                      <a:pt x="130" y="278"/>
                      <a:pt x="154" y="262"/>
                      <a:pt x="170" y="238"/>
                    </a:cubicBezTo>
                    <a:cubicBezTo>
                      <a:pt x="187" y="213"/>
                      <a:pt x="197" y="180"/>
                      <a:pt x="197" y="144"/>
                    </a:cubicBezTo>
                    <a:cubicBezTo>
                      <a:pt x="197" y="86"/>
                      <a:pt x="185" y="52"/>
                      <a:pt x="166" y="32"/>
                    </a:cubicBezTo>
                    <a:cubicBezTo>
                      <a:pt x="156" y="22"/>
                      <a:pt x="145" y="17"/>
                      <a:pt x="135" y="13"/>
                    </a:cubicBezTo>
                    <a:cubicBezTo>
                      <a:pt x="124" y="10"/>
                      <a:pt x="113" y="9"/>
                      <a:pt x="103" y="9"/>
                    </a:cubicBezTo>
                    <a:cubicBezTo>
                      <a:pt x="103" y="16"/>
                      <a:pt x="103" y="16"/>
                      <a:pt x="103" y="16"/>
                    </a:cubicBezTo>
                    <a:cubicBezTo>
                      <a:pt x="103" y="24"/>
                      <a:pt x="103" y="24"/>
                      <a:pt x="103" y="24"/>
                    </a:cubicBezTo>
                    <a:cubicBezTo>
                      <a:pt x="112" y="24"/>
                      <a:pt x="121" y="25"/>
                      <a:pt x="130" y="27"/>
                    </a:cubicBezTo>
                    <a:cubicBezTo>
                      <a:pt x="144" y="31"/>
                      <a:pt x="156" y="39"/>
                      <a:pt x="166" y="57"/>
                    </a:cubicBezTo>
                    <a:cubicBezTo>
                      <a:pt x="175" y="74"/>
                      <a:pt x="182" y="102"/>
                      <a:pt x="182" y="144"/>
                    </a:cubicBezTo>
                    <a:cubicBezTo>
                      <a:pt x="182" y="177"/>
                      <a:pt x="173" y="208"/>
                      <a:pt x="158" y="229"/>
                    </a:cubicBezTo>
                    <a:cubicBezTo>
                      <a:pt x="143" y="251"/>
                      <a:pt x="124" y="263"/>
                      <a:pt x="103" y="263"/>
                    </a:cubicBezTo>
                    <a:cubicBezTo>
                      <a:pt x="82" y="263"/>
                      <a:pt x="63" y="251"/>
                      <a:pt x="48" y="229"/>
                    </a:cubicBezTo>
                    <a:cubicBezTo>
                      <a:pt x="33" y="208"/>
                      <a:pt x="24" y="177"/>
                      <a:pt x="24" y="144"/>
                    </a:cubicBezTo>
                    <a:cubicBezTo>
                      <a:pt x="24" y="88"/>
                      <a:pt x="36" y="58"/>
                      <a:pt x="51" y="42"/>
                    </a:cubicBezTo>
                    <a:cubicBezTo>
                      <a:pt x="59" y="35"/>
                      <a:pt x="67" y="30"/>
                      <a:pt x="76" y="27"/>
                    </a:cubicBezTo>
                    <a:cubicBezTo>
                      <a:pt x="85" y="25"/>
                      <a:pt x="94" y="24"/>
                      <a:pt x="103" y="24"/>
                    </a:cubicBezTo>
                    <a:lnTo>
                      <a:pt x="10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3" name="Freeform 308">
                <a:extLst>
                  <a:ext uri="{FF2B5EF4-FFF2-40B4-BE49-F238E27FC236}">
                    <a16:creationId xmlns:a16="http://schemas.microsoft.com/office/drawing/2014/main" id="{6717F03F-34F5-46A1-AAB2-9312CE42FA57}"/>
                  </a:ext>
                </a:extLst>
              </p:cNvPr>
              <p:cNvSpPr>
                <a:spLocks noEditPoints="1"/>
              </p:cNvSpPr>
              <p:nvPr/>
            </p:nvSpPr>
            <p:spPr bwMode="auto">
              <a:xfrm>
                <a:off x="850" y="1831"/>
                <a:ext cx="114" cy="154"/>
              </a:xfrm>
              <a:custGeom>
                <a:avLst/>
                <a:gdLst>
                  <a:gd name="T0" fmla="*/ 117 w 220"/>
                  <a:gd name="T1" fmla="*/ 301 h 301"/>
                  <a:gd name="T2" fmla="*/ 103 w 220"/>
                  <a:gd name="T3" fmla="*/ 301 h 301"/>
                  <a:gd name="T4" fmla="*/ 31 w 220"/>
                  <a:gd name="T5" fmla="*/ 255 h 301"/>
                  <a:gd name="T6" fmla="*/ 0 w 220"/>
                  <a:gd name="T7" fmla="*/ 151 h 301"/>
                  <a:gd name="T8" fmla="*/ 27 w 220"/>
                  <a:gd name="T9" fmla="*/ 40 h 301"/>
                  <a:gd name="T10" fmla="*/ 110 w 220"/>
                  <a:gd name="T11" fmla="*/ 0 h 301"/>
                  <a:gd name="T12" fmla="*/ 111 w 220"/>
                  <a:gd name="T13" fmla="*/ 0 h 301"/>
                  <a:gd name="T14" fmla="*/ 194 w 220"/>
                  <a:gd name="T15" fmla="*/ 40 h 301"/>
                  <a:gd name="T16" fmla="*/ 220 w 220"/>
                  <a:gd name="T17" fmla="*/ 151 h 301"/>
                  <a:gd name="T18" fmla="*/ 189 w 220"/>
                  <a:gd name="T19" fmla="*/ 255 h 301"/>
                  <a:gd name="T20" fmla="*/ 117 w 220"/>
                  <a:gd name="T21" fmla="*/ 301 h 301"/>
                  <a:gd name="T22" fmla="*/ 110 w 220"/>
                  <a:gd name="T23" fmla="*/ 263 h 301"/>
                  <a:gd name="T24" fmla="*/ 110 w 220"/>
                  <a:gd name="T25" fmla="*/ 263 h 301"/>
                  <a:gd name="T26" fmla="*/ 160 w 220"/>
                  <a:gd name="T27" fmla="*/ 232 h 301"/>
                  <a:gd name="T28" fmla="*/ 182 w 220"/>
                  <a:gd name="T29" fmla="*/ 151 h 301"/>
                  <a:gd name="T30" fmla="*/ 167 w 220"/>
                  <a:gd name="T31" fmla="*/ 67 h 301"/>
                  <a:gd name="T32" fmla="*/ 135 w 220"/>
                  <a:gd name="T33" fmla="*/ 41 h 301"/>
                  <a:gd name="T34" fmla="*/ 85 w 220"/>
                  <a:gd name="T35" fmla="*/ 41 h 301"/>
                  <a:gd name="T36" fmla="*/ 63 w 220"/>
                  <a:gd name="T37" fmla="*/ 54 h 301"/>
                  <a:gd name="T38" fmla="*/ 38 w 220"/>
                  <a:gd name="T39" fmla="*/ 151 h 301"/>
                  <a:gd name="T40" fmla="*/ 61 w 220"/>
                  <a:gd name="T41" fmla="*/ 232 h 301"/>
                  <a:gd name="T42" fmla="*/ 110 w 220"/>
                  <a:gd name="T43" fmla="*/ 26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301">
                    <a:moveTo>
                      <a:pt x="117" y="301"/>
                    </a:moveTo>
                    <a:cubicBezTo>
                      <a:pt x="103" y="301"/>
                      <a:pt x="103" y="301"/>
                      <a:pt x="103" y="301"/>
                    </a:cubicBezTo>
                    <a:cubicBezTo>
                      <a:pt x="76" y="298"/>
                      <a:pt x="50" y="282"/>
                      <a:pt x="31" y="255"/>
                    </a:cubicBezTo>
                    <a:cubicBezTo>
                      <a:pt x="11" y="227"/>
                      <a:pt x="0" y="190"/>
                      <a:pt x="0" y="151"/>
                    </a:cubicBezTo>
                    <a:cubicBezTo>
                      <a:pt x="0" y="101"/>
                      <a:pt x="9" y="65"/>
                      <a:pt x="27" y="40"/>
                    </a:cubicBezTo>
                    <a:cubicBezTo>
                      <a:pt x="45" y="14"/>
                      <a:pt x="73" y="0"/>
                      <a:pt x="110" y="0"/>
                    </a:cubicBezTo>
                    <a:cubicBezTo>
                      <a:pt x="110" y="0"/>
                      <a:pt x="110" y="0"/>
                      <a:pt x="111" y="0"/>
                    </a:cubicBezTo>
                    <a:cubicBezTo>
                      <a:pt x="147" y="0"/>
                      <a:pt x="176" y="14"/>
                      <a:pt x="194" y="40"/>
                    </a:cubicBezTo>
                    <a:cubicBezTo>
                      <a:pt x="211" y="65"/>
                      <a:pt x="220" y="101"/>
                      <a:pt x="220" y="151"/>
                    </a:cubicBezTo>
                    <a:cubicBezTo>
                      <a:pt x="220" y="190"/>
                      <a:pt x="209" y="227"/>
                      <a:pt x="189" y="255"/>
                    </a:cubicBezTo>
                    <a:cubicBezTo>
                      <a:pt x="170" y="282"/>
                      <a:pt x="145" y="298"/>
                      <a:pt x="117" y="301"/>
                    </a:cubicBezTo>
                    <a:close/>
                    <a:moveTo>
                      <a:pt x="110" y="263"/>
                    </a:moveTo>
                    <a:cubicBezTo>
                      <a:pt x="110" y="263"/>
                      <a:pt x="110" y="263"/>
                      <a:pt x="110" y="263"/>
                    </a:cubicBezTo>
                    <a:cubicBezTo>
                      <a:pt x="128" y="263"/>
                      <a:pt x="146" y="252"/>
                      <a:pt x="160" y="232"/>
                    </a:cubicBezTo>
                    <a:cubicBezTo>
                      <a:pt x="174" y="211"/>
                      <a:pt x="182" y="181"/>
                      <a:pt x="182" y="151"/>
                    </a:cubicBezTo>
                    <a:cubicBezTo>
                      <a:pt x="182" y="114"/>
                      <a:pt x="177" y="86"/>
                      <a:pt x="167" y="67"/>
                    </a:cubicBezTo>
                    <a:cubicBezTo>
                      <a:pt x="159" y="53"/>
                      <a:pt x="149" y="45"/>
                      <a:pt x="135" y="41"/>
                    </a:cubicBezTo>
                    <a:cubicBezTo>
                      <a:pt x="121" y="37"/>
                      <a:pt x="99" y="37"/>
                      <a:pt x="85" y="41"/>
                    </a:cubicBezTo>
                    <a:cubicBezTo>
                      <a:pt x="77" y="44"/>
                      <a:pt x="69" y="48"/>
                      <a:pt x="63" y="54"/>
                    </a:cubicBezTo>
                    <a:cubicBezTo>
                      <a:pt x="47" y="71"/>
                      <a:pt x="38" y="104"/>
                      <a:pt x="38" y="151"/>
                    </a:cubicBezTo>
                    <a:cubicBezTo>
                      <a:pt x="38" y="181"/>
                      <a:pt x="46" y="211"/>
                      <a:pt x="61" y="232"/>
                    </a:cubicBezTo>
                    <a:cubicBezTo>
                      <a:pt x="75" y="252"/>
                      <a:pt x="92" y="263"/>
                      <a:pt x="11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4" name="Freeform 309">
                <a:extLst>
                  <a:ext uri="{FF2B5EF4-FFF2-40B4-BE49-F238E27FC236}">
                    <a16:creationId xmlns:a16="http://schemas.microsoft.com/office/drawing/2014/main" id="{900C542C-6556-4067-83FB-6B131B9D8463}"/>
                  </a:ext>
                </a:extLst>
              </p:cNvPr>
              <p:cNvSpPr>
                <a:spLocks/>
              </p:cNvSpPr>
              <p:nvPr/>
            </p:nvSpPr>
            <p:spPr bwMode="auto">
              <a:xfrm>
                <a:off x="814" y="1969"/>
                <a:ext cx="75" cy="101"/>
              </a:xfrm>
              <a:custGeom>
                <a:avLst/>
                <a:gdLst>
                  <a:gd name="T0" fmla="*/ 9 w 145"/>
                  <a:gd name="T1" fmla="*/ 195 h 195"/>
                  <a:gd name="T2" fmla="*/ 0 w 145"/>
                  <a:gd name="T3" fmla="*/ 195 h 195"/>
                  <a:gd name="T4" fmla="*/ 134 w 145"/>
                  <a:gd name="T5" fmla="*/ 32 h 195"/>
                  <a:gd name="T6" fmla="*/ 136 w 145"/>
                  <a:gd name="T7" fmla="*/ 0 h 195"/>
                  <a:gd name="T8" fmla="*/ 145 w 145"/>
                  <a:gd name="T9" fmla="*/ 0 h 195"/>
                  <a:gd name="T10" fmla="*/ 143 w 145"/>
                  <a:gd name="T11" fmla="*/ 39 h 195"/>
                  <a:gd name="T12" fmla="*/ 139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5"/>
                      <a:pt x="56" y="47"/>
                      <a:pt x="134" y="32"/>
                    </a:cubicBezTo>
                    <a:cubicBezTo>
                      <a:pt x="136" y="0"/>
                      <a:pt x="136" y="0"/>
                      <a:pt x="136" y="0"/>
                    </a:cubicBezTo>
                    <a:cubicBezTo>
                      <a:pt x="145" y="0"/>
                      <a:pt x="145" y="0"/>
                      <a:pt x="145" y="0"/>
                    </a:cubicBezTo>
                    <a:cubicBezTo>
                      <a:pt x="143" y="39"/>
                      <a:pt x="143" y="39"/>
                      <a:pt x="143" y="39"/>
                    </a:cubicBezTo>
                    <a:cubicBezTo>
                      <a:pt x="139" y="40"/>
                      <a:pt x="139" y="40"/>
                      <a:pt x="139" y="40"/>
                    </a:cubicBezTo>
                    <a:cubicBezTo>
                      <a:pt x="64" y="53"/>
                      <a:pt x="9" y="118"/>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5" name="Freeform 310">
                <a:extLst>
                  <a:ext uri="{FF2B5EF4-FFF2-40B4-BE49-F238E27FC236}">
                    <a16:creationId xmlns:a16="http://schemas.microsoft.com/office/drawing/2014/main" id="{3FD2E9AA-FA59-464C-8292-478EA6B67007}"/>
                  </a:ext>
                </a:extLst>
              </p:cNvPr>
              <p:cNvSpPr>
                <a:spLocks/>
              </p:cNvSpPr>
              <p:nvPr/>
            </p:nvSpPr>
            <p:spPr bwMode="auto">
              <a:xfrm>
                <a:off x="810" y="1966"/>
                <a:ext cx="82" cy="107"/>
              </a:xfrm>
              <a:custGeom>
                <a:avLst/>
                <a:gdLst>
                  <a:gd name="T0" fmla="*/ 23 w 159"/>
                  <a:gd name="T1" fmla="*/ 209 h 209"/>
                  <a:gd name="T2" fmla="*/ 0 w 159"/>
                  <a:gd name="T3" fmla="*/ 209 h 209"/>
                  <a:gd name="T4" fmla="*/ 0 w 159"/>
                  <a:gd name="T5" fmla="*/ 202 h 209"/>
                  <a:gd name="T6" fmla="*/ 135 w 159"/>
                  <a:gd name="T7" fmla="*/ 33 h 209"/>
                  <a:gd name="T8" fmla="*/ 136 w 159"/>
                  <a:gd name="T9" fmla="*/ 0 h 209"/>
                  <a:gd name="T10" fmla="*/ 159 w 159"/>
                  <a:gd name="T11" fmla="*/ 1 h 209"/>
                  <a:gd name="T12" fmla="*/ 156 w 159"/>
                  <a:gd name="T13" fmla="*/ 52 h 209"/>
                  <a:gd name="T14" fmla="*/ 147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1"/>
                      <a:pt x="56" y="51"/>
                      <a:pt x="135" y="33"/>
                    </a:cubicBezTo>
                    <a:cubicBezTo>
                      <a:pt x="136" y="0"/>
                      <a:pt x="136" y="0"/>
                      <a:pt x="136" y="0"/>
                    </a:cubicBezTo>
                    <a:cubicBezTo>
                      <a:pt x="159" y="1"/>
                      <a:pt x="159" y="1"/>
                      <a:pt x="159" y="1"/>
                    </a:cubicBezTo>
                    <a:cubicBezTo>
                      <a:pt x="156" y="52"/>
                      <a:pt x="156" y="52"/>
                      <a:pt x="156" y="52"/>
                    </a:cubicBezTo>
                    <a:cubicBezTo>
                      <a:pt x="147" y="54"/>
                      <a:pt x="147" y="54"/>
                      <a:pt x="147" y="54"/>
                    </a:cubicBezTo>
                    <a:cubicBezTo>
                      <a:pt x="75" y="66"/>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6" name="Freeform 311">
                <a:extLst>
                  <a:ext uri="{FF2B5EF4-FFF2-40B4-BE49-F238E27FC236}">
                    <a16:creationId xmlns:a16="http://schemas.microsoft.com/office/drawing/2014/main" id="{96603EB5-5211-46DC-BB97-4C10BCB261F8}"/>
                  </a:ext>
                </a:extLst>
              </p:cNvPr>
              <p:cNvSpPr>
                <a:spLocks/>
              </p:cNvSpPr>
              <p:nvPr/>
            </p:nvSpPr>
            <p:spPr bwMode="auto">
              <a:xfrm>
                <a:off x="810" y="1965"/>
                <a:ext cx="82" cy="108"/>
              </a:xfrm>
              <a:custGeom>
                <a:avLst/>
                <a:gdLst>
                  <a:gd name="T0" fmla="*/ 16 w 159"/>
                  <a:gd name="T1" fmla="*/ 203 h 210"/>
                  <a:gd name="T2" fmla="*/ 16 w 159"/>
                  <a:gd name="T3" fmla="*/ 196 h 210"/>
                  <a:gd name="T4" fmla="*/ 7 w 159"/>
                  <a:gd name="T5" fmla="*/ 196 h 210"/>
                  <a:gd name="T6" fmla="*/ 7 w 159"/>
                  <a:gd name="T7" fmla="*/ 203 h 210"/>
                  <a:gd name="T8" fmla="*/ 14 w 159"/>
                  <a:gd name="T9" fmla="*/ 203 h 210"/>
                  <a:gd name="T10" fmla="*/ 143 w 159"/>
                  <a:gd name="T11" fmla="*/ 47 h 210"/>
                  <a:gd name="T12" fmla="*/ 148 w 159"/>
                  <a:gd name="T13" fmla="*/ 46 h 210"/>
                  <a:gd name="T14" fmla="*/ 150 w 159"/>
                  <a:gd name="T15" fmla="*/ 16 h 210"/>
                  <a:gd name="T16" fmla="*/ 151 w 159"/>
                  <a:gd name="T17" fmla="*/ 16 h 210"/>
                  <a:gd name="T18" fmla="*/ 152 w 159"/>
                  <a:gd name="T19" fmla="*/ 8 h 210"/>
                  <a:gd name="T20" fmla="*/ 144 w 159"/>
                  <a:gd name="T21" fmla="*/ 8 h 210"/>
                  <a:gd name="T22" fmla="*/ 142 w 159"/>
                  <a:gd name="T23" fmla="*/ 47 h 210"/>
                  <a:gd name="T24" fmla="*/ 150 w 159"/>
                  <a:gd name="T25" fmla="*/ 47 h 210"/>
                  <a:gd name="T26" fmla="*/ 148 w 159"/>
                  <a:gd name="T27" fmla="*/ 40 h 210"/>
                  <a:gd name="T28" fmla="*/ 145 w 159"/>
                  <a:gd name="T29" fmla="*/ 41 h 210"/>
                  <a:gd name="T30" fmla="*/ 8 w 159"/>
                  <a:gd name="T31" fmla="*/ 203 h 210"/>
                  <a:gd name="T32" fmla="*/ 16 w 159"/>
                  <a:gd name="T33" fmla="*/ 203 h 210"/>
                  <a:gd name="T34" fmla="*/ 16 w 159"/>
                  <a:gd name="T35" fmla="*/ 196 h 210"/>
                  <a:gd name="T36" fmla="*/ 16 w 159"/>
                  <a:gd name="T37" fmla="*/ 203 h 210"/>
                  <a:gd name="T38" fmla="*/ 23 w 159"/>
                  <a:gd name="T39" fmla="*/ 203 h 210"/>
                  <a:gd name="T40" fmla="*/ 148 w 159"/>
                  <a:gd name="T41" fmla="*/ 55 h 210"/>
                  <a:gd name="T42" fmla="*/ 151 w 159"/>
                  <a:gd name="T43" fmla="*/ 54 h 210"/>
                  <a:gd name="T44" fmla="*/ 157 w 159"/>
                  <a:gd name="T45" fmla="*/ 53 h 210"/>
                  <a:gd name="T46" fmla="*/ 159 w 159"/>
                  <a:gd name="T47" fmla="*/ 1 h 210"/>
                  <a:gd name="T48" fmla="*/ 143 w 159"/>
                  <a:gd name="T49" fmla="*/ 1 h 210"/>
                  <a:gd name="T50" fmla="*/ 136 w 159"/>
                  <a:gd name="T51" fmla="*/ 0 h 210"/>
                  <a:gd name="T52" fmla="*/ 134 w 159"/>
                  <a:gd name="T53" fmla="*/ 39 h 210"/>
                  <a:gd name="T54" fmla="*/ 141 w 159"/>
                  <a:gd name="T55" fmla="*/ 40 h 210"/>
                  <a:gd name="T56" fmla="*/ 140 w 159"/>
                  <a:gd name="T57" fmla="*/ 33 h 210"/>
                  <a:gd name="T58" fmla="*/ 0 w 159"/>
                  <a:gd name="T59" fmla="*/ 203 h 210"/>
                  <a:gd name="T60" fmla="*/ 0 w 159"/>
                  <a:gd name="T61" fmla="*/ 210 h 210"/>
                  <a:gd name="T62" fmla="*/ 16 w 159"/>
                  <a:gd name="T63" fmla="*/ 210 h 210"/>
                  <a:gd name="T64" fmla="*/ 23 w 159"/>
                  <a:gd name="T65" fmla="*/ 210 h 210"/>
                  <a:gd name="T66" fmla="*/ 23 w 159"/>
                  <a:gd name="T67" fmla="*/ 203 h 210"/>
                  <a:gd name="T68" fmla="*/ 16 w 159"/>
                  <a:gd name="T69" fmla="*/ 2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210">
                    <a:moveTo>
                      <a:pt x="16" y="203"/>
                    </a:moveTo>
                    <a:cubicBezTo>
                      <a:pt x="16" y="196"/>
                      <a:pt x="16" y="196"/>
                      <a:pt x="16" y="196"/>
                    </a:cubicBezTo>
                    <a:cubicBezTo>
                      <a:pt x="7" y="196"/>
                      <a:pt x="7" y="196"/>
                      <a:pt x="7" y="196"/>
                    </a:cubicBezTo>
                    <a:cubicBezTo>
                      <a:pt x="7" y="203"/>
                      <a:pt x="7" y="203"/>
                      <a:pt x="7" y="203"/>
                    </a:cubicBezTo>
                    <a:cubicBezTo>
                      <a:pt x="14" y="203"/>
                      <a:pt x="14" y="203"/>
                      <a:pt x="14" y="203"/>
                    </a:cubicBezTo>
                    <a:cubicBezTo>
                      <a:pt x="14" y="127"/>
                      <a:pt x="68" y="62"/>
                      <a:pt x="143" y="47"/>
                    </a:cubicBezTo>
                    <a:cubicBezTo>
                      <a:pt x="148" y="46"/>
                      <a:pt x="148" y="46"/>
                      <a:pt x="148" y="46"/>
                    </a:cubicBezTo>
                    <a:cubicBezTo>
                      <a:pt x="150" y="16"/>
                      <a:pt x="150" y="16"/>
                      <a:pt x="150" y="16"/>
                    </a:cubicBezTo>
                    <a:cubicBezTo>
                      <a:pt x="151" y="16"/>
                      <a:pt x="151" y="16"/>
                      <a:pt x="151" y="16"/>
                    </a:cubicBezTo>
                    <a:cubicBezTo>
                      <a:pt x="152" y="8"/>
                      <a:pt x="152" y="8"/>
                      <a:pt x="152" y="8"/>
                    </a:cubicBezTo>
                    <a:cubicBezTo>
                      <a:pt x="144" y="8"/>
                      <a:pt x="144" y="8"/>
                      <a:pt x="144" y="8"/>
                    </a:cubicBezTo>
                    <a:cubicBezTo>
                      <a:pt x="142" y="47"/>
                      <a:pt x="142" y="47"/>
                      <a:pt x="142" y="47"/>
                    </a:cubicBezTo>
                    <a:cubicBezTo>
                      <a:pt x="150" y="47"/>
                      <a:pt x="150" y="47"/>
                      <a:pt x="150" y="47"/>
                    </a:cubicBezTo>
                    <a:cubicBezTo>
                      <a:pt x="148" y="40"/>
                      <a:pt x="148" y="40"/>
                      <a:pt x="148" y="40"/>
                    </a:cubicBezTo>
                    <a:cubicBezTo>
                      <a:pt x="145" y="41"/>
                      <a:pt x="145" y="41"/>
                      <a:pt x="145" y="41"/>
                    </a:cubicBezTo>
                    <a:cubicBezTo>
                      <a:pt x="66" y="54"/>
                      <a:pt x="8" y="123"/>
                      <a:pt x="8" y="203"/>
                    </a:cubicBezTo>
                    <a:cubicBezTo>
                      <a:pt x="16" y="203"/>
                      <a:pt x="16" y="203"/>
                      <a:pt x="16" y="203"/>
                    </a:cubicBezTo>
                    <a:cubicBezTo>
                      <a:pt x="16" y="196"/>
                      <a:pt x="16" y="196"/>
                      <a:pt x="16" y="196"/>
                    </a:cubicBezTo>
                    <a:cubicBezTo>
                      <a:pt x="16" y="203"/>
                      <a:pt x="16" y="203"/>
                      <a:pt x="16" y="203"/>
                    </a:cubicBezTo>
                    <a:cubicBezTo>
                      <a:pt x="23" y="203"/>
                      <a:pt x="23" y="203"/>
                      <a:pt x="23" y="203"/>
                    </a:cubicBezTo>
                    <a:cubicBezTo>
                      <a:pt x="23" y="130"/>
                      <a:pt x="75" y="68"/>
                      <a:pt x="148" y="55"/>
                    </a:cubicBezTo>
                    <a:cubicBezTo>
                      <a:pt x="151" y="54"/>
                      <a:pt x="151" y="54"/>
                      <a:pt x="151" y="54"/>
                    </a:cubicBezTo>
                    <a:cubicBezTo>
                      <a:pt x="157" y="53"/>
                      <a:pt x="157" y="53"/>
                      <a:pt x="157" y="53"/>
                    </a:cubicBezTo>
                    <a:cubicBezTo>
                      <a:pt x="159" y="1"/>
                      <a:pt x="159" y="1"/>
                      <a:pt x="159" y="1"/>
                    </a:cubicBezTo>
                    <a:cubicBezTo>
                      <a:pt x="143" y="1"/>
                      <a:pt x="143" y="1"/>
                      <a:pt x="143" y="1"/>
                    </a:cubicBezTo>
                    <a:cubicBezTo>
                      <a:pt x="136" y="0"/>
                      <a:pt x="136" y="0"/>
                      <a:pt x="136" y="0"/>
                    </a:cubicBezTo>
                    <a:cubicBezTo>
                      <a:pt x="134" y="39"/>
                      <a:pt x="134" y="39"/>
                      <a:pt x="134" y="39"/>
                    </a:cubicBezTo>
                    <a:cubicBezTo>
                      <a:pt x="141" y="40"/>
                      <a:pt x="141" y="40"/>
                      <a:pt x="141" y="40"/>
                    </a:cubicBezTo>
                    <a:cubicBezTo>
                      <a:pt x="140" y="33"/>
                      <a:pt x="140" y="33"/>
                      <a:pt x="140" y="33"/>
                    </a:cubicBezTo>
                    <a:cubicBezTo>
                      <a:pt x="58" y="49"/>
                      <a:pt x="0" y="120"/>
                      <a:pt x="0" y="203"/>
                    </a:cubicBezTo>
                    <a:cubicBezTo>
                      <a:pt x="0" y="210"/>
                      <a:pt x="0" y="210"/>
                      <a:pt x="0" y="210"/>
                    </a:cubicBezTo>
                    <a:cubicBezTo>
                      <a:pt x="16" y="210"/>
                      <a:pt x="16" y="210"/>
                      <a:pt x="16" y="210"/>
                    </a:cubicBezTo>
                    <a:cubicBezTo>
                      <a:pt x="23" y="210"/>
                      <a:pt x="23" y="210"/>
                      <a:pt x="23" y="210"/>
                    </a:cubicBezTo>
                    <a:cubicBezTo>
                      <a:pt x="23" y="203"/>
                      <a:pt x="23" y="203"/>
                      <a:pt x="23" y="203"/>
                    </a:cubicBezTo>
                    <a:lnTo>
                      <a:pt x="16"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7" name="Freeform 312">
                <a:extLst>
                  <a:ext uri="{FF2B5EF4-FFF2-40B4-BE49-F238E27FC236}">
                    <a16:creationId xmlns:a16="http://schemas.microsoft.com/office/drawing/2014/main" id="{311D40B3-0AF4-4B4A-AD37-A9A0FEA19AF5}"/>
                  </a:ext>
                </a:extLst>
              </p:cNvPr>
              <p:cNvSpPr>
                <a:spLocks/>
              </p:cNvSpPr>
              <p:nvPr/>
            </p:nvSpPr>
            <p:spPr bwMode="auto">
              <a:xfrm>
                <a:off x="806" y="1962"/>
                <a:ext cx="90" cy="115"/>
              </a:xfrm>
              <a:custGeom>
                <a:avLst/>
                <a:gdLst>
                  <a:gd name="T0" fmla="*/ 37 w 174"/>
                  <a:gd name="T1" fmla="*/ 224 h 224"/>
                  <a:gd name="T2" fmla="*/ 0 w 174"/>
                  <a:gd name="T3" fmla="*/ 224 h 224"/>
                  <a:gd name="T4" fmla="*/ 0 w 174"/>
                  <a:gd name="T5" fmla="*/ 210 h 224"/>
                  <a:gd name="T6" fmla="*/ 135 w 174"/>
                  <a:gd name="T7" fmla="*/ 35 h 224"/>
                  <a:gd name="T8" fmla="*/ 136 w 174"/>
                  <a:gd name="T9" fmla="*/ 0 h 224"/>
                  <a:gd name="T10" fmla="*/ 174 w 174"/>
                  <a:gd name="T11" fmla="*/ 10 h 224"/>
                  <a:gd name="T12" fmla="*/ 170 w 174"/>
                  <a:gd name="T13" fmla="*/ 66 h 224"/>
                  <a:gd name="T14" fmla="*/ 156 w 174"/>
                  <a:gd name="T15" fmla="*/ 69 h 224"/>
                  <a:gd name="T16" fmla="*/ 37 w 174"/>
                  <a:gd name="T17" fmla="*/ 210 h 224"/>
                  <a:gd name="T18" fmla="*/ 37 w 174"/>
                  <a:gd name="T19"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4">
                    <a:moveTo>
                      <a:pt x="37" y="224"/>
                    </a:moveTo>
                    <a:cubicBezTo>
                      <a:pt x="0" y="224"/>
                      <a:pt x="0" y="224"/>
                      <a:pt x="0" y="224"/>
                    </a:cubicBezTo>
                    <a:cubicBezTo>
                      <a:pt x="0" y="210"/>
                      <a:pt x="0" y="210"/>
                      <a:pt x="0" y="210"/>
                    </a:cubicBezTo>
                    <a:cubicBezTo>
                      <a:pt x="0" y="128"/>
                      <a:pt x="56" y="56"/>
                      <a:pt x="135" y="35"/>
                    </a:cubicBezTo>
                    <a:cubicBezTo>
                      <a:pt x="136" y="0"/>
                      <a:pt x="136" y="0"/>
                      <a:pt x="136" y="0"/>
                    </a:cubicBezTo>
                    <a:cubicBezTo>
                      <a:pt x="174" y="10"/>
                      <a:pt x="174" y="10"/>
                      <a:pt x="174" y="10"/>
                    </a:cubicBezTo>
                    <a:cubicBezTo>
                      <a:pt x="170" y="66"/>
                      <a:pt x="170" y="66"/>
                      <a:pt x="170" y="66"/>
                    </a:cubicBezTo>
                    <a:cubicBezTo>
                      <a:pt x="156" y="69"/>
                      <a:pt x="156" y="69"/>
                      <a:pt x="156" y="69"/>
                    </a:cubicBezTo>
                    <a:cubicBezTo>
                      <a:pt x="87" y="81"/>
                      <a:pt x="37" y="140"/>
                      <a:pt x="37" y="210"/>
                    </a:cubicBezTo>
                    <a:lnTo>
                      <a:pt x="37"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8" name="Freeform 313">
                <a:extLst>
                  <a:ext uri="{FF2B5EF4-FFF2-40B4-BE49-F238E27FC236}">
                    <a16:creationId xmlns:a16="http://schemas.microsoft.com/office/drawing/2014/main" id="{68BF26EA-1D0A-44D1-A584-7F67F5B20901}"/>
                  </a:ext>
                </a:extLst>
              </p:cNvPr>
              <p:cNvSpPr>
                <a:spLocks/>
              </p:cNvSpPr>
              <p:nvPr/>
            </p:nvSpPr>
            <p:spPr bwMode="auto">
              <a:xfrm>
                <a:off x="924" y="1969"/>
                <a:ext cx="75" cy="101"/>
              </a:xfrm>
              <a:custGeom>
                <a:avLst/>
                <a:gdLst>
                  <a:gd name="T0" fmla="*/ 146 w 146"/>
                  <a:gd name="T1" fmla="*/ 195 h 195"/>
                  <a:gd name="T2" fmla="*/ 137 w 146"/>
                  <a:gd name="T3" fmla="*/ 195 h 195"/>
                  <a:gd name="T4" fmla="*/ 6 w 146"/>
                  <a:gd name="T5" fmla="*/ 40 h 195"/>
                  <a:gd name="T6" fmla="*/ 3 w 146"/>
                  <a:gd name="T7" fmla="*/ 39 h 195"/>
                  <a:gd name="T8" fmla="*/ 0 w 146"/>
                  <a:gd name="T9" fmla="*/ 0 h 195"/>
                  <a:gd name="T10" fmla="*/ 9 w 146"/>
                  <a:gd name="T11" fmla="*/ 0 h 195"/>
                  <a:gd name="T12" fmla="*/ 11 w 146"/>
                  <a:gd name="T13" fmla="*/ 32 h 195"/>
                  <a:gd name="T14" fmla="*/ 146 w 146"/>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95">
                    <a:moveTo>
                      <a:pt x="146" y="195"/>
                    </a:moveTo>
                    <a:cubicBezTo>
                      <a:pt x="137" y="195"/>
                      <a:pt x="137" y="195"/>
                      <a:pt x="137" y="195"/>
                    </a:cubicBezTo>
                    <a:cubicBezTo>
                      <a:pt x="137" y="118"/>
                      <a:pt x="82" y="53"/>
                      <a:pt x="6" y="40"/>
                    </a:cubicBezTo>
                    <a:cubicBezTo>
                      <a:pt x="3" y="39"/>
                      <a:pt x="3" y="39"/>
                      <a:pt x="3" y="39"/>
                    </a:cubicBezTo>
                    <a:cubicBezTo>
                      <a:pt x="0" y="0"/>
                      <a:pt x="0" y="0"/>
                      <a:pt x="0" y="0"/>
                    </a:cubicBezTo>
                    <a:cubicBezTo>
                      <a:pt x="9" y="0"/>
                      <a:pt x="9" y="0"/>
                      <a:pt x="9" y="0"/>
                    </a:cubicBezTo>
                    <a:cubicBezTo>
                      <a:pt x="11" y="32"/>
                      <a:pt x="11" y="32"/>
                      <a:pt x="11" y="32"/>
                    </a:cubicBezTo>
                    <a:cubicBezTo>
                      <a:pt x="90" y="47"/>
                      <a:pt x="146" y="115"/>
                      <a:pt x="146"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79" name="Freeform 314">
                <a:extLst>
                  <a:ext uri="{FF2B5EF4-FFF2-40B4-BE49-F238E27FC236}">
                    <a16:creationId xmlns:a16="http://schemas.microsoft.com/office/drawing/2014/main" id="{BF8621A8-76F3-400F-9564-4FCEB1198802}"/>
                  </a:ext>
                </a:extLst>
              </p:cNvPr>
              <p:cNvSpPr>
                <a:spLocks/>
              </p:cNvSpPr>
              <p:nvPr/>
            </p:nvSpPr>
            <p:spPr bwMode="auto">
              <a:xfrm>
                <a:off x="920" y="1966"/>
                <a:ext cx="83" cy="107"/>
              </a:xfrm>
              <a:custGeom>
                <a:avLst/>
                <a:gdLst>
                  <a:gd name="T0" fmla="*/ 160 w 160"/>
                  <a:gd name="T1" fmla="*/ 209 h 209"/>
                  <a:gd name="T2" fmla="*/ 137 w 160"/>
                  <a:gd name="T3" fmla="*/ 209 h 209"/>
                  <a:gd name="T4" fmla="*/ 137 w 160"/>
                  <a:gd name="T5" fmla="*/ 202 h 209"/>
                  <a:gd name="T6" fmla="*/ 12 w 160"/>
                  <a:gd name="T7" fmla="*/ 54 h 209"/>
                  <a:gd name="T8" fmla="*/ 3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7" y="209"/>
                      <a:pt x="137" y="209"/>
                      <a:pt x="137" y="209"/>
                    </a:cubicBezTo>
                    <a:cubicBezTo>
                      <a:pt x="137" y="202"/>
                      <a:pt x="137" y="202"/>
                      <a:pt x="137" y="202"/>
                    </a:cubicBezTo>
                    <a:cubicBezTo>
                      <a:pt x="137" y="129"/>
                      <a:pt x="85" y="66"/>
                      <a:pt x="12" y="54"/>
                    </a:cubicBezTo>
                    <a:cubicBezTo>
                      <a:pt x="3" y="52"/>
                      <a:pt x="3" y="52"/>
                      <a:pt x="3" y="52"/>
                    </a:cubicBezTo>
                    <a:cubicBezTo>
                      <a:pt x="0" y="1"/>
                      <a:pt x="0" y="1"/>
                      <a:pt x="0" y="1"/>
                    </a:cubicBezTo>
                    <a:cubicBezTo>
                      <a:pt x="23" y="0"/>
                      <a:pt x="23" y="0"/>
                      <a:pt x="23" y="0"/>
                    </a:cubicBezTo>
                    <a:cubicBezTo>
                      <a:pt x="25" y="33"/>
                      <a:pt x="25" y="33"/>
                      <a:pt x="25" y="33"/>
                    </a:cubicBezTo>
                    <a:cubicBezTo>
                      <a:pt x="103" y="51"/>
                      <a:pt x="160" y="121"/>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0" name="Freeform 315">
                <a:extLst>
                  <a:ext uri="{FF2B5EF4-FFF2-40B4-BE49-F238E27FC236}">
                    <a16:creationId xmlns:a16="http://schemas.microsoft.com/office/drawing/2014/main" id="{38A7DF9E-F1CE-424A-9800-50242E20A220}"/>
                  </a:ext>
                </a:extLst>
              </p:cNvPr>
              <p:cNvSpPr>
                <a:spLocks/>
              </p:cNvSpPr>
              <p:nvPr/>
            </p:nvSpPr>
            <p:spPr bwMode="auto">
              <a:xfrm>
                <a:off x="920" y="1965"/>
                <a:ext cx="83" cy="108"/>
              </a:xfrm>
              <a:custGeom>
                <a:avLst/>
                <a:gdLst>
                  <a:gd name="T0" fmla="*/ 154 w 161"/>
                  <a:gd name="T1" fmla="*/ 203 h 210"/>
                  <a:gd name="T2" fmla="*/ 154 w 161"/>
                  <a:gd name="T3" fmla="*/ 196 h 210"/>
                  <a:gd name="T4" fmla="*/ 145 w 161"/>
                  <a:gd name="T5" fmla="*/ 196 h 210"/>
                  <a:gd name="T6" fmla="*/ 145 w 161"/>
                  <a:gd name="T7" fmla="*/ 203 h 210"/>
                  <a:gd name="T8" fmla="*/ 153 w 161"/>
                  <a:gd name="T9" fmla="*/ 203 h 210"/>
                  <a:gd name="T10" fmla="*/ 15 w 161"/>
                  <a:gd name="T11" fmla="*/ 41 h 210"/>
                  <a:gd name="T12" fmla="*/ 12 w 161"/>
                  <a:gd name="T13" fmla="*/ 40 h 210"/>
                  <a:gd name="T14" fmla="*/ 11 w 161"/>
                  <a:gd name="T15" fmla="*/ 47 h 210"/>
                  <a:gd name="T16" fmla="*/ 18 w 161"/>
                  <a:gd name="T17" fmla="*/ 47 h 210"/>
                  <a:gd name="T18" fmla="*/ 16 w 161"/>
                  <a:gd name="T19" fmla="*/ 15 h 210"/>
                  <a:gd name="T20" fmla="*/ 18 w 161"/>
                  <a:gd name="T21" fmla="*/ 15 h 210"/>
                  <a:gd name="T22" fmla="*/ 17 w 161"/>
                  <a:gd name="T23" fmla="*/ 8 h 210"/>
                  <a:gd name="T24" fmla="*/ 10 w 161"/>
                  <a:gd name="T25" fmla="*/ 8 h 210"/>
                  <a:gd name="T26" fmla="*/ 12 w 161"/>
                  <a:gd name="T27" fmla="*/ 46 h 210"/>
                  <a:gd name="T28" fmla="*/ 18 w 161"/>
                  <a:gd name="T29" fmla="*/ 47 h 210"/>
                  <a:gd name="T30" fmla="*/ 147 w 161"/>
                  <a:gd name="T31" fmla="*/ 203 h 210"/>
                  <a:gd name="T32" fmla="*/ 154 w 161"/>
                  <a:gd name="T33" fmla="*/ 203 h 210"/>
                  <a:gd name="T34" fmla="*/ 154 w 161"/>
                  <a:gd name="T35" fmla="*/ 196 h 210"/>
                  <a:gd name="T36" fmla="*/ 154 w 161"/>
                  <a:gd name="T37" fmla="*/ 203 h 210"/>
                  <a:gd name="T38" fmla="*/ 161 w 161"/>
                  <a:gd name="T39" fmla="*/ 203 h 210"/>
                  <a:gd name="T40" fmla="*/ 21 w 161"/>
                  <a:gd name="T41" fmla="*/ 33 h 210"/>
                  <a:gd name="T42" fmla="*/ 19 w 161"/>
                  <a:gd name="T43" fmla="*/ 40 h 210"/>
                  <a:gd name="T44" fmla="*/ 26 w 161"/>
                  <a:gd name="T45" fmla="*/ 39 h 210"/>
                  <a:gd name="T46" fmla="*/ 24 w 161"/>
                  <a:gd name="T47" fmla="*/ 0 h 210"/>
                  <a:gd name="T48" fmla="*/ 8 w 161"/>
                  <a:gd name="T49" fmla="*/ 1 h 210"/>
                  <a:gd name="T50" fmla="*/ 0 w 161"/>
                  <a:gd name="T51" fmla="*/ 2 h 210"/>
                  <a:gd name="T52" fmla="*/ 4 w 161"/>
                  <a:gd name="T53" fmla="*/ 53 h 210"/>
                  <a:gd name="T54" fmla="*/ 13 w 161"/>
                  <a:gd name="T55" fmla="*/ 55 h 210"/>
                  <a:gd name="T56" fmla="*/ 138 w 161"/>
                  <a:gd name="T57" fmla="*/ 203 h 210"/>
                  <a:gd name="T58" fmla="*/ 138 w 161"/>
                  <a:gd name="T59" fmla="*/ 210 h 210"/>
                  <a:gd name="T60" fmla="*/ 154 w 161"/>
                  <a:gd name="T61" fmla="*/ 210 h 210"/>
                  <a:gd name="T62" fmla="*/ 161 w 161"/>
                  <a:gd name="T63" fmla="*/ 210 h 210"/>
                  <a:gd name="T64" fmla="*/ 161 w 161"/>
                  <a:gd name="T65" fmla="*/ 203 h 210"/>
                  <a:gd name="T66" fmla="*/ 154 w 161"/>
                  <a:gd name="T67" fmla="*/ 2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0">
                    <a:moveTo>
                      <a:pt x="154" y="203"/>
                    </a:moveTo>
                    <a:cubicBezTo>
                      <a:pt x="154" y="196"/>
                      <a:pt x="154" y="196"/>
                      <a:pt x="154" y="196"/>
                    </a:cubicBezTo>
                    <a:cubicBezTo>
                      <a:pt x="145" y="196"/>
                      <a:pt x="145" y="196"/>
                      <a:pt x="145" y="196"/>
                    </a:cubicBezTo>
                    <a:cubicBezTo>
                      <a:pt x="145" y="203"/>
                      <a:pt x="145" y="203"/>
                      <a:pt x="145" y="203"/>
                    </a:cubicBezTo>
                    <a:cubicBezTo>
                      <a:pt x="153" y="203"/>
                      <a:pt x="153" y="203"/>
                      <a:pt x="153" y="203"/>
                    </a:cubicBezTo>
                    <a:cubicBezTo>
                      <a:pt x="153" y="123"/>
                      <a:pt x="95" y="54"/>
                      <a:pt x="15" y="41"/>
                    </a:cubicBezTo>
                    <a:cubicBezTo>
                      <a:pt x="12" y="40"/>
                      <a:pt x="12" y="40"/>
                      <a:pt x="12" y="40"/>
                    </a:cubicBezTo>
                    <a:cubicBezTo>
                      <a:pt x="11" y="47"/>
                      <a:pt x="11" y="47"/>
                      <a:pt x="11" y="47"/>
                    </a:cubicBezTo>
                    <a:cubicBezTo>
                      <a:pt x="18" y="47"/>
                      <a:pt x="18" y="47"/>
                      <a:pt x="18" y="47"/>
                    </a:cubicBezTo>
                    <a:cubicBezTo>
                      <a:pt x="16" y="15"/>
                      <a:pt x="16" y="15"/>
                      <a:pt x="16" y="15"/>
                    </a:cubicBezTo>
                    <a:cubicBezTo>
                      <a:pt x="18" y="15"/>
                      <a:pt x="18" y="15"/>
                      <a:pt x="18" y="15"/>
                    </a:cubicBezTo>
                    <a:cubicBezTo>
                      <a:pt x="17" y="8"/>
                      <a:pt x="17" y="8"/>
                      <a:pt x="17" y="8"/>
                    </a:cubicBezTo>
                    <a:cubicBezTo>
                      <a:pt x="10" y="8"/>
                      <a:pt x="10" y="8"/>
                      <a:pt x="10" y="8"/>
                    </a:cubicBezTo>
                    <a:cubicBezTo>
                      <a:pt x="12" y="46"/>
                      <a:pt x="12" y="46"/>
                      <a:pt x="12" y="46"/>
                    </a:cubicBezTo>
                    <a:cubicBezTo>
                      <a:pt x="18" y="47"/>
                      <a:pt x="18" y="47"/>
                      <a:pt x="18" y="47"/>
                    </a:cubicBezTo>
                    <a:cubicBezTo>
                      <a:pt x="93" y="62"/>
                      <a:pt x="147" y="127"/>
                      <a:pt x="147" y="203"/>
                    </a:cubicBezTo>
                    <a:cubicBezTo>
                      <a:pt x="154" y="203"/>
                      <a:pt x="154" y="203"/>
                      <a:pt x="154" y="203"/>
                    </a:cubicBezTo>
                    <a:cubicBezTo>
                      <a:pt x="154" y="196"/>
                      <a:pt x="154" y="196"/>
                      <a:pt x="154" y="196"/>
                    </a:cubicBezTo>
                    <a:cubicBezTo>
                      <a:pt x="154" y="203"/>
                      <a:pt x="154" y="203"/>
                      <a:pt x="154" y="203"/>
                    </a:cubicBezTo>
                    <a:cubicBezTo>
                      <a:pt x="161" y="203"/>
                      <a:pt x="161" y="203"/>
                      <a:pt x="161" y="203"/>
                    </a:cubicBezTo>
                    <a:cubicBezTo>
                      <a:pt x="161" y="120"/>
                      <a:pt x="102" y="49"/>
                      <a:pt x="21" y="33"/>
                    </a:cubicBezTo>
                    <a:cubicBezTo>
                      <a:pt x="19" y="40"/>
                      <a:pt x="19" y="40"/>
                      <a:pt x="19" y="40"/>
                    </a:cubicBezTo>
                    <a:cubicBezTo>
                      <a:pt x="26" y="39"/>
                      <a:pt x="26" y="39"/>
                      <a:pt x="26" y="39"/>
                    </a:cubicBezTo>
                    <a:cubicBezTo>
                      <a:pt x="24" y="0"/>
                      <a:pt x="24" y="0"/>
                      <a:pt x="24" y="0"/>
                    </a:cubicBezTo>
                    <a:cubicBezTo>
                      <a:pt x="8" y="1"/>
                      <a:pt x="8" y="1"/>
                      <a:pt x="8" y="1"/>
                    </a:cubicBezTo>
                    <a:cubicBezTo>
                      <a:pt x="0" y="2"/>
                      <a:pt x="0" y="2"/>
                      <a:pt x="0" y="2"/>
                    </a:cubicBezTo>
                    <a:cubicBezTo>
                      <a:pt x="4" y="53"/>
                      <a:pt x="4" y="53"/>
                      <a:pt x="4" y="53"/>
                    </a:cubicBezTo>
                    <a:cubicBezTo>
                      <a:pt x="13" y="55"/>
                      <a:pt x="13" y="55"/>
                      <a:pt x="13" y="55"/>
                    </a:cubicBezTo>
                    <a:cubicBezTo>
                      <a:pt x="85" y="68"/>
                      <a:pt x="138" y="130"/>
                      <a:pt x="138" y="203"/>
                    </a:cubicBezTo>
                    <a:cubicBezTo>
                      <a:pt x="138" y="210"/>
                      <a:pt x="138" y="210"/>
                      <a:pt x="138" y="210"/>
                    </a:cubicBezTo>
                    <a:cubicBezTo>
                      <a:pt x="154" y="210"/>
                      <a:pt x="154" y="210"/>
                      <a:pt x="154" y="210"/>
                    </a:cubicBezTo>
                    <a:cubicBezTo>
                      <a:pt x="161" y="210"/>
                      <a:pt x="161" y="210"/>
                      <a:pt x="161" y="210"/>
                    </a:cubicBezTo>
                    <a:cubicBezTo>
                      <a:pt x="161" y="203"/>
                      <a:pt x="161" y="203"/>
                      <a:pt x="161" y="203"/>
                    </a:cubicBezTo>
                    <a:lnTo>
                      <a:pt x="154"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1" name="Freeform 316">
                <a:extLst>
                  <a:ext uri="{FF2B5EF4-FFF2-40B4-BE49-F238E27FC236}">
                    <a16:creationId xmlns:a16="http://schemas.microsoft.com/office/drawing/2014/main" id="{7B9FD348-03E1-4C84-B0C4-0A419F428AA3}"/>
                  </a:ext>
                </a:extLst>
              </p:cNvPr>
              <p:cNvSpPr>
                <a:spLocks/>
              </p:cNvSpPr>
              <p:nvPr/>
            </p:nvSpPr>
            <p:spPr bwMode="auto">
              <a:xfrm>
                <a:off x="916" y="1962"/>
                <a:ext cx="91" cy="115"/>
              </a:xfrm>
              <a:custGeom>
                <a:avLst/>
                <a:gdLst>
                  <a:gd name="T0" fmla="*/ 175 w 175"/>
                  <a:gd name="T1" fmla="*/ 224 h 224"/>
                  <a:gd name="T2" fmla="*/ 138 w 175"/>
                  <a:gd name="T3" fmla="*/ 224 h 224"/>
                  <a:gd name="T4" fmla="*/ 138 w 175"/>
                  <a:gd name="T5" fmla="*/ 210 h 224"/>
                  <a:gd name="T6" fmla="*/ 19 w 175"/>
                  <a:gd name="T7" fmla="*/ 69 h 224"/>
                  <a:gd name="T8" fmla="*/ 4 w 175"/>
                  <a:gd name="T9" fmla="*/ 66 h 224"/>
                  <a:gd name="T10" fmla="*/ 0 w 175"/>
                  <a:gd name="T11" fmla="*/ 15 h 224"/>
                  <a:gd name="T12" fmla="*/ 37 w 175"/>
                  <a:gd name="T13" fmla="*/ 0 h 224"/>
                  <a:gd name="T14" fmla="*/ 40 w 175"/>
                  <a:gd name="T15" fmla="*/ 35 h 224"/>
                  <a:gd name="T16" fmla="*/ 175 w 175"/>
                  <a:gd name="T17" fmla="*/ 203 h 224"/>
                  <a:gd name="T18" fmla="*/ 175 w 175"/>
                  <a:gd name="T19" fmla="*/ 203 h 224"/>
                  <a:gd name="T20" fmla="*/ 175 w 175"/>
                  <a:gd name="T21"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224">
                    <a:moveTo>
                      <a:pt x="175" y="224"/>
                    </a:moveTo>
                    <a:cubicBezTo>
                      <a:pt x="138" y="224"/>
                      <a:pt x="138" y="224"/>
                      <a:pt x="138" y="224"/>
                    </a:cubicBezTo>
                    <a:cubicBezTo>
                      <a:pt x="138" y="210"/>
                      <a:pt x="138" y="210"/>
                      <a:pt x="138" y="210"/>
                    </a:cubicBezTo>
                    <a:cubicBezTo>
                      <a:pt x="138" y="140"/>
                      <a:pt x="88" y="81"/>
                      <a:pt x="19" y="69"/>
                    </a:cubicBezTo>
                    <a:cubicBezTo>
                      <a:pt x="4" y="66"/>
                      <a:pt x="4" y="66"/>
                      <a:pt x="4" y="66"/>
                    </a:cubicBezTo>
                    <a:cubicBezTo>
                      <a:pt x="0" y="15"/>
                      <a:pt x="0" y="15"/>
                      <a:pt x="0" y="15"/>
                    </a:cubicBezTo>
                    <a:cubicBezTo>
                      <a:pt x="37" y="0"/>
                      <a:pt x="37" y="0"/>
                      <a:pt x="37" y="0"/>
                    </a:cubicBezTo>
                    <a:cubicBezTo>
                      <a:pt x="40" y="35"/>
                      <a:pt x="40" y="35"/>
                      <a:pt x="40" y="35"/>
                    </a:cubicBezTo>
                    <a:cubicBezTo>
                      <a:pt x="117" y="55"/>
                      <a:pt x="172" y="124"/>
                      <a:pt x="175" y="203"/>
                    </a:cubicBezTo>
                    <a:cubicBezTo>
                      <a:pt x="175" y="203"/>
                      <a:pt x="175" y="203"/>
                      <a:pt x="175" y="203"/>
                    </a:cubicBezTo>
                    <a:lnTo>
                      <a:pt x="175"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82" name="Rectangle 317">
                <a:extLst>
                  <a:ext uri="{FF2B5EF4-FFF2-40B4-BE49-F238E27FC236}">
                    <a16:creationId xmlns:a16="http://schemas.microsoft.com/office/drawing/2014/main" id="{D244E8F4-16E1-4EC1-8864-D0ACA541746C}"/>
                  </a:ext>
                </a:extLst>
              </p:cNvPr>
              <p:cNvSpPr>
                <a:spLocks noChangeArrowheads="1"/>
              </p:cNvSpPr>
              <p:nvPr/>
            </p:nvSpPr>
            <p:spPr bwMode="auto">
              <a:xfrm>
                <a:off x="351" y="1563"/>
                <a:ext cx="113"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spTree>
    <p:extLst>
      <p:ext uri="{BB962C8B-B14F-4D97-AF65-F5344CB8AC3E}">
        <p14:creationId xmlns:p14="http://schemas.microsoft.com/office/powerpoint/2010/main" val="2298144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641CD1A-6463-4E0F-BE0F-BF7109C3BBE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409" b="-160"/>
          <a:stretch/>
        </p:blipFill>
        <p:spPr>
          <a:xfrm>
            <a:off x="1252724" y="0"/>
            <a:ext cx="10932617" cy="6858001"/>
          </a:xfrm>
          <a:prstGeom prst="rect">
            <a:avLst/>
          </a:prstGeom>
        </p:spPr>
      </p:pic>
      <p:sp>
        <p:nvSpPr>
          <p:cNvPr id="16" name="Freeform: Shape 15">
            <a:extLst>
              <a:ext uri="{FF2B5EF4-FFF2-40B4-BE49-F238E27FC236}">
                <a16:creationId xmlns:a16="http://schemas.microsoft.com/office/drawing/2014/main" id="{372085D6-B92B-4054-B177-0E064581EF54}"/>
              </a:ext>
            </a:extLst>
          </p:cNvPr>
          <p:cNvSpPr/>
          <p:nvPr/>
        </p:nvSpPr>
        <p:spPr>
          <a:xfrm>
            <a:off x="13009" y="-6864"/>
            <a:ext cx="9035553" cy="6858000"/>
          </a:xfrm>
          <a:custGeom>
            <a:avLst/>
            <a:gdLst>
              <a:gd name="connsiteX0" fmla="*/ 0 w 9035553"/>
              <a:gd name="connsiteY0" fmla="*/ 0 h 6858000"/>
              <a:gd name="connsiteX1" fmla="*/ 9035553 w 9035553"/>
              <a:gd name="connsiteY1" fmla="*/ 0 h 6858000"/>
              <a:gd name="connsiteX2" fmla="*/ 8121153 w 9035553"/>
              <a:gd name="connsiteY2" fmla="*/ 152400 h 6858000"/>
              <a:gd name="connsiteX3" fmla="*/ 7263903 w 9035553"/>
              <a:gd name="connsiteY3" fmla="*/ 552450 h 6858000"/>
              <a:gd name="connsiteX4" fmla="*/ 6578103 w 9035553"/>
              <a:gd name="connsiteY4" fmla="*/ 1257300 h 6858000"/>
              <a:gd name="connsiteX5" fmla="*/ 6159003 w 9035553"/>
              <a:gd name="connsiteY5" fmla="*/ 2152650 h 6858000"/>
              <a:gd name="connsiteX6" fmla="*/ 5739903 w 9035553"/>
              <a:gd name="connsiteY6" fmla="*/ 3543300 h 6858000"/>
              <a:gd name="connsiteX7" fmla="*/ 5130303 w 9035553"/>
              <a:gd name="connsiteY7" fmla="*/ 5067300 h 6858000"/>
              <a:gd name="connsiteX8" fmla="*/ 4635003 w 9035553"/>
              <a:gd name="connsiteY8" fmla="*/ 5734050 h 6858000"/>
              <a:gd name="connsiteX9" fmla="*/ 3720603 w 9035553"/>
              <a:gd name="connsiteY9" fmla="*/ 6362700 h 6858000"/>
              <a:gd name="connsiteX10" fmla="*/ 3015753 w 9035553"/>
              <a:gd name="connsiteY10" fmla="*/ 6667500 h 6858000"/>
              <a:gd name="connsiteX11" fmla="*/ 2253753 w 9035553"/>
              <a:gd name="connsiteY11" fmla="*/ 6858000 h 6858000"/>
              <a:gd name="connsiteX12" fmla="*/ 0 w 9035553"/>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35553" h="6858000">
                <a:moveTo>
                  <a:pt x="0" y="0"/>
                </a:moveTo>
                <a:lnTo>
                  <a:pt x="9035553" y="0"/>
                </a:lnTo>
                <a:lnTo>
                  <a:pt x="8121153" y="152400"/>
                </a:lnTo>
                <a:lnTo>
                  <a:pt x="7263903" y="552450"/>
                </a:lnTo>
                <a:lnTo>
                  <a:pt x="6578103" y="1257300"/>
                </a:lnTo>
                <a:lnTo>
                  <a:pt x="6159003" y="2152650"/>
                </a:lnTo>
                <a:lnTo>
                  <a:pt x="5739903" y="3543300"/>
                </a:lnTo>
                <a:lnTo>
                  <a:pt x="5130303" y="5067300"/>
                </a:lnTo>
                <a:lnTo>
                  <a:pt x="4635003" y="5734050"/>
                </a:lnTo>
                <a:lnTo>
                  <a:pt x="3720603" y="6362700"/>
                </a:lnTo>
                <a:lnTo>
                  <a:pt x="3015753" y="6667500"/>
                </a:lnTo>
                <a:lnTo>
                  <a:pt x="2253753" y="6858000"/>
                </a:lnTo>
                <a:lnTo>
                  <a:pt x="0" y="685800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3" name="Freeform: Shape 12">
            <a:extLst>
              <a:ext uri="{FF2B5EF4-FFF2-40B4-BE49-F238E27FC236}">
                <a16:creationId xmlns:a16="http://schemas.microsoft.com/office/drawing/2014/main" id="{FBCDE5C5-F203-4889-BA37-93AEC24FB4F1}"/>
              </a:ext>
            </a:extLst>
          </p:cNvPr>
          <p:cNvSpPr/>
          <p:nvPr/>
        </p:nvSpPr>
        <p:spPr>
          <a:xfrm>
            <a:off x="2354759" y="-4143"/>
            <a:ext cx="6858000" cy="6858001"/>
          </a:xfrm>
          <a:custGeom>
            <a:avLst/>
            <a:gdLst>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2984" h="6865034">
                <a:moveTo>
                  <a:pt x="0" y="6865034"/>
                </a:moveTo>
                <a:cubicBezTo>
                  <a:pt x="2246142" y="6339840"/>
                  <a:pt x="3736706" y="5733371"/>
                  <a:pt x="4487594" y="3038622"/>
                </a:cubicBezTo>
                <a:cubicBezTo>
                  <a:pt x="5319312" y="-18314"/>
                  <a:pt x="7976382" y="32824"/>
                  <a:pt x="8932984" y="0"/>
                </a:cubicBezTo>
                <a:cubicBezTo>
                  <a:pt x="7845083" y="206327"/>
                  <a:pt x="5631766" y="-79718"/>
                  <a:pt x="4783015" y="3151163"/>
                </a:cubicBezTo>
                <a:cubicBezTo>
                  <a:pt x="4416480" y="4730798"/>
                  <a:pt x="3577883" y="6386732"/>
                  <a:pt x="0" y="6865034"/>
                </a:cubicBezTo>
                <a:close/>
              </a:path>
            </a:pathLst>
          </a:cu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9" name="Text Placeholder 23">
            <a:extLst>
              <a:ext uri="{FF2B5EF4-FFF2-40B4-BE49-F238E27FC236}">
                <a16:creationId xmlns:a16="http://schemas.microsoft.com/office/drawing/2014/main" id="{B8D5A8E8-4CAC-4C3A-8301-7A519FB73415}"/>
              </a:ext>
            </a:extLst>
          </p:cNvPr>
          <p:cNvSpPr txBox="1">
            <a:spLocks/>
          </p:cNvSpPr>
          <p:nvPr/>
        </p:nvSpPr>
        <p:spPr>
          <a:xfrm>
            <a:off x="1662388" y="2475802"/>
            <a:ext cx="1200411" cy="1202318"/>
          </a:xfrm>
          <a:prstGeom prst="rect">
            <a:avLst/>
          </a:prstGeom>
        </p:spPr>
        <p:txBody>
          <a:bodyPr vert="horz" lIns="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chemeClr val="bg1"/>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49600" b="0" i="0" u="none" strike="noStrike" kern="1200" cap="none" spc="0" normalizeH="0" baseline="0" noProof="0" dirty="0">
                <a:ln>
                  <a:noFill/>
                </a:ln>
                <a:solidFill>
                  <a:srgbClr val="FFE600"/>
                </a:solidFill>
                <a:effectLst/>
                <a:uLnTx/>
                <a:uFillTx/>
                <a:ea typeface="+mj-ea"/>
                <a:cs typeface="Arial" panose="020B0604020202020204" pitchFamily="34" charset="0"/>
              </a:rPr>
              <a:t>3</a:t>
            </a:r>
          </a:p>
        </p:txBody>
      </p:sp>
      <p:sp>
        <p:nvSpPr>
          <p:cNvPr id="17" name="Text Placeholder 23">
            <a:extLst>
              <a:ext uri="{FF2B5EF4-FFF2-40B4-BE49-F238E27FC236}">
                <a16:creationId xmlns:a16="http://schemas.microsoft.com/office/drawing/2014/main" id="{EA33746E-8E5D-4C6C-A0F6-B4143DFDEBD2}"/>
              </a:ext>
            </a:extLst>
          </p:cNvPr>
          <p:cNvSpPr txBox="1">
            <a:spLocks/>
          </p:cNvSpPr>
          <p:nvPr/>
        </p:nvSpPr>
        <p:spPr>
          <a:xfrm>
            <a:off x="594099" y="2475802"/>
            <a:ext cx="3936687" cy="1338333"/>
          </a:xfrm>
          <a:prstGeom prst="rect">
            <a:avLst/>
          </a:prstGeom>
          <a:solidFill>
            <a:schemeClr val="tx1">
              <a:alpha val="85000"/>
            </a:schemeClr>
          </a:solidFill>
        </p:spPr>
        <p:txBody>
          <a:bodyPr vert="horz" lIns="0" tIns="0" rIns="0" bIns="0" rtlCol="0" anchor="ctr"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IN" sz="36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mj-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0" b="1" dirty="0">
                <a:cs typeface="Arial" panose="020B0604020202020204" pitchFamily="34" charset="0"/>
              </a:rPr>
              <a:t>ELI Principles | </a:t>
            </a:r>
          </a:p>
          <a:p>
            <a:pPr algn="ctr"/>
            <a:r>
              <a:rPr lang="en-US" sz="3000" b="1" dirty="0">
                <a:cs typeface="Arial" panose="020B0604020202020204" pitchFamily="34" charset="0"/>
              </a:rPr>
              <a:t>Focus on Consumer Protection</a:t>
            </a:r>
          </a:p>
        </p:txBody>
      </p:sp>
    </p:spTree>
    <p:extLst>
      <p:ext uri="{BB962C8B-B14F-4D97-AF65-F5344CB8AC3E}">
        <p14:creationId xmlns:p14="http://schemas.microsoft.com/office/powerpoint/2010/main" val="8703556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EDD9-F5B3-48C1-A24A-E9D32D175F99}"/>
              </a:ext>
            </a:extLst>
          </p:cNvPr>
          <p:cNvSpPr>
            <a:spLocks noGrp="1"/>
          </p:cNvSpPr>
          <p:nvPr>
            <p:ph type="title"/>
          </p:nvPr>
        </p:nvSpPr>
        <p:spPr/>
        <p:txBody>
          <a:bodyPr/>
          <a:lstStyle/>
          <a:p>
            <a:r>
              <a:rPr lang="de-AT" dirty="0" err="1"/>
              <a:t>Principle</a:t>
            </a:r>
            <a:r>
              <a:rPr lang="de-AT" dirty="0"/>
              <a:t> 13</a:t>
            </a:r>
          </a:p>
        </p:txBody>
      </p:sp>
      <p:sp>
        <p:nvSpPr>
          <p:cNvPr id="3" name="Text Placeholder 2">
            <a:extLst>
              <a:ext uri="{FF2B5EF4-FFF2-40B4-BE49-F238E27FC236}">
                <a16:creationId xmlns:a16="http://schemas.microsoft.com/office/drawing/2014/main" id="{3141DF54-C884-476C-A8C7-858491B06CF9}"/>
              </a:ext>
            </a:extLst>
          </p:cNvPr>
          <p:cNvSpPr>
            <a:spLocks noGrp="1"/>
          </p:cNvSpPr>
          <p:nvPr>
            <p:ph type="body" sz="quarter" idx="15"/>
          </p:nvPr>
        </p:nvSpPr>
        <p:spPr/>
        <p:txBody>
          <a:bodyPr>
            <a:normAutofit/>
          </a:bodyPr>
          <a:lstStyle/>
          <a:p>
            <a:r>
              <a:rPr lang="en-US" dirty="0"/>
              <a:t>Consumer Protection Prevails Over and Fully Governs Coded Transactions</a:t>
            </a:r>
            <a:endParaRPr lang="de-AT" dirty="0"/>
          </a:p>
        </p:txBody>
      </p:sp>
      <p:sp>
        <p:nvSpPr>
          <p:cNvPr id="4" name="Slide Number Placeholder 3">
            <a:extLst>
              <a:ext uri="{FF2B5EF4-FFF2-40B4-BE49-F238E27FC236}">
                <a16:creationId xmlns:a16="http://schemas.microsoft.com/office/drawing/2014/main" id="{E92C1F4C-BAA7-4D66-A70F-6C6921EB3B00}"/>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3</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9747F8B6-02C9-4FC3-8B9A-876E20C94D57}"/>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sp>
        <p:nvSpPr>
          <p:cNvPr id="23" name="TextBox 22">
            <a:extLst>
              <a:ext uri="{FF2B5EF4-FFF2-40B4-BE49-F238E27FC236}">
                <a16:creationId xmlns:a16="http://schemas.microsoft.com/office/drawing/2014/main" id="{BC7C2141-9F76-43EF-98CA-2132286A7E58}"/>
              </a:ext>
            </a:extLst>
          </p:cNvPr>
          <p:cNvSpPr txBox="1"/>
          <p:nvPr/>
        </p:nvSpPr>
        <p:spPr>
          <a:xfrm>
            <a:off x="5654842" y="2959768"/>
            <a:ext cx="914400" cy="914400"/>
          </a:xfrm>
          <a:prstGeom prst="rect">
            <a:avLst/>
          </a:prstGeom>
          <a:noFill/>
          <a:ln w="12700" cap="sq">
            <a:noFill/>
            <a:miter lim="800000"/>
          </a:ln>
        </p:spPr>
        <p:txBody>
          <a:bodyPr wrap="square" lIns="61200" tIns="36576" rIns="0" bIns="0" rtlCol="0">
            <a:noAutofit/>
          </a:bodyPr>
          <a:lstStyle/>
          <a:p>
            <a: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pPr>
            <a:endParaRPr kumimoji="0" lang="de-AT" sz="1400" b="0" i="0" u="none" strike="noStrike" kern="0" cap="none" spc="0" normalizeH="0" baseline="0" noProof="0" dirty="0">
              <a:ln>
                <a:noFill/>
              </a:ln>
              <a:solidFill>
                <a:schemeClr val="bg1"/>
              </a:solidFill>
              <a:effectLst/>
              <a:uLnTx/>
              <a:uFillTx/>
            </a:endParaRPr>
          </a:p>
        </p:txBody>
      </p:sp>
      <p:grpSp>
        <p:nvGrpSpPr>
          <p:cNvPr id="66" name="Group 65">
            <a:extLst>
              <a:ext uri="{FF2B5EF4-FFF2-40B4-BE49-F238E27FC236}">
                <a16:creationId xmlns:a16="http://schemas.microsoft.com/office/drawing/2014/main" id="{97CF6859-F951-4136-BBAF-3392E7FA1EE1}"/>
              </a:ext>
            </a:extLst>
          </p:cNvPr>
          <p:cNvGrpSpPr/>
          <p:nvPr/>
        </p:nvGrpSpPr>
        <p:grpSpPr>
          <a:xfrm>
            <a:off x="609601" y="1135296"/>
            <a:ext cx="10981142" cy="778819"/>
            <a:chOff x="609601" y="1135296"/>
            <a:chExt cx="10981142" cy="778819"/>
          </a:xfrm>
        </p:grpSpPr>
        <p:sp>
          <p:nvSpPr>
            <p:cNvPr id="67" name="Rectangle 66">
              <a:extLst>
                <a:ext uri="{FF2B5EF4-FFF2-40B4-BE49-F238E27FC236}">
                  <a16:creationId xmlns:a16="http://schemas.microsoft.com/office/drawing/2014/main" id="{EB7BB794-3086-4215-9148-62F830FFF1D6}"/>
                </a:ext>
              </a:extLst>
            </p:cNvPr>
            <p:cNvSpPr/>
            <p:nvPr/>
          </p:nvSpPr>
          <p:spPr>
            <a:xfrm>
              <a:off x="609601" y="1135296"/>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GB" sz="1600" b="1" kern="0" dirty="0">
                  <a:solidFill>
                    <a:schemeClr val="bg1"/>
                  </a:solidFill>
                </a:rPr>
                <a:t>13 a) Consumer protection </a:t>
              </a:r>
              <a:r>
                <a:rPr lang="en-GB" sz="1600" kern="0" dirty="0">
                  <a:solidFill>
                    <a:schemeClr val="bg1"/>
                  </a:solidFill>
                </a:rPr>
                <a:t>cannot be overridden by Smart Contracts or any Transaction on a Blockchain</a:t>
              </a:r>
            </a:p>
          </p:txBody>
        </p:sp>
        <p:grpSp>
          <p:nvGrpSpPr>
            <p:cNvPr id="68" name="Group 67">
              <a:extLst>
                <a:ext uri="{FF2B5EF4-FFF2-40B4-BE49-F238E27FC236}">
                  <a16:creationId xmlns:a16="http://schemas.microsoft.com/office/drawing/2014/main" id="{63BAA7C8-D3C2-4787-873F-B8946A97FF4C}"/>
                </a:ext>
              </a:extLst>
            </p:cNvPr>
            <p:cNvGrpSpPr/>
            <p:nvPr/>
          </p:nvGrpSpPr>
          <p:grpSpPr>
            <a:xfrm>
              <a:off x="11444402" y="1393610"/>
              <a:ext cx="146341" cy="239780"/>
              <a:chOff x="4011103" y="2105333"/>
              <a:chExt cx="146341" cy="239780"/>
            </a:xfrm>
          </p:grpSpPr>
          <p:grpSp>
            <p:nvGrpSpPr>
              <p:cNvPr id="73" name="Group 72">
                <a:extLst>
                  <a:ext uri="{FF2B5EF4-FFF2-40B4-BE49-F238E27FC236}">
                    <a16:creationId xmlns:a16="http://schemas.microsoft.com/office/drawing/2014/main" id="{53571E3D-02F5-4247-BB78-4901BB1CD2D0}"/>
                  </a:ext>
                </a:extLst>
              </p:cNvPr>
              <p:cNvGrpSpPr/>
              <p:nvPr/>
            </p:nvGrpSpPr>
            <p:grpSpPr>
              <a:xfrm rot="10800000">
                <a:off x="4011103" y="2137035"/>
                <a:ext cx="40849" cy="208078"/>
                <a:chOff x="906170" y="2076504"/>
                <a:chExt cx="79774" cy="406348"/>
              </a:xfrm>
            </p:grpSpPr>
            <p:sp>
              <p:nvSpPr>
                <p:cNvPr id="84" name="Rectangle 83">
                  <a:extLst>
                    <a:ext uri="{FF2B5EF4-FFF2-40B4-BE49-F238E27FC236}">
                      <a16:creationId xmlns:a16="http://schemas.microsoft.com/office/drawing/2014/main" id="{9108241F-D8B4-4681-A445-51010238D661}"/>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5" name="Rectangle 84">
                  <a:extLst>
                    <a:ext uri="{FF2B5EF4-FFF2-40B4-BE49-F238E27FC236}">
                      <a16:creationId xmlns:a16="http://schemas.microsoft.com/office/drawing/2014/main" id="{BAE050BA-7868-4E7B-A86E-ADF4FD73E03E}"/>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6" name="Rectangle 85">
                  <a:extLst>
                    <a:ext uri="{FF2B5EF4-FFF2-40B4-BE49-F238E27FC236}">
                      <a16:creationId xmlns:a16="http://schemas.microsoft.com/office/drawing/2014/main" id="{7F136E01-ADB2-4757-B9E7-5F58CA11EA73}"/>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74" name="Straight Connector 73">
                <a:extLst>
                  <a:ext uri="{FF2B5EF4-FFF2-40B4-BE49-F238E27FC236}">
                    <a16:creationId xmlns:a16="http://schemas.microsoft.com/office/drawing/2014/main" id="{756019C9-EEF1-40CD-BBC0-910D70F37A33}"/>
                  </a:ext>
                </a:extLst>
              </p:cNvPr>
              <p:cNvCxnSpPr>
                <a:stCxn id="86"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F6FC095-24F4-4263-A685-6EAC516D1E9B}"/>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43ACB234-87A9-47E7-9906-F086EB11BCCE}"/>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77" name="Straight Connector 76">
                <a:extLst>
                  <a:ext uri="{FF2B5EF4-FFF2-40B4-BE49-F238E27FC236}">
                    <a16:creationId xmlns:a16="http://schemas.microsoft.com/office/drawing/2014/main" id="{FE4F9789-8317-49B3-90DB-5C8C8D62D296}"/>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52755F-478D-4A32-8389-CA8412DD750A}"/>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0FF57AE-5C78-4BE6-845F-827F8D59A0B4}"/>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47AA068E-7982-41A0-A2CE-87EA22DD1896}"/>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81" name="Group 80">
                <a:extLst>
                  <a:ext uri="{FF2B5EF4-FFF2-40B4-BE49-F238E27FC236}">
                    <a16:creationId xmlns:a16="http://schemas.microsoft.com/office/drawing/2014/main" id="{31C27D4E-5961-4F24-8F7E-159FD98E7179}"/>
                  </a:ext>
                </a:extLst>
              </p:cNvPr>
              <p:cNvGrpSpPr/>
              <p:nvPr/>
            </p:nvGrpSpPr>
            <p:grpSpPr>
              <a:xfrm rot="10800000">
                <a:off x="4051953" y="2312907"/>
                <a:ext cx="105491" cy="26825"/>
                <a:chOff x="1476522" y="2083779"/>
                <a:chExt cx="206012" cy="52386"/>
              </a:xfrm>
            </p:grpSpPr>
            <p:cxnSp>
              <p:nvCxnSpPr>
                <p:cNvPr id="82" name="Straight Connector 81">
                  <a:extLst>
                    <a:ext uri="{FF2B5EF4-FFF2-40B4-BE49-F238E27FC236}">
                      <a16:creationId xmlns:a16="http://schemas.microsoft.com/office/drawing/2014/main" id="{3A6ABF11-40AB-4217-809F-A78A1472FD2A}"/>
                    </a:ext>
                  </a:extLst>
                </p:cNvPr>
                <p:cNvCxnSpPr>
                  <a:stCxn id="84" idx="1"/>
                  <a:endCxn id="83"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38B7537-D36B-4EF9-85DF-054929F30990}"/>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69" name="Group 68">
              <a:extLst>
                <a:ext uri="{FF2B5EF4-FFF2-40B4-BE49-F238E27FC236}">
                  <a16:creationId xmlns:a16="http://schemas.microsoft.com/office/drawing/2014/main" id="{15167A09-2352-4CD6-83AA-A3B7DBDF510A}"/>
                </a:ext>
              </a:extLst>
            </p:cNvPr>
            <p:cNvGrpSpPr/>
            <p:nvPr/>
          </p:nvGrpSpPr>
          <p:grpSpPr>
            <a:xfrm>
              <a:off x="10735874" y="1859016"/>
              <a:ext cx="384181" cy="55099"/>
              <a:chOff x="3609347" y="2150884"/>
              <a:chExt cx="323386" cy="72179"/>
            </a:xfrm>
          </p:grpSpPr>
          <p:sp>
            <p:nvSpPr>
              <p:cNvPr id="70" name="Rectangle: Rounded Corners 69">
                <a:extLst>
                  <a:ext uri="{FF2B5EF4-FFF2-40B4-BE49-F238E27FC236}">
                    <a16:creationId xmlns:a16="http://schemas.microsoft.com/office/drawing/2014/main" id="{FC933E51-7AC1-47ED-A40B-6CF158A2A0A8}"/>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1" name="Rectangle: Rounded Corners 70">
                <a:extLst>
                  <a:ext uri="{FF2B5EF4-FFF2-40B4-BE49-F238E27FC236}">
                    <a16:creationId xmlns:a16="http://schemas.microsoft.com/office/drawing/2014/main" id="{C68649D4-A7D8-4D5C-97BE-99B00A513653}"/>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2" name="Rectangle 71">
                <a:extLst>
                  <a:ext uri="{FF2B5EF4-FFF2-40B4-BE49-F238E27FC236}">
                    <a16:creationId xmlns:a16="http://schemas.microsoft.com/office/drawing/2014/main" id="{D919CC38-9699-4107-8B11-92DF30CD047D}"/>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sp>
        <p:nvSpPr>
          <p:cNvPr id="87" name="TextBox 86">
            <a:extLst>
              <a:ext uri="{FF2B5EF4-FFF2-40B4-BE49-F238E27FC236}">
                <a16:creationId xmlns:a16="http://schemas.microsoft.com/office/drawing/2014/main" id="{0A185967-FEC1-4328-9EFE-250E63A5AD0F}"/>
              </a:ext>
            </a:extLst>
          </p:cNvPr>
          <p:cNvSpPr txBox="1"/>
          <p:nvPr/>
        </p:nvSpPr>
        <p:spPr>
          <a:xfrm>
            <a:off x="609600" y="2184616"/>
            <a:ext cx="5272236" cy="2597570"/>
          </a:xfrm>
          <a:prstGeom prst="rect">
            <a:avLst/>
          </a:prstGeom>
          <a:solidFill>
            <a:srgbClr val="747480">
              <a:alpha val="21000"/>
            </a:srgbClr>
          </a:solidFill>
          <a:ln w="0" cap="flat">
            <a:noFill/>
            <a:prstDash val="solid"/>
            <a:miter/>
          </a:ln>
        </p:spPr>
        <p:txBody>
          <a:bodyPr lIns="73025" tIns="73025" rIns="73025" bIns="73025" rtlCol="0" anchor="t"/>
          <a:lstStyle>
            <a:defPPr>
              <a:defRPr lang="en-US"/>
            </a:defPPr>
            <a:lvl1pPr algn="ctr">
              <a:defRPr sz="1100"/>
            </a:lvl1pPr>
          </a:lstStyle>
          <a:p>
            <a:pPr marL="216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Consumer protection on-chain must be at least equivalent to Consumer protection off-chain.</a:t>
            </a:r>
          </a:p>
          <a:p>
            <a:pPr marL="216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Consumers must not be deprived of any rights they might have had if </a:t>
            </a:r>
          </a:p>
          <a:p>
            <a:pPr marL="432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the platform had not been used or </a:t>
            </a:r>
          </a:p>
          <a:p>
            <a:pPr marL="432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the legally binding agreement had been concluded off-chain</a:t>
            </a:r>
          </a:p>
          <a:p>
            <a:pPr marL="216000" indent="-216000" algn="l">
              <a:spcBef>
                <a:spcPts val="300"/>
              </a:spcBef>
              <a:spcAft>
                <a:spcPts val="300"/>
              </a:spcAft>
              <a:buClr>
                <a:schemeClr val="tx2"/>
              </a:buClr>
              <a:buFont typeface="EYInterstate Light" panose="02000506000000020004" pitchFamily="2" charset="0"/>
              <a:buChar char="•"/>
            </a:pPr>
            <a:endParaRPr lang="en-IN" sz="1400" dirty="0">
              <a:solidFill>
                <a:schemeClr val="bg1"/>
              </a:solidFill>
            </a:endParaRPr>
          </a:p>
        </p:txBody>
      </p:sp>
      <p:grpSp>
        <p:nvGrpSpPr>
          <p:cNvPr id="240" name="Group 239">
            <a:extLst>
              <a:ext uri="{FF2B5EF4-FFF2-40B4-BE49-F238E27FC236}">
                <a16:creationId xmlns:a16="http://schemas.microsoft.com/office/drawing/2014/main" id="{3CFCE55C-11A5-4D08-8368-DD265C41FA77}"/>
              </a:ext>
            </a:extLst>
          </p:cNvPr>
          <p:cNvGrpSpPr/>
          <p:nvPr/>
        </p:nvGrpSpPr>
        <p:grpSpPr>
          <a:xfrm>
            <a:off x="7129386" y="2199829"/>
            <a:ext cx="3046337" cy="3029371"/>
            <a:chOff x="7129387" y="2271837"/>
            <a:chExt cx="2537599" cy="2523467"/>
          </a:xfrm>
        </p:grpSpPr>
        <p:grpSp>
          <p:nvGrpSpPr>
            <p:cNvPr id="285" name="Group 284">
              <a:extLst>
                <a:ext uri="{FF2B5EF4-FFF2-40B4-BE49-F238E27FC236}">
                  <a16:creationId xmlns:a16="http://schemas.microsoft.com/office/drawing/2014/main" id="{0E135844-B0E7-483D-8148-E8991F828E26}"/>
                </a:ext>
              </a:extLst>
            </p:cNvPr>
            <p:cNvGrpSpPr/>
            <p:nvPr/>
          </p:nvGrpSpPr>
          <p:grpSpPr>
            <a:xfrm>
              <a:off x="7129387" y="2271837"/>
              <a:ext cx="2537599" cy="2523467"/>
              <a:chOff x="8587298" y="2727960"/>
              <a:chExt cx="5865457" cy="5832794"/>
            </a:xfrm>
          </p:grpSpPr>
          <p:sp>
            <p:nvSpPr>
              <p:cNvPr id="330" name="Freeform: Shape 329">
                <a:extLst>
                  <a:ext uri="{FF2B5EF4-FFF2-40B4-BE49-F238E27FC236}">
                    <a16:creationId xmlns:a16="http://schemas.microsoft.com/office/drawing/2014/main" id="{1C694F4F-89E3-415B-9738-DEF10BE02743}"/>
                  </a:ext>
                </a:extLst>
              </p:cNvPr>
              <p:cNvSpPr/>
              <p:nvPr/>
            </p:nvSpPr>
            <p:spPr>
              <a:xfrm>
                <a:off x="9178723" y="6495330"/>
                <a:ext cx="135642" cy="54263"/>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331" name="Freeform: Shape 330">
                <a:extLst>
                  <a:ext uri="{FF2B5EF4-FFF2-40B4-BE49-F238E27FC236}">
                    <a16:creationId xmlns:a16="http://schemas.microsoft.com/office/drawing/2014/main" id="{7CF5A8B0-4552-4F6C-909D-F18D8CF5FEF8}"/>
                  </a:ext>
                </a:extLst>
              </p:cNvPr>
              <p:cNvSpPr/>
              <p:nvPr/>
            </p:nvSpPr>
            <p:spPr>
              <a:xfrm>
                <a:off x="9030593" y="5944055"/>
                <a:ext cx="135642" cy="2713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332" name="Freeform: Shape 331">
                <a:extLst>
                  <a:ext uri="{FF2B5EF4-FFF2-40B4-BE49-F238E27FC236}">
                    <a16:creationId xmlns:a16="http://schemas.microsoft.com/office/drawing/2014/main" id="{84F76213-8ACB-46A1-B9E6-9C03CB68B9BB}"/>
                  </a:ext>
                </a:extLst>
              </p:cNvPr>
              <p:cNvSpPr/>
              <p:nvPr/>
            </p:nvSpPr>
            <p:spPr>
              <a:xfrm>
                <a:off x="10490151" y="3323370"/>
                <a:ext cx="81395" cy="135642"/>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333" name="Freeform: Shape 332">
                <a:extLst>
                  <a:ext uri="{FF2B5EF4-FFF2-40B4-BE49-F238E27FC236}">
                    <a16:creationId xmlns:a16="http://schemas.microsoft.com/office/drawing/2014/main" id="{1B567C31-4DBD-4E9A-BC7F-744F3B87F84E}"/>
                  </a:ext>
                </a:extLst>
              </p:cNvPr>
              <p:cNvSpPr/>
              <p:nvPr/>
            </p:nvSpPr>
            <p:spPr>
              <a:xfrm>
                <a:off x="9113598" y="6315458"/>
                <a:ext cx="135642" cy="54263"/>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334" name="Freeform: Shape 333">
                <a:extLst>
                  <a:ext uri="{FF2B5EF4-FFF2-40B4-BE49-F238E27FC236}">
                    <a16:creationId xmlns:a16="http://schemas.microsoft.com/office/drawing/2014/main" id="{07D540E5-0864-40C1-B16F-D04C6E2B12DF}"/>
                  </a:ext>
                </a:extLst>
              </p:cNvPr>
              <p:cNvSpPr/>
              <p:nvPr/>
            </p:nvSpPr>
            <p:spPr>
              <a:xfrm>
                <a:off x="9012964" y="5754962"/>
                <a:ext cx="135642" cy="2713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335" name="Freeform: Shape 334">
                <a:extLst>
                  <a:ext uri="{FF2B5EF4-FFF2-40B4-BE49-F238E27FC236}">
                    <a16:creationId xmlns:a16="http://schemas.microsoft.com/office/drawing/2014/main" id="{3DF2C745-B041-4E6C-A80D-A2EC9A34DAE8}"/>
                  </a:ext>
                </a:extLst>
              </p:cNvPr>
              <p:cNvSpPr/>
              <p:nvPr/>
            </p:nvSpPr>
            <p:spPr>
              <a:xfrm>
                <a:off x="9097328" y="4960347"/>
                <a:ext cx="135642" cy="54263"/>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336" name="Freeform: Shape 335">
                <a:extLst>
                  <a:ext uri="{FF2B5EF4-FFF2-40B4-BE49-F238E27FC236}">
                    <a16:creationId xmlns:a16="http://schemas.microsoft.com/office/drawing/2014/main" id="{1209059B-6EC2-42B1-BCB9-2BDEBF33D7FC}"/>
                  </a:ext>
                </a:extLst>
              </p:cNvPr>
              <p:cNvSpPr/>
              <p:nvPr/>
            </p:nvSpPr>
            <p:spPr>
              <a:xfrm>
                <a:off x="9010792" y="5559633"/>
                <a:ext cx="135642" cy="2713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337" name="Freeform: Shape 336">
                <a:extLst>
                  <a:ext uri="{FF2B5EF4-FFF2-40B4-BE49-F238E27FC236}">
                    <a16:creationId xmlns:a16="http://schemas.microsoft.com/office/drawing/2014/main" id="{F9947AB3-580D-4B49-B338-C4C0EE94A695}"/>
                  </a:ext>
                </a:extLst>
              </p:cNvPr>
              <p:cNvSpPr/>
              <p:nvPr/>
            </p:nvSpPr>
            <p:spPr>
              <a:xfrm>
                <a:off x="9157827" y="4767456"/>
                <a:ext cx="135642" cy="54263"/>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338" name="Freeform: Shape 337">
                <a:extLst>
                  <a:ext uri="{FF2B5EF4-FFF2-40B4-BE49-F238E27FC236}">
                    <a16:creationId xmlns:a16="http://schemas.microsoft.com/office/drawing/2014/main" id="{6AE44D25-6FA5-4798-92B6-5F5D8BB6781B}"/>
                  </a:ext>
                </a:extLst>
              </p:cNvPr>
              <p:cNvSpPr/>
              <p:nvPr/>
            </p:nvSpPr>
            <p:spPr>
              <a:xfrm>
                <a:off x="9023545" y="5357787"/>
                <a:ext cx="135642" cy="2713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339" name="Freeform: Shape 338">
                <a:extLst>
                  <a:ext uri="{FF2B5EF4-FFF2-40B4-BE49-F238E27FC236}">
                    <a16:creationId xmlns:a16="http://schemas.microsoft.com/office/drawing/2014/main" id="{4F5A0117-8248-409F-9EC5-497A13977D12}"/>
                  </a:ext>
                </a:extLst>
              </p:cNvPr>
              <p:cNvSpPr/>
              <p:nvPr/>
            </p:nvSpPr>
            <p:spPr>
              <a:xfrm>
                <a:off x="9052567" y="5157582"/>
                <a:ext cx="135642" cy="2713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340" name="Freeform: Shape 339">
                <a:extLst>
                  <a:ext uri="{FF2B5EF4-FFF2-40B4-BE49-F238E27FC236}">
                    <a16:creationId xmlns:a16="http://schemas.microsoft.com/office/drawing/2014/main" id="{C6FDE90A-409A-425C-827C-24973FBD1850}"/>
                  </a:ext>
                </a:extLst>
              </p:cNvPr>
              <p:cNvSpPr/>
              <p:nvPr/>
            </p:nvSpPr>
            <p:spPr>
              <a:xfrm>
                <a:off x="10020537" y="7543335"/>
                <a:ext cx="108526" cy="135642"/>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341" name="Freeform: Shape 340">
                <a:extLst>
                  <a:ext uri="{FF2B5EF4-FFF2-40B4-BE49-F238E27FC236}">
                    <a16:creationId xmlns:a16="http://schemas.microsoft.com/office/drawing/2014/main" id="{EC66E626-9D16-4376-A160-D16865C76518}"/>
                  </a:ext>
                </a:extLst>
              </p:cNvPr>
              <p:cNvSpPr/>
              <p:nvPr/>
            </p:nvSpPr>
            <p:spPr>
              <a:xfrm>
                <a:off x="9863999" y="7422868"/>
                <a:ext cx="108526" cy="108526"/>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342" name="Freeform: Shape 341">
                <a:extLst>
                  <a:ext uri="{FF2B5EF4-FFF2-40B4-BE49-F238E27FC236}">
                    <a16:creationId xmlns:a16="http://schemas.microsoft.com/office/drawing/2014/main" id="{1B6EF155-6680-4B42-9AE8-D049AF288AF8}"/>
                  </a:ext>
                </a:extLst>
              </p:cNvPr>
              <p:cNvSpPr/>
              <p:nvPr/>
            </p:nvSpPr>
            <p:spPr>
              <a:xfrm>
                <a:off x="10186577" y="7652111"/>
                <a:ext cx="81395" cy="135642"/>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343" name="Freeform: Shape 342">
                <a:extLst>
                  <a:ext uri="{FF2B5EF4-FFF2-40B4-BE49-F238E27FC236}">
                    <a16:creationId xmlns:a16="http://schemas.microsoft.com/office/drawing/2014/main" id="{28325771-99D2-4BAF-BA75-7FD46F46E1CD}"/>
                  </a:ext>
                </a:extLst>
              </p:cNvPr>
              <p:cNvSpPr/>
              <p:nvPr/>
            </p:nvSpPr>
            <p:spPr>
              <a:xfrm>
                <a:off x="9258742" y="6669763"/>
                <a:ext cx="135642" cy="81395"/>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344" name="Freeform: Shape 343">
                <a:extLst>
                  <a:ext uri="{FF2B5EF4-FFF2-40B4-BE49-F238E27FC236}">
                    <a16:creationId xmlns:a16="http://schemas.microsoft.com/office/drawing/2014/main" id="{0F126C0C-2C2F-45B2-B825-2CB33083C89D}"/>
                  </a:ext>
                </a:extLst>
              </p:cNvPr>
              <p:cNvSpPr/>
              <p:nvPr/>
            </p:nvSpPr>
            <p:spPr>
              <a:xfrm>
                <a:off x="10361557" y="7748150"/>
                <a:ext cx="81395" cy="135642"/>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345" name="Freeform: Shape 344">
                <a:extLst>
                  <a:ext uri="{FF2B5EF4-FFF2-40B4-BE49-F238E27FC236}">
                    <a16:creationId xmlns:a16="http://schemas.microsoft.com/office/drawing/2014/main" id="{0325A14C-7BF1-4781-986A-8F56F1470D58}"/>
                  </a:ext>
                </a:extLst>
              </p:cNvPr>
              <p:cNvSpPr/>
              <p:nvPr/>
            </p:nvSpPr>
            <p:spPr>
              <a:xfrm>
                <a:off x="9718042" y="7291023"/>
                <a:ext cx="108526" cy="108526"/>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53264B9E-E45C-418A-B20B-B8E903077193}"/>
                  </a:ext>
                </a:extLst>
              </p:cNvPr>
              <p:cNvSpPr/>
              <p:nvPr/>
            </p:nvSpPr>
            <p:spPr>
              <a:xfrm>
                <a:off x="9353437" y="6837147"/>
                <a:ext cx="135642" cy="81395"/>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EBEA4DB5-AEC2-4CFB-B7A5-E1F6682DCE80}"/>
                  </a:ext>
                </a:extLst>
              </p:cNvPr>
              <p:cNvSpPr/>
              <p:nvPr/>
            </p:nvSpPr>
            <p:spPr>
              <a:xfrm>
                <a:off x="9462214" y="6997217"/>
                <a:ext cx="135642" cy="81395"/>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348" name="Freeform: Shape 347">
                <a:extLst>
                  <a:ext uri="{FF2B5EF4-FFF2-40B4-BE49-F238E27FC236}">
                    <a16:creationId xmlns:a16="http://schemas.microsoft.com/office/drawing/2014/main" id="{D19EBDBE-8E9E-4CA5-9C59-7892149279E1}"/>
                  </a:ext>
                </a:extLst>
              </p:cNvPr>
              <p:cNvSpPr/>
              <p:nvPr/>
            </p:nvSpPr>
            <p:spPr>
              <a:xfrm>
                <a:off x="9584025" y="7148864"/>
                <a:ext cx="108526" cy="108526"/>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349" name="Freeform: Shape 348">
                <a:extLst>
                  <a:ext uri="{FF2B5EF4-FFF2-40B4-BE49-F238E27FC236}">
                    <a16:creationId xmlns:a16="http://schemas.microsoft.com/office/drawing/2014/main" id="{D4C0DFA8-7EC6-45B2-8346-70C7BEC958C7}"/>
                  </a:ext>
                </a:extLst>
              </p:cNvPr>
              <p:cNvSpPr/>
              <p:nvPr/>
            </p:nvSpPr>
            <p:spPr>
              <a:xfrm>
                <a:off x="9063961" y="6131522"/>
                <a:ext cx="135642" cy="2713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350" name="Freeform: Shape 349">
                <a:extLst>
                  <a:ext uri="{FF2B5EF4-FFF2-40B4-BE49-F238E27FC236}">
                    <a16:creationId xmlns:a16="http://schemas.microsoft.com/office/drawing/2014/main" id="{497FB423-2F88-46C7-B5F7-181C6BD4BA50}"/>
                  </a:ext>
                </a:extLst>
              </p:cNvPr>
              <p:cNvSpPr/>
              <p:nvPr/>
            </p:nvSpPr>
            <p:spPr>
              <a:xfrm>
                <a:off x="13333577" y="3953852"/>
                <a:ext cx="108526" cy="108526"/>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351" name="Freeform: Shape 350">
                <a:extLst>
                  <a:ext uri="{FF2B5EF4-FFF2-40B4-BE49-F238E27FC236}">
                    <a16:creationId xmlns:a16="http://schemas.microsoft.com/office/drawing/2014/main" id="{6EBA4BF1-078D-403C-842D-4E142C70E469}"/>
                  </a:ext>
                </a:extLst>
              </p:cNvPr>
              <p:cNvSpPr/>
              <p:nvPr/>
            </p:nvSpPr>
            <p:spPr>
              <a:xfrm>
                <a:off x="13658312" y="4450864"/>
                <a:ext cx="135642" cy="81395"/>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352" name="Freeform: Shape 351">
                <a:extLst>
                  <a:ext uri="{FF2B5EF4-FFF2-40B4-BE49-F238E27FC236}">
                    <a16:creationId xmlns:a16="http://schemas.microsoft.com/office/drawing/2014/main" id="{F2F67EE9-FC4C-47DB-999F-E032F420CC71}"/>
                  </a:ext>
                </a:extLst>
              </p:cNvPr>
              <p:cNvSpPr/>
              <p:nvPr/>
            </p:nvSpPr>
            <p:spPr>
              <a:xfrm>
                <a:off x="13740785" y="4633173"/>
                <a:ext cx="135642" cy="54263"/>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353" name="Freeform: Shape 352">
                <a:extLst>
                  <a:ext uri="{FF2B5EF4-FFF2-40B4-BE49-F238E27FC236}">
                    <a16:creationId xmlns:a16="http://schemas.microsoft.com/office/drawing/2014/main" id="{6BA1C153-7C70-49E2-95A7-1B757C1E43DF}"/>
                  </a:ext>
                </a:extLst>
              </p:cNvPr>
              <p:cNvSpPr/>
              <p:nvPr/>
            </p:nvSpPr>
            <p:spPr>
              <a:xfrm>
                <a:off x="13454028" y="4110390"/>
                <a:ext cx="135642" cy="108526"/>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354" name="Freeform: Shape 353">
                <a:extLst>
                  <a:ext uri="{FF2B5EF4-FFF2-40B4-BE49-F238E27FC236}">
                    <a16:creationId xmlns:a16="http://schemas.microsoft.com/office/drawing/2014/main" id="{C6640518-B18F-49AC-B3E6-80F5F0C9213D}"/>
                  </a:ext>
                </a:extLst>
              </p:cNvPr>
              <p:cNvSpPr/>
              <p:nvPr/>
            </p:nvSpPr>
            <p:spPr>
              <a:xfrm>
                <a:off x="13809161" y="4821719"/>
                <a:ext cx="135642" cy="54263"/>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355" name="Freeform: Shape 354">
                <a:extLst>
                  <a:ext uri="{FF2B5EF4-FFF2-40B4-BE49-F238E27FC236}">
                    <a16:creationId xmlns:a16="http://schemas.microsoft.com/office/drawing/2014/main" id="{4D89E467-8DC5-47DE-8201-B2C2395E5CC0}"/>
                  </a:ext>
                </a:extLst>
              </p:cNvPr>
              <p:cNvSpPr/>
              <p:nvPr/>
            </p:nvSpPr>
            <p:spPr>
              <a:xfrm>
                <a:off x="13863143" y="5015970"/>
                <a:ext cx="135642" cy="54263"/>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356" name="Freeform: Shape 355">
                <a:extLst>
                  <a:ext uri="{FF2B5EF4-FFF2-40B4-BE49-F238E27FC236}">
                    <a16:creationId xmlns:a16="http://schemas.microsoft.com/office/drawing/2014/main" id="{E59529B8-7B75-4D7C-8395-BE2081716372}"/>
                  </a:ext>
                </a:extLst>
              </p:cNvPr>
              <p:cNvSpPr/>
              <p:nvPr/>
            </p:nvSpPr>
            <p:spPr>
              <a:xfrm>
                <a:off x="13936114" y="5616866"/>
                <a:ext cx="135642" cy="2713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357" name="Freeform: Shape 356">
                <a:extLst>
                  <a:ext uri="{FF2B5EF4-FFF2-40B4-BE49-F238E27FC236}">
                    <a16:creationId xmlns:a16="http://schemas.microsoft.com/office/drawing/2014/main" id="{E5D5B6E1-0DA8-489B-8414-23DEE6B921F9}"/>
                  </a:ext>
                </a:extLst>
              </p:cNvPr>
              <p:cNvSpPr/>
              <p:nvPr/>
            </p:nvSpPr>
            <p:spPr>
              <a:xfrm>
                <a:off x="13926627" y="5414489"/>
                <a:ext cx="135642" cy="2713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358" name="Freeform: Shape 357">
                <a:extLst>
                  <a:ext uri="{FF2B5EF4-FFF2-40B4-BE49-F238E27FC236}">
                    <a16:creationId xmlns:a16="http://schemas.microsoft.com/office/drawing/2014/main" id="{55BED532-B964-4B00-8FA5-5E33CFB255AE}"/>
                  </a:ext>
                </a:extLst>
              </p:cNvPr>
              <p:cNvSpPr/>
              <p:nvPr/>
            </p:nvSpPr>
            <p:spPr>
              <a:xfrm>
                <a:off x="13902481" y="5214002"/>
                <a:ext cx="135642" cy="2713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359" name="Freeform: Shape 358">
                <a:extLst>
                  <a:ext uri="{FF2B5EF4-FFF2-40B4-BE49-F238E27FC236}">
                    <a16:creationId xmlns:a16="http://schemas.microsoft.com/office/drawing/2014/main" id="{367D386A-7678-4E49-9420-F526D5C6468E}"/>
                  </a:ext>
                </a:extLst>
              </p:cNvPr>
              <p:cNvSpPr/>
              <p:nvPr/>
            </p:nvSpPr>
            <p:spPr>
              <a:xfrm>
                <a:off x="10137737" y="3518965"/>
                <a:ext cx="81395" cy="135642"/>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360" name="Freeform: Shape 359">
                <a:extLst>
                  <a:ext uri="{FF2B5EF4-FFF2-40B4-BE49-F238E27FC236}">
                    <a16:creationId xmlns:a16="http://schemas.microsoft.com/office/drawing/2014/main" id="{54A770BC-1C7B-4D95-B7A4-08DC159B15EE}"/>
                  </a:ext>
                </a:extLst>
              </p:cNvPr>
              <p:cNvSpPr/>
              <p:nvPr/>
            </p:nvSpPr>
            <p:spPr>
              <a:xfrm>
                <a:off x="9429393" y="4227309"/>
                <a:ext cx="135642" cy="81395"/>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361" name="Freeform: Shape 360">
                <a:extLst>
                  <a:ext uri="{FF2B5EF4-FFF2-40B4-BE49-F238E27FC236}">
                    <a16:creationId xmlns:a16="http://schemas.microsoft.com/office/drawing/2014/main" id="{FFB09CBB-EB3B-4378-A232-9A0E0145DDD4}"/>
                  </a:ext>
                </a:extLst>
              </p:cNvPr>
              <p:cNvSpPr/>
              <p:nvPr/>
            </p:nvSpPr>
            <p:spPr>
              <a:xfrm>
                <a:off x="9547672" y="4063722"/>
                <a:ext cx="108526" cy="108526"/>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362" name="Freeform: Shape 361">
                <a:extLst>
                  <a:ext uri="{FF2B5EF4-FFF2-40B4-BE49-F238E27FC236}">
                    <a16:creationId xmlns:a16="http://schemas.microsoft.com/office/drawing/2014/main" id="{89BCA8CE-BE75-40A5-B289-CF115821A336}"/>
                  </a:ext>
                </a:extLst>
              </p:cNvPr>
              <p:cNvSpPr/>
              <p:nvPr/>
            </p:nvSpPr>
            <p:spPr>
              <a:xfrm>
                <a:off x="9324399" y="4399585"/>
                <a:ext cx="135642" cy="81395"/>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363" name="Freeform: Shape 362">
                <a:extLst>
                  <a:ext uri="{FF2B5EF4-FFF2-40B4-BE49-F238E27FC236}">
                    <a16:creationId xmlns:a16="http://schemas.microsoft.com/office/drawing/2014/main" id="{451A55D7-DD73-4CB1-96AF-403D773A517E}"/>
                  </a:ext>
                </a:extLst>
              </p:cNvPr>
              <p:cNvSpPr/>
              <p:nvPr/>
            </p:nvSpPr>
            <p:spPr>
              <a:xfrm>
                <a:off x="9678438" y="3910185"/>
                <a:ext cx="108526" cy="108526"/>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364" name="Freeform: Shape 363">
                <a:extLst>
                  <a:ext uri="{FF2B5EF4-FFF2-40B4-BE49-F238E27FC236}">
                    <a16:creationId xmlns:a16="http://schemas.microsoft.com/office/drawing/2014/main" id="{135AAFBA-2ED5-4D9B-81D9-D53A839C5C01}"/>
                  </a:ext>
                </a:extLst>
              </p:cNvPr>
              <p:cNvSpPr/>
              <p:nvPr/>
            </p:nvSpPr>
            <p:spPr>
              <a:xfrm>
                <a:off x="9820863" y="3767744"/>
                <a:ext cx="108526" cy="108526"/>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365" name="Freeform: Shape 364">
                <a:extLst>
                  <a:ext uri="{FF2B5EF4-FFF2-40B4-BE49-F238E27FC236}">
                    <a16:creationId xmlns:a16="http://schemas.microsoft.com/office/drawing/2014/main" id="{F76D0181-EFEC-4BDB-8AD1-9F80A09CC281}"/>
                  </a:ext>
                </a:extLst>
              </p:cNvPr>
              <p:cNvSpPr/>
              <p:nvPr/>
            </p:nvSpPr>
            <p:spPr>
              <a:xfrm>
                <a:off x="13201998" y="3807895"/>
                <a:ext cx="108526" cy="108526"/>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366" name="Freeform: Shape 365">
                <a:extLst>
                  <a:ext uri="{FF2B5EF4-FFF2-40B4-BE49-F238E27FC236}">
                    <a16:creationId xmlns:a16="http://schemas.microsoft.com/office/drawing/2014/main" id="{9F7A4CBC-D37C-4A76-AA50-5CF193124D18}"/>
                  </a:ext>
                </a:extLst>
              </p:cNvPr>
              <p:cNvSpPr/>
              <p:nvPr/>
            </p:nvSpPr>
            <p:spPr>
              <a:xfrm>
                <a:off x="10309732" y="3414252"/>
                <a:ext cx="81395" cy="135642"/>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367" name="Freeform: Shape 366">
                <a:extLst>
                  <a:ext uri="{FF2B5EF4-FFF2-40B4-BE49-F238E27FC236}">
                    <a16:creationId xmlns:a16="http://schemas.microsoft.com/office/drawing/2014/main" id="{489509FE-CA90-486F-A3C3-1B4A16AC2DAB}"/>
                  </a:ext>
                </a:extLst>
              </p:cNvPr>
              <p:cNvSpPr/>
              <p:nvPr/>
            </p:nvSpPr>
            <p:spPr>
              <a:xfrm>
                <a:off x="9233783" y="4580270"/>
                <a:ext cx="135642" cy="81395"/>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368" name="Freeform: Shape 367">
                <a:extLst>
                  <a:ext uri="{FF2B5EF4-FFF2-40B4-BE49-F238E27FC236}">
                    <a16:creationId xmlns:a16="http://schemas.microsoft.com/office/drawing/2014/main" id="{46BA6EE2-C721-43A9-98FB-4E952292289E}"/>
                  </a:ext>
                </a:extLst>
              </p:cNvPr>
              <p:cNvSpPr/>
              <p:nvPr/>
            </p:nvSpPr>
            <p:spPr>
              <a:xfrm>
                <a:off x="9974151" y="3636712"/>
                <a:ext cx="108526" cy="108526"/>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369" name="Freeform: Shape 368">
                <a:extLst>
                  <a:ext uri="{FF2B5EF4-FFF2-40B4-BE49-F238E27FC236}">
                    <a16:creationId xmlns:a16="http://schemas.microsoft.com/office/drawing/2014/main" id="{00CEDCCA-F2BE-4CF5-B864-B899B87F22B3}"/>
                  </a:ext>
                </a:extLst>
              </p:cNvPr>
              <p:cNvSpPr/>
              <p:nvPr/>
            </p:nvSpPr>
            <p:spPr>
              <a:xfrm>
                <a:off x="13562554" y="4276415"/>
                <a:ext cx="135642" cy="81395"/>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370" name="Freeform: Shape 369">
                <a:extLst>
                  <a:ext uri="{FF2B5EF4-FFF2-40B4-BE49-F238E27FC236}">
                    <a16:creationId xmlns:a16="http://schemas.microsoft.com/office/drawing/2014/main" id="{D7FF303D-1447-4BEA-86D5-003F0C9A9849}"/>
                  </a:ext>
                </a:extLst>
              </p:cNvPr>
              <p:cNvSpPr/>
              <p:nvPr/>
            </p:nvSpPr>
            <p:spPr>
              <a:xfrm>
                <a:off x="13059573" y="3673612"/>
                <a:ext cx="108526" cy="108526"/>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371" name="Freeform: Shape 370">
                <a:extLst>
                  <a:ext uri="{FF2B5EF4-FFF2-40B4-BE49-F238E27FC236}">
                    <a16:creationId xmlns:a16="http://schemas.microsoft.com/office/drawing/2014/main" id="{64EB8853-C462-44AC-9124-BA48BDE1FCC4}"/>
                  </a:ext>
                </a:extLst>
              </p:cNvPr>
              <p:cNvSpPr/>
              <p:nvPr/>
            </p:nvSpPr>
            <p:spPr>
              <a:xfrm>
                <a:off x="12928259" y="7576421"/>
                <a:ext cx="81395" cy="135642"/>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372" name="Freeform: Shape 371">
                <a:extLst>
                  <a:ext uri="{FF2B5EF4-FFF2-40B4-BE49-F238E27FC236}">
                    <a16:creationId xmlns:a16="http://schemas.microsoft.com/office/drawing/2014/main" id="{D4C13C11-D6F3-432E-8425-6107177CB434}"/>
                  </a:ext>
                </a:extLst>
              </p:cNvPr>
              <p:cNvSpPr/>
              <p:nvPr/>
            </p:nvSpPr>
            <p:spPr>
              <a:xfrm>
                <a:off x="12907911" y="3551801"/>
                <a:ext cx="81395" cy="135642"/>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373" name="Freeform: Shape 372">
                <a:extLst>
                  <a:ext uri="{FF2B5EF4-FFF2-40B4-BE49-F238E27FC236}">
                    <a16:creationId xmlns:a16="http://schemas.microsoft.com/office/drawing/2014/main" id="{1B1BE2DB-979F-40AC-822E-0C14F13FA62F}"/>
                  </a:ext>
                </a:extLst>
              </p:cNvPr>
              <p:cNvSpPr/>
              <p:nvPr/>
            </p:nvSpPr>
            <p:spPr>
              <a:xfrm>
                <a:off x="13078562" y="7459220"/>
                <a:ext cx="108526" cy="108526"/>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374" name="Freeform: Shape 373">
                <a:extLst>
                  <a:ext uri="{FF2B5EF4-FFF2-40B4-BE49-F238E27FC236}">
                    <a16:creationId xmlns:a16="http://schemas.microsoft.com/office/drawing/2014/main" id="{82B010C7-C32F-4B11-BD81-BBE986C15841}"/>
                  </a:ext>
                </a:extLst>
              </p:cNvPr>
              <p:cNvSpPr/>
              <p:nvPr/>
            </p:nvSpPr>
            <p:spPr>
              <a:xfrm>
                <a:off x="12769283" y="7681149"/>
                <a:ext cx="81395" cy="135642"/>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375" name="Freeform: Shape 374">
                <a:extLst>
                  <a:ext uri="{FF2B5EF4-FFF2-40B4-BE49-F238E27FC236}">
                    <a16:creationId xmlns:a16="http://schemas.microsoft.com/office/drawing/2014/main" id="{E3B5E4F9-158C-431D-B218-A7BC739E5702}"/>
                  </a:ext>
                </a:extLst>
              </p:cNvPr>
              <p:cNvSpPr/>
              <p:nvPr/>
            </p:nvSpPr>
            <p:spPr>
              <a:xfrm>
                <a:off x="12602446" y="7773109"/>
                <a:ext cx="81395" cy="135642"/>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376" name="Freeform: Shape 375">
                <a:extLst>
                  <a:ext uri="{FF2B5EF4-FFF2-40B4-BE49-F238E27FC236}">
                    <a16:creationId xmlns:a16="http://schemas.microsoft.com/office/drawing/2014/main" id="{826E7B36-1D20-4944-88EF-D0633AE310CF}"/>
                  </a:ext>
                </a:extLst>
              </p:cNvPr>
              <p:cNvSpPr/>
              <p:nvPr/>
            </p:nvSpPr>
            <p:spPr>
              <a:xfrm>
                <a:off x="13219643" y="7330361"/>
                <a:ext cx="108526" cy="108526"/>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377" name="Freeform: Shape 376">
                <a:extLst>
                  <a:ext uri="{FF2B5EF4-FFF2-40B4-BE49-F238E27FC236}">
                    <a16:creationId xmlns:a16="http://schemas.microsoft.com/office/drawing/2014/main" id="{AFAC0C4D-E7B4-4CA0-AF70-4E9055299849}"/>
                  </a:ext>
                </a:extLst>
              </p:cNvPr>
              <p:cNvSpPr/>
              <p:nvPr/>
            </p:nvSpPr>
            <p:spPr>
              <a:xfrm>
                <a:off x="12579378" y="3348064"/>
                <a:ext cx="81395" cy="135642"/>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378" name="Freeform: Shape 377">
                <a:extLst>
                  <a:ext uri="{FF2B5EF4-FFF2-40B4-BE49-F238E27FC236}">
                    <a16:creationId xmlns:a16="http://schemas.microsoft.com/office/drawing/2014/main" id="{A5568410-9894-429B-BC60-3FEB3CD13A93}"/>
                  </a:ext>
                </a:extLst>
              </p:cNvPr>
              <p:cNvSpPr/>
              <p:nvPr/>
            </p:nvSpPr>
            <p:spPr>
              <a:xfrm>
                <a:off x="12747591" y="3443009"/>
                <a:ext cx="81395" cy="135642"/>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379" name="Freeform: Shape 378">
                <a:extLst>
                  <a:ext uri="{FF2B5EF4-FFF2-40B4-BE49-F238E27FC236}">
                    <a16:creationId xmlns:a16="http://schemas.microsoft.com/office/drawing/2014/main" id="{2B0ACC15-EF0F-4CA9-A7CD-1020F3C399F7}"/>
                  </a:ext>
                </a:extLst>
              </p:cNvPr>
              <p:cNvSpPr/>
              <p:nvPr/>
            </p:nvSpPr>
            <p:spPr>
              <a:xfrm>
                <a:off x="13669987" y="6718321"/>
                <a:ext cx="135642" cy="81395"/>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380" name="Freeform: Shape 379">
                <a:extLst>
                  <a:ext uri="{FF2B5EF4-FFF2-40B4-BE49-F238E27FC236}">
                    <a16:creationId xmlns:a16="http://schemas.microsoft.com/office/drawing/2014/main" id="{A951D48B-427D-41A6-BD75-79FED929A5B7}"/>
                  </a:ext>
                </a:extLst>
              </p:cNvPr>
              <p:cNvSpPr/>
              <p:nvPr/>
            </p:nvSpPr>
            <p:spPr>
              <a:xfrm>
                <a:off x="13817554" y="6367267"/>
                <a:ext cx="135642" cy="54263"/>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381" name="Freeform: Shape 380">
                <a:extLst>
                  <a:ext uri="{FF2B5EF4-FFF2-40B4-BE49-F238E27FC236}">
                    <a16:creationId xmlns:a16="http://schemas.microsoft.com/office/drawing/2014/main" id="{B0079FEB-6834-4059-A16B-E7A7FDD022EE}"/>
                  </a:ext>
                </a:extLst>
              </p:cNvPr>
              <p:cNvSpPr/>
              <p:nvPr/>
            </p:nvSpPr>
            <p:spPr>
              <a:xfrm>
                <a:off x="13906825" y="5997505"/>
                <a:ext cx="135642" cy="2713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382" name="Freeform: Shape 381">
                <a:extLst>
                  <a:ext uri="{FF2B5EF4-FFF2-40B4-BE49-F238E27FC236}">
                    <a16:creationId xmlns:a16="http://schemas.microsoft.com/office/drawing/2014/main" id="{28E46A04-D9E2-424A-824D-AAEE205CCB9D}"/>
                  </a:ext>
                </a:extLst>
              </p:cNvPr>
              <p:cNvSpPr/>
              <p:nvPr/>
            </p:nvSpPr>
            <p:spPr>
              <a:xfrm>
                <a:off x="13869379" y="6183879"/>
                <a:ext cx="135642" cy="54263"/>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383" name="Freeform: Shape 382">
                <a:extLst>
                  <a:ext uri="{FF2B5EF4-FFF2-40B4-BE49-F238E27FC236}">
                    <a16:creationId xmlns:a16="http://schemas.microsoft.com/office/drawing/2014/main" id="{AA69EA85-909C-4BD9-858D-4F583D0B1C05}"/>
                  </a:ext>
                </a:extLst>
              </p:cNvPr>
              <p:cNvSpPr/>
              <p:nvPr/>
            </p:nvSpPr>
            <p:spPr>
              <a:xfrm>
                <a:off x="13928784" y="5808413"/>
                <a:ext cx="135642" cy="2713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384" name="Freeform: Shape 383">
                <a:extLst>
                  <a:ext uri="{FF2B5EF4-FFF2-40B4-BE49-F238E27FC236}">
                    <a16:creationId xmlns:a16="http://schemas.microsoft.com/office/drawing/2014/main" id="{D7F4265B-AEF5-41E0-ABF5-77ACC9AE7D7C}"/>
                  </a:ext>
                </a:extLst>
              </p:cNvPr>
              <p:cNvSpPr/>
              <p:nvPr/>
            </p:nvSpPr>
            <p:spPr>
              <a:xfrm>
                <a:off x="12429091" y="7851519"/>
                <a:ext cx="54263" cy="135642"/>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385" name="Freeform: Shape 384">
                <a:extLst>
                  <a:ext uri="{FF2B5EF4-FFF2-40B4-BE49-F238E27FC236}">
                    <a16:creationId xmlns:a16="http://schemas.microsoft.com/office/drawing/2014/main" id="{FEC993AE-2A9C-45BC-8480-720E9464280D}"/>
                  </a:ext>
                </a:extLst>
              </p:cNvPr>
              <p:cNvSpPr/>
              <p:nvPr/>
            </p:nvSpPr>
            <p:spPr>
              <a:xfrm>
                <a:off x="13468953" y="7042244"/>
                <a:ext cx="135642" cy="108526"/>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386" name="Freeform: Shape 385">
                <a:extLst>
                  <a:ext uri="{FF2B5EF4-FFF2-40B4-BE49-F238E27FC236}">
                    <a16:creationId xmlns:a16="http://schemas.microsoft.com/office/drawing/2014/main" id="{8E832808-626D-4CAB-8E81-00E0DFEAC392}"/>
                  </a:ext>
                </a:extLst>
              </p:cNvPr>
              <p:cNvSpPr/>
              <p:nvPr/>
            </p:nvSpPr>
            <p:spPr>
              <a:xfrm>
                <a:off x="13750819" y="6545514"/>
                <a:ext cx="135642" cy="54263"/>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387" name="Freeform: Shape 386">
                <a:extLst>
                  <a:ext uri="{FF2B5EF4-FFF2-40B4-BE49-F238E27FC236}">
                    <a16:creationId xmlns:a16="http://schemas.microsoft.com/office/drawing/2014/main" id="{043B611E-2202-4609-AB82-DCF1CDFAD7BE}"/>
                  </a:ext>
                </a:extLst>
              </p:cNvPr>
              <p:cNvSpPr/>
              <p:nvPr/>
            </p:nvSpPr>
            <p:spPr>
              <a:xfrm>
                <a:off x="13575839" y="6884362"/>
                <a:ext cx="135642" cy="81395"/>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388" name="Freeform: Shape 387">
                <a:extLst>
                  <a:ext uri="{FF2B5EF4-FFF2-40B4-BE49-F238E27FC236}">
                    <a16:creationId xmlns:a16="http://schemas.microsoft.com/office/drawing/2014/main" id="{44BD78EE-4372-4C21-A927-A49EA22825EB}"/>
                  </a:ext>
                </a:extLst>
              </p:cNvPr>
              <p:cNvSpPr/>
              <p:nvPr/>
            </p:nvSpPr>
            <p:spPr>
              <a:xfrm>
                <a:off x="13349846" y="7191186"/>
                <a:ext cx="108526" cy="108526"/>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389" name="Freeform: Shape 388">
                <a:extLst>
                  <a:ext uri="{FF2B5EF4-FFF2-40B4-BE49-F238E27FC236}">
                    <a16:creationId xmlns:a16="http://schemas.microsoft.com/office/drawing/2014/main" id="{C7856300-4951-4BFF-8D60-3AF371A19031}"/>
                  </a:ext>
                </a:extLst>
              </p:cNvPr>
              <p:cNvSpPr/>
              <p:nvPr/>
            </p:nvSpPr>
            <p:spPr>
              <a:xfrm>
                <a:off x="10927476" y="7952981"/>
                <a:ext cx="54263" cy="135642"/>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390" name="Freeform: Shape 389">
                <a:extLst>
                  <a:ext uri="{FF2B5EF4-FFF2-40B4-BE49-F238E27FC236}">
                    <a16:creationId xmlns:a16="http://schemas.microsoft.com/office/drawing/2014/main" id="{900A8583-B5E1-479A-860D-DACD1E5BE6A1}"/>
                  </a:ext>
                </a:extLst>
              </p:cNvPr>
              <p:cNvSpPr/>
              <p:nvPr/>
            </p:nvSpPr>
            <p:spPr>
              <a:xfrm>
                <a:off x="11125790" y="7992319"/>
                <a:ext cx="27132" cy="135642"/>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391" name="Freeform: Shape 390">
                <a:extLst>
                  <a:ext uri="{FF2B5EF4-FFF2-40B4-BE49-F238E27FC236}">
                    <a16:creationId xmlns:a16="http://schemas.microsoft.com/office/drawing/2014/main" id="{E2503E88-0916-48B0-9B82-BD0880D39EFF}"/>
                  </a:ext>
                </a:extLst>
              </p:cNvPr>
              <p:cNvSpPr/>
              <p:nvPr/>
            </p:nvSpPr>
            <p:spPr>
              <a:xfrm>
                <a:off x="11266856" y="3113382"/>
                <a:ext cx="27132" cy="135642"/>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392" name="Freeform: Shape 391">
                <a:extLst>
                  <a:ext uri="{FF2B5EF4-FFF2-40B4-BE49-F238E27FC236}">
                    <a16:creationId xmlns:a16="http://schemas.microsoft.com/office/drawing/2014/main" id="{AC83BBBD-BF8D-4086-8F4B-F65B3F6342E5}"/>
                  </a:ext>
                </a:extLst>
              </p:cNvPr>
              <p:cNvSpPr/>
              <p:nvPr/>
            </p:nvSpPr>
            <p:spPr>
              <a:xfrm>
                <a:off x="11326542" y="8016465"/>
                <a:ext cx="27132" cy="135642"/>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393" name="Freeform: Shape 392">
                <a:extLst>
                  <a:ext uri="{FF2B5EF4-FFF2-40B4-BE49-F238E27FC236}">
                    <a16:creationId xmlns:a16="http://schemas.microsoft.com/office/drawing/2014/main" id="{CC3B7C37-E55C-486B-A8ED-C39077686DBC}"/>
                  </a:ext>
                </a:extLst>
              </p:cNvPr>
              <p:cNvSpPr/>
              <p:nvPr/>
            </p:nvSpPr>
            <p:spPr>
              <a:xfrm>
                <a:off x="11066651" y="3142155"/>
                <a:ext cx="27132" cy="135642"/>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394" name="Freeform: Shape 393">
                <a:extLst>
                  <a:ext uri="{FF2B5EF4-FFF2-40B4-BE49-F238E27FC236}">
                    <a16:creationId xmlns:a16="http://schemas.microsoft.com/office/drawing/2014/main" id="{AA8C716B-E051-4FAC-BE73-CE3605BD9E8B}"/>
                  </a:ext>
                </a:extLst>
              </p:cNvPr>
              <p:cNvSpPr/>
              <p:nvPr/>
            </p:nvSpPr>
            <p:spPr>
              <a:xfrm>
                <a:off x="11468702" y="3100363"/>
                <a:ext cx="27132" cy="135642"/>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395" name="Freeform: Shape 394">
                <a:extLst>
                  <a:ext uri="{FF2B5EF4-FFF2-40B4-BE49-F238E27FC236}">
                    <a16:creationId xmlns:a16="http://schemas.microsoft.com/office/drawing/2014/main" id="{97864FF5-BCB0-447D-B824-6C99E830206E}"/>
                  </a:ext>
                </a:extLst>
              </p:cNvPr>
              <p:cNvSpPr/>
              <p:nvPr/>
            </p:nvSpPr>
            <p:spPr>
              <a:xfrm>
                <a:off x="10676806" y="3247680"/>
                <a:ext cx="54263" cy="135642"/>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396" name="Freeform: Shape 395">
                <a:extLst>
                  <a:ext uri="{FF2B5EF4-FFF2-40B4-BE49-F238E27FC236}">
                    <a16:creationId xmlns:a16="http://schemas.microsoft.com/office/drawing/2014/main" id="{0C8559F1-BCC8-4380-B093-65ECADB01845}"/>
                  </a:ext>
                </a:extLst>
              </p:cNvPr>
              <p:cNvSpPr/>
              <p:nvPr/>
            </p:nvSpPr>
            <p:spPr>
              <a:xfrm>
                <a:off x="10733226" y="7899265"/>
                <a:ext cx="54263" cy="135642"/>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397" name="Freeform: Shape 396">
                <a:extLst>
                  <a:ext uri="{FF2B5EF4-FFF2-40B4-BE49-F238E27FC236}">
                    <a16:creationId xmlns:a16="http://schemas.microsoft.com/office/drawing/2014/main" id="{3C8DEE7D-D2A8-4EF5-B77D-B085B39A7C5F}"/>
                  </a:ext>
                </a:extLst>
              </p:cNvPr>
              <p:cNvSpPr/>
              <p:nvPr/>
            </p:nvSpPr>
            <p:spPr>
              <a:xfrm>
                <a:off x="10869697" y="3187181"/>
                <a:ext cx="54263" cy="135642"/>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398" name="Freeform: Shape 397">
                <a:extLst>
                  <a:ext uri="{FF2B5EF4-FFF2-40B4-BE49-F238E27FC236}">
                    <a16:creationId xmlns:a16="http://schemas.microsoft.com/office/drawing/2014/main" id="{6478A9BD-9897-40AD-985C-2ACB031D2BE0}"/>
                  </a:ext>
                </a:extLst>
              </p:cNvPr>
              <p:cNvSpPr/>
              <p:nvPr/>
            </p:nvSpPr>
            <p:spPr>
              <a:xfrm>
                <a:off x="10544133" y="7830623"/>
                <a:ext cx="54263" cy="135642"/>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399" name="Freeform: Shape 398">
                <a:extLst>
                  <a:ext uri="{FF2B5EF4-FFF2-40B4-BE49-F238E27FC236}">
                    <a16:creationId xmlns:a16="http://schemas.microsoft.com/office/drawing/2014/main" id="{514DFF3B-1CF2-4A41-862A-F162D5A00B59}"/>
                  </a:ext>
                </a:extLst>
              </p:cNvPr>
              <p:cNvSpPr/>
              <p:nvPr/>
            </p:nvSpPr>
            <p:spPr>
              <a:xfrm>
                <a:off x="11528654" y="8025405"/>
                <a:ext cx="27132" cy="135642"/>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400" name="Freeform: Shape 399">
                <a:extLst>
                  <a:ext uri="{FF2B5EF4-FFF2-40B4-BE49-F238E27FC236}">
                    <a16:creationId xmlns:a16="http://schemas.microsoft.com/office/drawing/2014/main" id="{36B91EE5-BA39-4595-A1B8-63F4AA99E67C}"/>
                  </a:ext>
                </a:extLst>
              </p:cNvPr>
              <p:cNvSpPr/>
              <p:nvPr/>
            </p:nvSpPr>
            <p:spPr>
              <a:xfrm>
                <a:off x="12040325" y="3153267"/>
                <a:ext cx="27132" cy="135642"/>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401" name="Freeform: Shape 400">
                <a:extLst>
                  <a:ext uri="{FF2B5EF4-FFF2-40B4-BE49-F238E27FC236}">
                    <a16:creationId xmlns:a16="http://schemas.microsoft.com/office/drawing/2014/main" id="{2BA0BF50-3764-47BA-A3E1-C4DE63531C4C}"/>
                  </a:ext>
                </a:extLst>
              </p:cNvPr>
              <p:cNvSpPr/>
              <p:nvPr/>
            </p:nvSpPr>
            <p:spPr>
              <a:xfrm>
                <a:off x="12066362" y="7965453"/>
                <a:ext cx="27132" cy="135642"/>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402" name="Freeform: Shape 401">
                <a:extLst>
                  <a:ext uri="{FF2B5EF4-FFF2-40B4-BE49-F238E27FC236}">
                    <a16:creationId xmlns:a16="http://schemas.microsoft.com/office/drawing/2014/main" id="{94A37358-2DE7-4EA8-B464-323DA434A9D9}"/>
                  </a:ext>
                </a:extLst>
              </p:cNvPr>
              <p:cNvSpPr/>
              <p:nvPr/>
            </p:nvSpPr>
            <p:spPr>
              <a:xfrm>
                <a:off x="12224792" y="3202638"/>
                <a:ext cx="54263" cy="135642"/>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403" name="Freeform: Shape 402">
                <a:extLst>
                  <a:ext uri="{FF2B5EF4-FFF2-40B4-BE49-F238E27FC236}">
                    <a16:creationId xmlns:a16="http://schemas.microsoft.com/office/drawing/2014/main" id="{6E5C357D-56B2-49EC-A0D8-DD49F7309283}"/>
                  </a:ext>
                </a:extLst>
              </p:cNvPr>
              <p:cNvSpPr/>
              <p:nvPr/>
            </p:nvSpPr>
            <p:spPr>
              <a:xfrm>
                <a:off x="12250032" y="7915816"/>
                <a:ext cx="54263" cy="135642"/>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404" name="Freeform: Shape 403">
                <a:extLst>
                  <a:ext uri="{FF2B5EF4-FFF2-40B4-BE49-F238E27FC236}">
                    <a16:creationId xmlns:a16="http://schemas.microsoft.com/office/drawing/2014/main" id="{32622A67-24F7-4796-B2C4-A26F8257BF4E}"/>
                  </a:ext>
                </a:extLst>
              </p:cNvPr>
              <p:cNvSpPr/>
              <p:nvPr/>
            </p:nvSpPr>
            <p:spPr>
              <a:xfrm>
                <a:off x="12404663" y="3267748"/>
                <a:ext cx="54263" cy="135642"/>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405" name="Freeform: Shape 404">
                <a:extLst>
                  <a:ext uri="{FF2B5EF4-FFF2-40B4-BE49-F238E27FC236}">
                    <a16:creationId xmlns:a16="http://schemas.microsoft.com/office/drawing/2014/main" id="{A70A5225-27D4-48A1-A830-5AF2D43F3204}"/>
                  </a:ext>
                </a:extLst>
              </p:cNvPr>
              <p:cNvSpPr/>
              <p:nvPr/>
            </p:nvSpPr>
            <p:spPr>
              <a:xfrm>
                <a:off x="11879442" y="8000461"/>
                <a:ext cx="27132" cy="135642"/>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406" name="Freeform: Shape 405">
                <a:extLst>
                  <a:ext uri="{FF2B5EF4-FFF2-40B4-BE49-F238E27FC236}">
                    <a16:creationId xmlns:a16="http://schemas.microsoft.com/office/drawing/2014/main" id="{B45C1DAC-F374-40E9-901D-EB561944B28D}"/>
                  </a:ext>
                </a:extLst>
              </p:cNvPr>
              <p:cNvSpPr/>
              <p:nvPr/>
            </p:nvSpPr>
            <p:spPr>
              <a:xfrm>
                <a:off x="11690349" y="8020263"/>
                <a:ext cx="27132" cy="135642"/>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407" name="Freeform: Shape 406">
                <a:extLst>
                  <a:ext uri="{FF2B5EF4-FFF2-40B4-BE49-F238E27FC236}">
                    <a16:creationId xmlns:a16="http://schemas.microsoft.com/office/drawing/2014/main" id="{523FEE30-1C3D-4D7C-9E01-C5A513747DC7}"/>
                  </a:ext>
                </a:extLst>
              </p:cNvPr>
              <p:cNvSpPr/>
              <p:nvPr/>
            </p:nvSpPr>
            <p:spPr>
              <a:xfrm>
                <a:off x="11664030" y="3102536"/>
                <a:ext cx="27132" cy="135642"/>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408" name="Freeform: Shape 407">
                <a:extLst>
                  <a:ext uri="{FF2B5EF4-FFF2-40B4-BE49-F238E27FC236}">
                    <a16:creationId xmlns:a16="http://schemas.microsoft.com/office/drawing/2014/main" id="{FF7B25F6-960D-4550-B284-038F23224B2D}"/>
                  </a:ext>
                </a:extLst>
              </p:cNvPr>
              <p:cNvSpPr/>
              <p:nvPr/>
            </p:nvSpPr>
            <p:spPr>
              <a:xfrm>
                <a:off x="11853139" y="3119899"/>
                <a:ext cx="27132" cy="135642"/>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409" name="Freeform: Shape 408">
                <a:extLst>
                  <a:ext uri="{FF2B5EF4-FFF2-40B4-BE49-F238E27FC236}">
                    <a16:creationId xmlns:a16="http://schemas.microsoft.com/office/drawing/2014/main" id="{EFA2B2E8-EC33-4F6C-B1C7-AF4A026B742F}"/>
                  </a:ext>
                </a:extLst>
              </p:cNvPr>
              <p:cNvSpPr/>
              <p:nvPr/>
            </p:nvSpPr>
            <p:spPr>
              <a:xfrm>
                <a:off x="9455712" y="3545284"/>
                <a:ext cx="4177922" cy="4177907"/>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0" name="Freeform: Shape 409">
                <a:extLst>
                  <a:ext uri="{FF2B5EF4-FFF2-40B4-BE49-F238E27FC236}">
                    <a16:creationId xmlns:a16="http://schemas.microsoft.com/office/drawing/2014/main" id="{94C94C5F-568E-468E-93B5-E1AF3CE28083}"/>
                  </a:ext>
                </a:extLst>
              </p:cNvPr>
              <p:cNvSpPr/>
              <p:nvPr/>
            </p:nvSpPr>
            <p:spPr>
              <a:xfrm>
                <a:off x="11551722" y="3480174"/>
                <a:ext cx="1519244" cy="73249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1" name="Freeform: Shape 410">
                <a:extLst>
                  <a:ext uri="{FF2B5EF4-FFF2-40B4-BE49-F238E27FC236}">
                    <a16:creationId xmlns:a16="http://schemas.microsoft.com/office/drawing/2014/main" id="{04A7F30E-709B-426F-A162-C0EC4A786875}"/>
                  </a:ext>
                </a:extLst>
              </p:cNvPr>
              <p:cNvSpPr/>
              <p:nvPr/>
            </p:nvSpPr>
            <p:spPr>
              <a:xfrm>
                <a:off x="9390868" y="5641028"/>
                <a:ext cx="488322" cy="1193681"/>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2" name="Freeform: Shape 411">
                <a:extLst>
                  <a:ext uri="{FF2B5EF4-FFF2-40B4-BE49-F238E27FC236}">
                    <a16:creationId xmlns:a16="http://schemas.microsoft.com/office/drawing/2014/main" id="{4880AB26-8AA8-41DF-BB8E-9F0E06D6B514}"/>
                  </a:ext>
                </a:extLst>
              </p:cNvPr>
              <p:cNvSpPr/>
              <p:nvPr/>
            </p:nvSpPr>
            <p:spPr>
              <a:xfrm>
                <a:off x="10711252" y="7488790"/>
                <a:ext cx="813885" cy="298416"/>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413" name="Group 412">
                <a:extLst>
                  <a:ext uri="{FF2B5EF4-FFF2-40B4-BE49-F238E27FC236}">
                    <a16:creationId xmlns:a16="http://schemas.microsoft.com/office/drawing/2014/main" id="{99D6F414-FBE2-4197-8510-E201A54E0CB5}"/>
                  </a:ext>
                </a:extLst>
              </p:cNvPr>
              <p:cNvGrpSpPr/>
              <p:nvPr/>
            </p:nvGrpSpPr>
            <p:grpSpPr>
              <a:xfrm>
                <a:off x="8587298" y="2727960"/>
                <a:ext cx="5865457" cy="5832794"/>
                <a:chOff x="8587298" y="2727960"/>
                <a:chExt cx="5865457" cy="5832794"/>
              </a:xfrm>
            </p:grpSpPr>
            <p:sp>
              <p:nvSpPr>
                <p:cNvPr id="416" name="Freeform: Shape 415">
                  <a:extLst>
                    <a:ext uri="{FF2B5EF4-FFF2-40B4-BE49-F238E27FC236}">
                      <a16:creationId xmlns:a16="http://schemas.microsoft.com/office/drawing/2014/main" id="{9FB04C73-54B3-4FDE-B569-D830A82229AE}"/>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7" name="Freeform: Shape 416">
                  <a:extLst>
                    <a:ext uri="{FF2B5EF4-FFF2-40B4-BE49-F238E27FC236}">
                      <a16:creationId xmlns:a16="http://schemas.microsoft.com/office/drawing/2014/main" id="{2285F1AC-0592-4B77-AF65-8BA59EC039EA}"/>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8" name="Freeform: Shape 417">
                  <a:extLst>
                    <a:ext uri="{FF2B5EF4-FFF2-40B4-BE49-F238E27FC236}">
                      <a16:creationId xmlns:a16="http://schemas.microsoft.com/office/drawing/2014/main" id="{D72A4DD6-45C2-4C7F-915E-A1500277CB1F}"/>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414" name="Freeform: Shape 413">
                <a:extLst>
                  <a:ext uri="{FF2B5EF4-FFF2-40B4-BE49-F238E27FC236}">
                    <a16:creationId xmlns:a16="http://schemas.microsoft.com/office/drawing/2014/main" id="{B4F9F815-198E-4EC4-AE50-1C594E482005}"/>
                  </a:ext>
                </a:extLst>
              </p:cNvPr>
              <p:cNvSpPr/>
              <p:nvPr/>
            </p:nvSpPr>
            <p:spPr>
              <a:xfrm>
                <a:off x="9727810" y="3817116"/>
                <a:ext cx="3635337" cy="363532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dirty="0">
                  <a:solidFill>
                    <a:srgbClr val="FFFFFF"/>
                  </a:solidFill>
                </a:endParaRPr>
              </a:p>
            </p:txBody>
          </p:sp>
          <p:sp>
            <p:nvSpPr>
              <p:cNvPr id="415" name="Freeform: Shape 414">
                <a:extLst>
                  <a:ext uri="{FF2B5EF4-FFF2-40B4-BE49-F238E27FC236}">
                    <a16:creationId xmlns:a16="http://schemas.microsoft.com/office/drawing/2014/main" id="{380A8756-A359-4408-B44D-AF62E1DF7E3A}"/>
                  </a:ext>
                </a:extLst>
              </p:cNvPr>
              <p:cNvSpPr/>
              <p:nvPr/>
            </p:nvSpPr>
            <p:spPr>
              <a:xfrm>
                <a:off x="8950292" y="3039598"/>
                <a:ext cx="5181697" cy="5181698"/>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grpSp>
        <p:grpSp>
          <p:nvGrpSpPr>
            <p:cNvPr id="286" name="Group 37">
              <a:extLst>
                <a:ext uri="{FF2B5EF4-FFF2-40B4-BE49-F238E27FC236}">
                  <a16:creationId xmlns:a16="http://schemas.microsoft.com/office/drawing/2014/main" id="{A8FE20B0-9712-4170-ABDD-7701A68129D1}"/>
                </a:ext>
              </a:extLst>
            </p:cNvPr>
            <p:cNvGrpSpPr>
              <a:grpSpLocks noChangeAspect="1"/>
            </p:cNvGrpSpPr>
            <p:nvPr/>
          </p:nvGrpSpPr>
          <p:grpSpPr bwMode="auto">
            <a:xfrm>
              <a:off x="7795773" y="2993792"/>
              <a:ext cx="1245823" cy="1175184"/>
              <a:chOff x="528" y="843"/>
              <a:chExt cx="776" cy="732"/>
            </a:xfrm>
            <a:solidFill>
              <a:schemeClr val="bg1"/>
            </a:solidFill>
          </p:grpSpPr>
          <p:sp>
            <p:nvSpPr>
              <p:cNvPr id="317" name="Freeform 38">
                <a:extLst>
                  <a:ext uri="{FF2B5EF4-FFF2-40B4-BE49-F238E27FC236}">
                    <a16:creationId xmlns:a16="http://schemas.microsoft.com/office/drawing/2014/main" id="{1CB32D97-A648-407A-9734-81D9BAB3044A}"/>
                  </a:ext>
                </a:extLst>
              </p:cNvPr>
              <p:cNvSpPr>
                <a:spLocks noEditPoints="1"/>
              </p:cNvSpPr>
              <p:nvPr/>
            </p:nvSpPr>
            <p:spPr bwMode="auto">
              <a:xfrm>
                <a:off x="714" y="1467"/>
                <a:ext cx="404" cy="108"/>
              </a:xfrm>
              <a:custGeom>
                <a:avLst/>
                <a:gdLst>
                  <a:gd name="T0" fmla="*/ 404 w 404"/>
                  <a:gd name="T1" fmla="*/ 108 h 108"/>
                  <a:gd name="T2" fmla="*/ 0 w 404"/>
                  <a:gd name="T3" fmla="*/ 108 h 108"/>
                  <a:gd name="T4" fmla="*/ 0 w 404"/>
                  <a:gd name="T5" fmla="*/ 84 h 108"/>
                  <a:gd name="T6" fmla="*/ 0 w 404"/>
                  <a:gd name="T7" fmla="*/ 84 h 108"/>
                  <a:gd name="T8" fmla="*/ 2 w 404"/>
                  <a:gd name="T9" fmla="*/ 68 h 108"/>
                  <a:gd name="T10" fmla="*/ 8 w 404"/>
                  <a:gd name="T11" fmla="*/ 52 h 108"/>
                  <a:gd name="T12" fmla="*/ 16 w 404"/>
                  <a:gd name="T13" fmla="*/ 38 h 108"/>
                  <a:gd name="T14" fmla="*/ 26 w 404"/>
                  <a:gd name="T15" fmla="*/ 24 h 108"/>
                  <a:gd name="T16" fmla="*/ 38 w 404"/>
                  <a:gd name="T17" fmla="*/ 14 h 108"/>
                  <a:gd name="T18" fmla="*/ 52 w 404"/>
                  <a:gd name="T19" fmla="*/ 6 h 108"/>
                  <a:gd name="T20" fmla="*/ 68 w 404"/>
                  <a:gd name="T21" fmla="*/ 2 h 108"/>
                  <a:gd name="T22" fmla="*/ 86 w 404"/>
                  <a:gd name="T23" fmla="*/ 0 h 108"/>
                  <a:gd name="T24" fmla="*/ 320 w 404"/>
                  <a:gd name="T25" fmla="*/ 0 h 108"/>
                  <a:gd name="T26" fmla="*/ 320 w 404"/>
                  <a:gd name="T27" fmla="*/ 0 h 108"/>
                  <a:gd name="T28" fmla="*/ 336 w 404"/>
                  <a:gd name="T29" fmla="*/ 2 h 108"/>
                  <a:gd name="T30" fmla="*/ 352 w 404"/>
                  <a:gd name="T31" fmla="*/ 6 h 108"/>
                  <a:gd name="T32" fmla="*/ 366 w 404"/>
                  <a:gd name="T33" fmla="*/ 14 h 108"/>
                  <a:gd name="T34" fmla="*/ 380 w 404"/>
                  <a:gd name="T35" fmla="*/ 24 h 108"/>
                  <a:gd name="T36" fmla="*/ 390 w 404"/>
                  <a:gd name="T37" fmla="*/ 38 h 108"/>
                  <a:gd name="T38" fmla="*/ 398 w 404"/>
                  <a:gd name="T39" fmla="*/ 52 h 108"/>
                  <a:gd name="T40" fmla="*/ 402 w 404"/>
                  <a:gd name="T41" fmla="*/ 68 h 108"/>
                  <a:gd name="T42" fmla="*/ 404 w 404"/>
                  <a:gd name="T43" fmla="*/ 84 h 108"/>
                  <a:gd name="T44" fmla="*/ 404 w 404"/>
                  <a:gd name="T45" fmla="*/ 108 h 108"/>
                  <a:gd name="T46" fmla="*/ 18 w 404"/>
                  <a:gd name="T47" fmla="*/ 90 h 108"/>
                  <a:gd name="T48" fmla="*/ 386 w 404"/>
                  <a:gd name="T49" fmla="*/ 90 h 108"/>
                  <a:gd name="T50" fmla="*/ 386 w 404"/>
                  <a:gd name="T51" fmla="*/ 84 h 108"/>
                  <a:gd name="T52" fmla="*/ 386 w 404"/>
                  <a:gd name="T53" fmla="*/ 84 h 108"/>
                  <a:gd name="T54" fmla="*/ 384 w 404"/>
                  <a:gd name="T55" fmla="*/ 70 h 108"/>
                  <a:gd name="T56" fmla="*/ 380 w 404"/>
                  <a:gd name="T57" fmla="*/ 58 h 108"/>
                  <a:gd name="T58" fmla="*/ 374 w 404"/>
                  <a:gd name="T59" fmla="*/ 48 h 108"/>
                  <a:gd name="T60" fmla="*/ 366 w 404"/>
                  <a:gd name="T61" fmla="*/ 38 h 108"/>
                  <a:gd name="T62" fmla="*/ 356 w 404"/>
                  <a:gd name="T63" fmla="*/ 30 h 108"/>
                  <a:gd name="T64" fmla="*/ 346 w 404"/>
                  <a:gd name="T65" fmla="*/ 24 h 108"/>
                  <a:gd name="T66" fmla="*/ 334 w 404"/>
                  <a:gd name="T67" fmla="*/ 20 h 108"/>
                  <a:gd name="T68" fmla="*/ 320 w 404"/>
                  <a:gd name="T69" fmla="*/ 18 h 108"/>
                  <a:gd name="T70" fmla="*/ 86 w 404"/>
                  <a:gd name="T71" fmla="*/ 18 h 108"/>
                  <a:gd name="T72" fmla="*/ 86 w 404"/>
                  <a:gd name="T73" fmla="*/ 18 h 108"/>
                  <a:gd name="T74" fmla="*/ 72 w 404"/>
                  <a:gd name="T75" fmla="*/ 20 h 108"/>
                  <a:gd name="T76" fmla="*/ 60 w 404"/>
                  <a:gd name="T77" fmla="*/ 24 h 108"/>
                  <a:gd name="T78" fmla="*/ 48 w 404"/>
                  <a:gd name="T79" fmla="*/ 30 h 108"/>
                  <a:gd name="T80" fmla="*/ 38 w 404"/>
                  <a:gd name="T81" fmla="*/ 38 h 108"/>
                  <a:gd name="T82" fmla="*/ 30 w 404"/>
                  <a:gd name="T83" fmla="*/ 48 h 108"/>
                  <a:gd name="T84" fmla="*/ 24 w 404"/>
                  <a:gd name="T85" fmla="*/ 58 h 108"/>
                  <a:gd name="T86" fmla="*/ 20 w 404"/>
                  <a:gd name="T87" fmla="*/ 70 h 108"/>
                  <a:gd name="T88" fmla="*/ 18 w 404"/>
                  <a:gd name="T89" fmla="*/ 84 h 108"/>
                  <a:gd name="T90" fmla="*/ 18 w 404"/>
                  <a:gd name="T91" fmla="*/ 9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108">
                    <a:moveTo>
                      <a:pt x="404" y="108"/>
                    </a:moveTo>
                    <a:lnTo>
                      <a:pt x="0" y="108"/>
                    </a:lnTo>
                    <a:lnTo>
                      <a:pt x="0" y="84"/>
                    </a:lnTo>
                    <a:lnTo>
                      <a:pt x="0" y="84"/>
                    </a:lnTo>
                    <a:lnTo>
                      <a:pt x="2" y="68"/>
                    </a:lnTo>
                    <a:lnTo>
                      <a:pt x="8" y="52"/>
                    </a:lnTo>
                    <a:lnTo>
                      <a:pt x="16" y="38"/>
                    </a:lnTo>
                    <a:lnTo>
                      <a:pt x="26" y="24"/>
                    </a:lnTo>
                    <a:lnTo>
                      <a:pt x="38" y="14"/>
                    </a:lnTo>
                    <a:lnTo>
                      <a:pt x="52" y="6"/>
                    </a:lnTo>
                    <a:lnTo>
                      <a:pt x="68" y="2"/>
                    </a:lnTo>
                    <a:lnTo>
                      <a:pt x="86" y="0"/>
                    </a:lnTo>
                    <a:lnTo>
                      <a:pt x="320" y="0"/>
                    </a:lnTo>
                    <a:lnTo>
                      <a:pt x="320" y="0"/>
                    </a:lnTo>
                    <a:lnTo>
                      <a:pt x="336" y="2"/>
                    </a:lnTo>
                    <a:lnTo>
                      <a:pt x="352" y="6"/>
                    </a:lnTo>
                    <a:lnTo>
                      <a:pt x="366" y="14"/>
                    </a:lnTo>
                    <a:lnTo>
                      <a:pt x="380" y="24"/>
                    </a:lnTo>
                    <a:lnTo>
                      <a:pt x="390" y="38"/>
                    </a:lnTo>
                    <a:lnTo>
                      <a:pt x="398" y="52"/>
                    </a:lnTo>
                    <a:lnTo>
                      <a:pt x="402" y="68"/>
                    </a:lnTo>
                    <a:lnTo>
                      <a:pt x="404" y="84"/>
                    </a:lnTo>
                    <a:lnTo>
                      <a:pt x="404" y="108"/>
                    </a:lnTo>
                    <a:close/>
                    <a:moveTo>
                      <a:pt x="18" y="90"/>
                    </a:moveTo>
                    <a:lnTo>
                      <a:pt x="386" y="90"/>
                    </a:lnTo>
                    <a:lnTo>
                      <a:pt x="386" y="84"/>
                    </a:lnTo>
                    <a:lnTo>
                      <a:pt x="386" y="84"/>
                    </a:lnTo>
                    <a:lnTo>
                      <a:pt x="384" y="70"/>
                    </a:lnTo>
                    <a:lnTo>
                      <a:pt x="380" y="58"/>
                    </a:lnTo>
                    <a:lnTo>
                      <a:pt x="374" y="48"/>
                    </a:lnTo>
                    <a:lnTo>
                      <a:pt x="366" y="38"/>
                    </a:lnTo>
                    <a:lnTo>
                      <a:pt x="356" y="30"/>
                    </a:lnTo>
                    <a:lnTo>
                      <a:pt x="346" y="24"/>
                    </a:lnTo>
                    <a:lnTo>
                      <a:pt x="334" y="20"/>
                    </a:lnTo>
                    <a:lnTo>
                      <a:pt x="320" y="18"/>
                    </a:lnTo>
                    <a:lnTo>
                      <a:pt x="86" y="18"/>
                    </a:lnTo>
                    <a:lnTo>
                      <a:pt x="86" y="18"/>
                    </a:lnTo>
                    <a:lnTo>
                      <a:pt x="72" y="20"/>
                    </a:lnTo>
                    <a:lnTo>
                      <a:pt x="60" y="24"/>
                    </a:lnTo>
                    <a:lnTo>
                      <a:pt x="48" y="30"/>
                    </a:lnTo>
                    <a:lnTo>
                      <a:pt x="38" y="38"/>
                    </a:lnTo>
                    <a:lnTo>
                      <a:pt x="30" y="48"/>
                    </a:lnTo>
                    <a:lnTo>
                      <a:pt x="24" y="58"/>
                    </a:lnTo>
                    <a:lnTo>
                      <a:pt x="20" y="70"/>
                    </a:lnTo>
                    <a:lnTo>
                      <a:pt x="18" y="84"/>
                    </a:lnTo>
                    <a:lnTo>
                      <a:pt x="1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39">
                <a:extLst>
                  <a:ext uri="{FF2B5EF4-FFF2-40B4-BE49-F238E27FC236}">
                    <a16:creationId xmlns:a16="http://schemas.microsoft.com/office/drawing/2014/main" id="{6D996E0C-BEB2-4DBE-B128-1DFAC0ED77CF}"/>
                  </a:ext>
                </a:extLst>
              </p:cNvPr>
              <p:cNvSpPr>
                <a:spLocks noEditPoints="1"/>
              </p:cNvSpPr>
              <p:nvPr/>
            </p:nvSpPr>
            <p:spPr bwMode="auto">
              <a:xfrm>
                <a:off x="846" y="1421"/>
                <a:ext cx="142" cy="64"/>
              </a:xfrm>
              <a:custGeom>
                <a:avLst/>
                <a:gdLst>
                  <a:gd name="T0" fmla="*/ 142 w 142"/>
                  <a:gd name="T1" fmla="*/ 64 h 64"/>
                  <a:gd name="T2" fmla="*/ 0 w 142"/>
                  <a:gd name="T3" fmla="*/ 64 h 64"/>
                  <a:gd name="T4" fmla="*/ 0 w 142"/>
                  <a:gd name="T5" fmla="*/ 0 h 64"/>
                  <a:gd name="T6" fmla="*/ 142 w 142"/>
                  <a:gd name="T7" fmla="*/ 0 h 64"/>
                  <a:gd name="T8" fmla="*/ 142 w 142"/>
                  <a:gd name="T9" fmla="*/ 64 h 64"/>
                  <a:gd name="T10" fmla="*/ 18 w 142"/>
                  <a:gd name="T11" fmla="*/ 46 h 64"/>
                  <a:gd name="T12" fmla="*/ 124 w 142"/>
                  <a:gd name="T13" fmla="*/ 46 h 64"/>
                  <a:gd name="T14" fmla="*/ 124 w 142"/>
                  <a:gd name="T15" fmla="*/ 18 h 64"/>
                  <a:gd name="T16" fmla="*/ 18 w 142"/>
                  <a:gd name="T17" fmla="*/ 18 h 64"/>
                  <a:gd name="T18" fmla="*/ 18 w 14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4">
                    <a:moveTo>
                      <a:pt x="142" y="64"/>
                    </a:moveTo>
                    <a:lnTo>
                      <a:pt x="0" y="64"/>
                    </a:lnTo>
                    <a:lnTo>
                      <a:pt x="0" y="0"/>
                    </a:lnTo>
                    <a:lnTo>
                      <a:pt x="142" y="0"/>
                    </a:lnTo>
                    <a:lnTo>
                      <a:pt x="142" y="64"/>
                    </a:lnTo>
                    <a:close/>
                    <a:moveTo>
                      <a:pt x="18" y="46"/>
                    </a:moveTo>
                    <a:lnTo>
                      <a:pt x="124" y="46"/>
                    </a:lnTo>
                    <a:lnTo>
                      <a:pt x="124"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40">
                <a:extLst>
                  <a:ext uri="{FF2B5EF4-FFF2-40B4-BE49-F238E27FC236}">
                    <a16:creationId xmlns:a16="http://schemas.microsoft.com/office/drawing/2014/main" id="{ED4CDE76-10B4-497C-89E6-6D023C1D8F98}"/>
                  </a:ext>
                </a:extLst>
              </p:cNvPr>
              <p:cNvSpPr>
                <a:spLocks noEditPoints="1"/>
              </p:cNvSpPr>
              <p:nvPr/>
            </p:nvSpPr>
            <p:spPr bwMode="auto">
              <a:xfrm>
                <a:off x="878" y="1015"/>
                <a:ext cx="76" cy="424"/>
              </a:xfrm>
              <a:custGeom>
                <a:avLst/>
                <a:gdLst>
                  <a:gd name="T0" fmla="*/ 76 w 76"/>
                  <a:gd name="T1" fmla="*/ 424 h 424"/>
                  <a:gd name="T2" fmla="*/ 0 w 76"/>
                  <a:gd name="T3" fmla="*/ 424 h 424"/>
                  <a:gd name="T4" fmla="*/ 0 w 76"/>
                  <a:gd name="T5" fmla="*/ 0 h 424"/>
                  <a:gd name="T6" fmla="*/ 12 w 76"/>
                  <a:gd name="T7" fmla="*/ 6 h 424"/>
                  <a:gd name="T8" fmla="*/ 12 w 76"/>
                  <a:gd name="T9" fmla="*/ 6 h 424"/>
                  <a:gd name="T10" fmla="*/ 26 w 76"/>
                  <a:gd name="T11" fmla="*/ 10 h 424"/>
                  <a:gd name="T12" fmla="*/ 38 w 76"/>
                  <a:gd name="T13" fmla="*/ 12 h 424"/>
                  <a:gd name="T14" fmla="*/ 52 w 76"/>
                  <a:gd name="T15" fmla="*/ 10 h 424"/>
                  <a:gd name="T16" fmla="*/ 64 w 76"/>
                  <a:gd name="T17" fmla="*/ 6 h 424"/>
                  <a:gd name="T18" fmla="*/ 76 w 76"/>
                  <a:gd name="T19" fmla="*/ 0 h 424"/>
                  <a:gd name="T20" fmla="*/ 76 w 76"/>
                  <a:gd name="T21" fmla="*/ 424 h 424"/>
                  <a:gd name="T22" fmla="*/ 18 w 76"/>
                  <a:gd name="T23" fmla="*/ 406 h 424"/>
                  <a:gd name="T24" fmla="*/ 58 w 76"/>
                  <a:gd name="T25" fmla="*/ 406 h 424"/>
                  <a:gd name="T26" fmla="*/ 58 w 76"/>
                  <a:gd name="T27" fmla="*/ 28 h 424"/>
                  <a:gd name="T28" fmla="*/ 58 w 76"/>
                  <a:gd name="T29" fmla="*/ 28 h 424"/>
                  <a:gd name="T30" fmla="*/ 48 w 76"/>
                  <a:gd name="T31" fmla="*/ 30 h 424"/>
                  <a:gd name="T32" fmla="*/ 38 w 76"/>
                  <a:gd name="T33" fmla="*/ 30 h 424"/>
                  <a:gd name="T34" fmla="*/ 28 w 76"/>
                  <a:gd name="T35" fmla="*/ 30 h 424"/>
                  <a:gd name="T36" fmla="*/ 18 w 76"/>
                  <a:gd name="T37" fmla="*/ 28 h 424"/>
                  <a:gd name="T38" fmla="*/ 18 w 76"/>
                  <a:gd name="T3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424">
                    <a:moveTo>
                      <a:pt x="76" y="424"/>
                    </a:moveTo>
                    <a:lnTo>
                      <a:pt x="0" y="424"/>
                    </a:lnTo>
                    <a:lnTo>
                      <a:pt x="0" y="0"/>
                    </a:lnTo>
                    <a:lnTo>
                      <a:pt x="12" y="6"/>
                    </a:lnTo>
                    <a:lnTo>
                      <a:pt x="12" y="6"/>
                    </a:lnTo>
                    <a:lnTo>
                      <a:pt x="26" y="10"/>
                    </a:lnTo>
                    <a:lnTo>
                      <a:pt x="38" y="12"/>
                    </a:lnTo>
                    <a:lnTo>
                      <a:pt x="52" y="10"/>
                    </a:lnTo>
                    <a:lnTo>
                      <a:pt x="64" y="6"/>
                    </a:lnTo>
                    <a:lnTo>
                      <a:pt x="76" y="0"/>
                    </a:lnTo>
                    <a:lnTo>
                      <a:pt x="76" y="424"/>
                    </a:lnTo>
                    <a:close/>
                    <a:moveTo>
                      <a:pt x="18" y="406"/>
                    </a:moveTo>
                    <a:lnTo>
                      <a:pt x="58" y="406"/>
                    </a:lnTo>
                    <a:lnTo>
                      <a:pt x="58" y="28"/>
                    </a:lnTo>
                    <a:lnTo>
                      <a:pt x="58" y="28"/>
                    </a:lnTo>
                    <a:lnTo>
                      <a:pt x="48" y="30"/>
                    </a:lnTo>
                    <a:lnTo>
                      <a:pt x="38" y="30"/>
                    </a:lnTo>
                    <a:lnTo>
                      <a:pt x="28" y="30"/>
                    </a:lnTo>
                    <a:lnTo>
                      <a:pt x="18" y="28"/>
                    </a:lnTo>
                    <a:lnTo>
                      <a:pt x="1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41">
                <a:extLst>
                  <a:ext uri="{FF2B5EF4-FFF2-40B4-BE49-F238E27FC236}">
                    <a16:creationId xmlns:a16="http://schemas.microsoft.com/office/drawing/2014/main" id="{38E7EAE5-43BA-477E-BC57-0FED2F48FBC4}"/>
                  </a:ext>
                </a:extLst>
              </p:cNvPr>
              <p:cNvSpPr>
                <a:spLocks noEditPoints="1"/>
              </p:cNvSpPr>
              <p:nvPr/>
            </p:nvSpPr>
            <p:spPr bwMode="auto">
              <a:xfrm>
                <a:off x="964" y="929"/>
                <a:ext cx="280" cy="76"/>
              </a:xfrm>
              <a:custGeom>
                <a:avLst/>
                <a:gdLst>
                  <a:gd name="T0" fmla="*/ 240 w 280"/>
                  <a:gd name="T1" fmla="*/ 76 h 76"/>
                  <a:gd name="T2" fmla="*/ 0 w 280"/>
                  <a:gd name="T3" fmla="*/ 76 h 76"/>
                  <a:gd name="T4" fmla="*/ 6 w 280"/>
                  <a:gd name="T5" fmla="*/ 64 h 76"/>
                  <a:gd name="T6" fmla="*/ 6 w 280"/>
                  <a:gd name="T7" fmla="*/ 64 h 76"/>
                  <a:gd name="T8" fmla="*/ 12 w 280"/>
                  <a:gd name="T9" fmla="*/ 50 h 76"/>
                  <a:gd name="T10" fmla="*/ 12 w 280"/>
                  <a:gd name="T11" fmla="*/ 38 h 76"/>
                  <a:gd name="T12" fmla="*/ 12 w 280"/>
                  <a:gd name="T13" fmla="*/ 38 h 76"/>
                  <a:gd name="T14" fmla="*/ 12 w 280"/>
                  <a:gd name="T15" fmla="*/ 24 h 76"/>
                  <a:gd name="T16" fmla="*/ 6 w 280"/>
                  <a:gd name="T17" fmla="*/ 12 h 76"/>
                  <a:gd name="T18" fmla="*/ 0 w 280"/>
                  <a:gd name="T19" fmla="*/ 0 h 76"/>
                  <a:gd name="T20" fmla="*/ 240 w 280"/>
                  <a:gd name="T21" fmla="*/ 0 h 76"/>
                  <a:gd name="T22" fmla="*/ 240 w 280"/>
                  <a:gd name="T23" fmla="*/ 0 h 76"/>
                  <a:gd name="T24" fmla="*/ 248 w 280"/>
                  <a:gd name="T25" fmla="*/ 0 h 76"/>
                  <a:gd name="T26" fmla="*/ 256 w 280"/>
                  <a:gd name="T27" fmla="*/ 2 h 76"/>
                  <a:gd name="T28" fmla="*/ 262 w 280"/>
                  <a:gd name="T29" fmla="*/ 6 h 76"/>
                  <a:gd name="T30" fmla="*/ 268 w 280"/>
                  <a:gd name="T31" fmla="*/ 10 h 76"/>
                  <a:gd name="T32" fmla="*/ 272 w 280"/>
                  <a:gd name="T33" fmla="*/ 16 h 76"/>
                  <a:gd name="T34" fmla="*/ 276 w 280"/>
                  <a:gd name="T35" fmla="*/ 24 h 76"/>
                  <a:gd name="T36" fmla="*/ 278 w 280"/>
                  <a:gd name="T37" fmla="*/ 30 h 76"/>
                  <a:gd name="T38" fmla="*/ 280 w 280"/>
                  <a:gd name="T39" fmla="*/ 38 h 76"/>
                  <a:gd name="T40" fmla="*/ 280 w 280"/>
                  <a:gd name="T41" fmla="*/ 38 h 76"/>
                  <a:gd name="T42" fmla="*/ 278 w 280"/>
                  <a:gd name="T43" fmla="*/ 46 h 76"/>
                  <a:gd name="T44" fmla="*/ 276 w 280"/>
                  <a:gd name="T45" fmla="*/ 52 h 76"/>
                  <a:gd name="T46" fmla="*/ 272 w 280"/>
                  <a:gd name="T47" fmla="*/ 60 h 76"/>
                  <a:gd name="T48" fmla="*/ 268 w 280"/>
                  <a:gd name="T49" fmla="*/ 64 h 76"/>
                  <a:gd name="T50" fmla="*/ 262 w 280"/>
                  <a:gd name="T51" fmla="*/ 70 h 76"/>
                  <a:gd name="T52" fmla="*/ 256 w 280"/>
                  <a:gd name="T53" fmla="*/ 74 h 76"/>
                  <a:gd name="T54" fmla="*/ 248 w 280"/>
                  <a:gd name="T55" fmla="*/ 76 h 76"/>
                  <a:gd name="T56" fmla="*/ 240 w 280"/>
                  <a:gd name="T57" fmla="*/ 76 h 76"/>
                  <a:gd name="T58" fmla="*/ 240 w 280"/>
                  <a:gd name="T59" fmla="*/ 76 h 76"/>
                  <a:gd name="T60" fmla="*/ 28 w 280"/>
                  <a:gd name="T61" fmla="*/ 58 h 76"/>
                  <a:gd name="T62" fmla="*/ 240 w 280"/>
                  <a:gd name="T63" fmla="*/ 58 h 76"/>
                  <a:gd name="T64" fmla="*/ 240 w 280"/>
                  <a:gd name="T65" fmla="*/ 58 h 76"/>
                  <a:gd name="T66" fmla="*/ 248 w 280"/>
                  <a:gd name="T67" fmla="*/ 56 h 76"/>
                  <a:gd name="T68" fmla="*/ 256 w 280"/>
                  <a:gd name="T69" fmla="*/ 52 h 76"/>
                  <a:gd name="T70" fmla="*/ 260 w 280"/>
                  <a:gd name="T71" fmla="*/ 46 h 76"/>
                  <a:gd name="T72" fmla="*/ 262 w 280"/>
                  <a:gd name="T73" fmla="*/ 38 h 76"/>
                  <a:gd name="T74" fmla="*/ 262 w 280"/>
                  <a:gd name="T75" fmla="*/ 38 h 76"/>
                  <a:gd name="T76" fmla="*/ 260 w 280"/>
                  <a:gd name="T77" fmla="*/ 30 h 76"/>
                  <a:gd name="T78" fmla="*/ 256 w 280"/>
                  <a:gd name="T79" fmla="*/ 24 h 76"/>
                  <a:gd name="T80" fmla="*/ 248 w 280"/>
                  <a:gd name="T81" fmla="*/ 20 h 76"/>
                  <a:gd name="T82" fmla="*/ 240 w 280"/>
                  <a:gd name="T83" fmla="*/ 18 h 76"/>
                  <a:gd name="T84" fmla="*/ 28 w 280"/>
                  <a:gd name="T85" fmla="*/ 18 h 76"/>
                  <a:gd name="T86" fmla="*/ 28 w 280"/>
                  <a:gd name="T87" fmla="*/ 18 h 76"/>
                  <a:gd name="T88" fmla="*/ 30 w 280"/>
                  <a:gd name="T89" fmla="*/ 28 h 76"/>
                  <a:gd name="T90" fmla="*/ 30 w 280"/>
                  <a:gd name="T91" fmla="*/ 38 h 76"/>
                  <a:gd name="T92" fmla="*/ 30 w 280"/>
                  <a:gd name="T93" fmla="*/ 38 h 76"/>
                  <a:gd name="T94" fmla="*/ 30 w 280"/>
                  <a:gd name="T95" fmla="*/ 48 h 76"/>
                  <a:gd name="T96" fmla="*/ 28 w 280"/>
                  <a:gd name="T97" fmla="*/ 58 h 76"/>
                  <a:gd name="T98" fmla="*/ 28 w 280"/>
                  <a:gd name="T9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76">
                    <a:moveTo>
                      <a:pt x="240" y="76"/>
                    </a:moveTo>
                    <a:lnTo>
                      <a:pt x="0" y="76"/>
                    </a:lnTo>
                    <a:lnTo>
                      <a:pt x="6" y="64"/>
                    </a:lnTo>
                    <a:lnTo>
                      <a:pt x="6" y="64"/>
                    </a:lnTo>
                    <a:lnTo>
                      <a:pt x="12" y="50"/>
                    </a:lnTo>
                    <a:lnTo>
                      <a:pt x="12" y="38"/>
                    </a:lnTo>
                    <a:lnTo>
                      <a:pt x="12" y="38"/>
                    </a:lnTo>
                    <a:lnTo>
                      <a:pt x="12" y="24"/>
                    </a:lnTo>
                    <a:lnTo>
                      <a:pt x="6" y="12"/>
                    </a:lnTo>
                    <a:lnTo>
                      <a:pt x="0" y="0"/>
                    </a:lnTo>
                    <a:lnTo>
                      <a:pt x="240" y="0"/>
                    </a:lnTo>
                    <a:lnTo>
                      <a:pt x="240" y="0"/>
                    </a:lnTo>
                    <a:lnTo>
                      <a:pt x="248" y="0"/>
                    </a:lnTo>
                    <a:lnTo>
                      <a:pt x="256" y="2"/>
                    </a:lnTo>
                    <a:lnTo>
                      <a:pt x="262" y="6"/>
                    </a:lnTo>
                    <a:lnTo>
                      <a:pt x="268" y="10"/>
                    </a:lnTo>
                    <a:lnTo>
                      <a:pt x="272" y="16"/>
                    </a:lnTo>
                    <a:lnTo>
                      <a:pt x="276" y="24"/>
                    </a:lnTo>
                    <a:lnTo>
                      <a:pt x="278" y="30"/>
                    </a:lnTo>
                    <a:lnTo>
                      <a:pt x="280" y="38"/>
                    </a:lnTo>
                    <a:lnTo>
                      <a:pt x="280" y="38"/>
                    </a:lnTo>
                    <a:lnTo>
                      <a:pt x="278" y="46"/>
                    </a:lnTo>
                    <a:lnTo>
                      <a:pt x="276" y="52"/>
                    </a:lnTo>
                    <a:lnTo>
                      <a:pt x="272" y="60"/>
                    </a:lnTo>
                    <a:lnTo>
                      <a:pt x="268" y="64"/>
                    </a:lnTo>
                    <a:lnTo>
                      <a:pt x="262" y="70"/>
                    </a:lnTo>
                    <a:lnTo>
                      <a:pt x="256" y="74"/>
                    </a:lnTo>
                    <a:lnTo>
                      <a:pt x="248" y="76"/>
                    </a:lnTo>
                    <a:lnTo>
                      <a:pt x="240" y="76"/>
                    </a:lnTo>
                    <a:lnTo>
                      <a:pt x="240" y="76"/>
                    </a:lnTo>
                    <a:close/>
                    <a:moveTo>
                      <a:pt x="28" y="58"/>
                    </a:moveTo>
                    <a:lnTo>
                      <a:pt x="240" y="58"/>
                    </a:lnTo>
                    <a:lnTo>
                      <a:pt x="240" y="58"/>
                    </a:lnTo>
                    <a:lnTo>
                      <a:pt x="248" y="56"/>
                    </a:lnTo>
                    <a:lnTo>
                      <a:pt x="256" y="52"/>
                    </a:lnTo>
                    <a:lnTo>
                      <a:pt x="260" y="46"/>
                    </a:lnTo>
                    <a:lnTo>
                      <a:pt x="262" y="38"/>
                    </a:lnTo>
                    <a:lnTo>
                      <a:pt x="262" y="38"/>
                    </a:lnTo>
                    <a:lnTo>
                      <a:pt x="260" y="30"/>
                    </a:lnTo>
                    <a:lnTo>
                      <a:pt x="256" y="24"/>
                    </a:lnTo>
                    <a:lnTo>
                      <a:pt x="248" y="20"/>
                    </a:lnTo>
                    <a:lnTo>
                      <a:pt x="240" y="18"/>
                    </a:lnTo>
                    <a:lnTo>
                      <a:pt x="28" y="18"/>
                    </a:lnTo>
                    <a:lnTo>
                      <a:pt x="28" y="18"/>
                    </a:lnTo>
                    <a:lnTo>
                      <a:pt x="30" y="28"/>
                    </a:lnTo>
                    <a:lnTo>
                      <a:pt x="30" y="38"/>
                    </a:lnTo>
                    <a:lnTo>
                      <a:pt x="30" y="38"/>
                    </a:lnTo>
                    <a:lnTo>
                      <a:pt x="30" y="48"/>
                    </a:lnTo>
                    <a:lnTo>
                      <a:pt x="28" y="58"/>
                    </a:lnTo>
                    <a:lnTo>
                      <a:pt x="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1" name="Freeform 42">
                <a:extLst>
                  <a:ext uri="{FF2B5EF4-FFF2-40B4-BE49-F238E27FC236}">
                    <a16:creationId xmlns:a16="http://schemas.microsoft.com/office/drawing/2014/main" id="{54CF9C57-F26D-47D8-AEA0-529E762655CC}"/>
                  </a:ext>
                </a:extLst>
              </p:cNvPr>
              <p:cNvSpPr>
                <a:spLocks noEditPoints="1"/>
              </p:cNvSpPr>
              <p:nvPr/>
            </p:nvSpPr>
            <p:spPr bwMode="auto">
              <a:xfrm>
                <a:off x="590" y="929"/>
                <a:ext cx="278" cy="76"/>
              </a:xfrm>
              <a:custGeom>
                <a:avLst/>
                <a:gdLst>
                  <a:gd name="T0" fmla="*/ 278 w 278"/>
                  <a:gd name="T1" fmla="*/ 76 h 76"/>
                  <a:gd name="T2" fmla="*/ 38 w 278"/>
                  <a:gd name="T3" fmla="*/ 76 h 76"/>
                  <a:gd name="T4" fmla="*/ 38 w 278"/>
                  <a:gd name="T5" fmla="*/ 76 h 76"/>
                  <a:gd name="T6" fmla="*/ 30 w 278"/>
                  <a:gd name="T7" fmla="*/ 76 h 76"/>
                  <a:gd name="T8" fmla="*/ 22 w 278"/>
                  <a:gd name="T9" fmla="*/ 74 h 76"/>
                  <a:gd name="T10" fmla="*/ 16 w 278"/>
                  <a:gd name="T11" fmla="*/ 70 h 76"/>
                  <a:gd name="T12" fmla="*/ 10 w 278"/>
                  <a:gd name="T13" fmla="*/ 64 h 76"/>
                  <a:gd name="T14" fmla="*/ 6 w 278"/>
                  <a:gd name="T15" fmla="*/ 60 h 76"/>
                  <a:gd name="T16" fmla="*/ 2 w 278"/>
                  <a:gd name="T17" fmla="*/ 52 h 76"/>
                  <a:gd name="T18" fmla="*/ 0 w 278"/>
                  <a:gd name="T19" fmla="*/ 46 h 76"/>
                  <a:gd name="T20" fmla="*/ 0 w 278"/>
                  <a:gd name="T21" fmla="*/ 38 h 76"/>
                  <a:gd name="T22" fmla="*/ 0 w 278"/>
                  <a:gd name="T23" fmla="*/ 38 h 76"/>
                  <a:gd name="T24" fmla="*/ 0 w 278"/>
                  <a:gd name="T25" fmla="*/ 30 h 76"/>
                  <a:gd name="T26" fmla="*/ 2 w 278"/>
                  <a:gd name="T27" fmla="*/ 24 h 76"/>
                  <a:gd name="T28" fmla="*/ 6 w 278"/>
                  <a:gd name="T29" fmla="*/ 16 h 76"/>
                  <a:gd name="T30" fmla="*/ 10 w 278"/>
                  <a:gd name="T31" fmla="*/ 10 h 76"/>
                  <a:gd name="T32" fmla="*/ 16 w 278"/>
                  <a:gd name="T33" fmla="*/ 6 h 76"/>
                  <a:gd name="T34" fmla="*/ 22 w 278"/>
                  <a:gd name="T35" fmla="*/ 2 h 76"/>
                  <a:gd name="T36" fmla="*/ 30 w 278"/>
                  <a:gd name="T37" fmla="*/ 0 h 76"/>
                  <a:gd name="T38" fmla="*/ 38 w 278"/>
                  <a:gd name="T39" fmla="*/ 0 h 76"/>
                  <a:gd name="T40" fmla="*/ 278 w 278"/>
                  <a:gd name="T41" fmla="*/ 0 h 76"/>
                  <a:gd name="T42" fmla="*/ 272 w 278"/>
                  <a:gd name="T43" fmla="*/ 12 h 76"/>
                  <a:gd name="T44" fmla="*/ 272 w 278"/>
                  <a:gd name="T45" fmla="*/ 12 h 76"/>
                  <a:gd name="T46" fmla="*/ 268 w 278"/>
                  <a:gd name="T47" fmla="*/ 24 h 76"/>
                  <a:gd name="T48" fmla="*/ 266 w 278"/>
                  <a:gd name="T49" fmla="*/ 38 h 76"/>
                  <a:gd name="T50" fmla="*/ 266 w 278"/>
                  <a:gd name="T51" fmla="*/ 38 h 76"/>
                  <a:gd name="T52" fmla="*/ 268 w 278"/>
                  <a:gd name="T53" fmla="*/ 50 h 76"/>
                  <a:gd name="T54" fmla="*/ 272 w 278"/>
                  <a:gd name="T55" fmla="*/ 64 h 76"/>
                  <a:gd name="T56" fmla="*/ 278 w 278"/>
                  <a:gd name="T57" fmla="*/ 76 h 76"/>
                  <a:gd name="T58" fmla="*/ 38 w 278"/>
                  <a:gd name="T59" fmla="*/ 18 h 76"/>
                  <a:gd name="T60" fmla="*/ 38 w 278"/>
                  <a:gd name="T61" fmla="*/ 18 h 76"/>
                  <a:gd name="T62" fmla="*/ 30 w 278"/>
                  <a:gd name="T63" fmla="*/ 20 h 76"/>
                  <a:gd name="T64" fmla="*/ 24 w 278"/>
                  <a:gd name="T65" fmla="*/ 24 h 76"/>
                  <a:gd name="T66" fmla="*/ 20 w 278"/>
                  <a:gd name="T67" fmla="*/ 30 h 76"/>
                  <a:gd name="T68" fmla="*/ 18 w 278"/>
                  <a:gd name="T69" fmla="*/ 38 h 76"/>
                  <a:gd name="T70" fmla="*/ 18 w 278"/>
                  <a:gd name="T71" fmla="*/ 38 h 76"/>
                  <a:gd name="T72" fmla="*/ 20 w 278"/>
                  <a:gd name="T73" fmla="*/ 46 h 76"/>
                  <a:gd name="T74" fmla="*/ 24 w 278"/>
                  <a:gd name="T75" fmla="*/ 52 h 76"/>
                  <a:gd name="T76" fmla="*/ 30 w 278"/>
                  <a:gd name="T77" fmla="*/ 56 h 76"/>
                  <a:gd name="T78" fmla="*/ 38 w 278"/>
                  <a:gd name="T79" fmla="*/ 58 h 76"/>
                  <a:gd name="T80" fmla="*/ 252 w 278"/>
                  <a:gd name="T81" fmla="*/ 58 h 76"/>
                  <a:gd name="T82" fmla="*/ 252 w 278"/>
                  <a:gd name="T83" fmla="*/ 58 h 76"/>
                  <a:gd name="T84" fmla="*/ 250 w 278"/>
                  <a:gd name="T85" fmla="*/ 48 h 76"/>
                  <a:gd name="T86" fmla="*/ 248 w 278"/>
                  <a:gd name="T87" fmla="*/ 38 h 76"/>
                  <a:gd name="T88" fmla="*/ 248 w 278"/>
                  <a:gd name="T89" fmla="*/ 38 h 76"/>
                  <a:gd name="T90" fmla="*/ 250 w 278"/>
                  <a:gd name="T91" fmla="*/ 28 h 76"/>
                  <a:gd name="T92" fmla="*/ 252 w 278"/>
                  <a:gd name="T93" fmla="*/ 18 h 76"/>
                  <a:gd name="T94" fmla="*/ 38 w 278"/>
                  <a:gd name="T95"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8" h="76">
                    <a:moveTo>
                      <a:pt x="278" y="76"/>
                    </a:moveTo>
                    <a:lnTo>
                      <a:pt x="38" y="76"/>
                    </a:lnTo>
                    <a:lnTo>
                      <a:pt x="38" y="76"/>
                    </a:lnTo>
                    <a:lnTo>
                      <a:pt x="30" y="76"/>
                    </a:lnTo>
                    <a:lnTo>
                      <a:pt x="22" y="74"/>
                    </a:lnTo>
                    <a:lnTo>
                      <a:pt x="16" y="70"/>
                    </a:lnTo>
                    <a:lnTo>
                      <a:pt x="10" y="64"/>
                    </a:lnTo>
                    <a:lnTo>
                      <a:pt x="6" y="60"/>
                    </a:lnTo>
                    <a:lnTo>
                      <a:pt x="2" y="52"/>
                    </a:lnTo>
                    <a:lnTo>
                      <a:pt x="0" y="46"/>
                    </a:lnTo>
                    <a:lnTo>
                      <a:pt x="0" y="38"/>
                    </a:lnTo>
                    <a:lnTo>
                      <a:pt x="0" y="38"/>
                    </a:lnTo>
                    <a:lnTo>
                      <a:pt x="0" y="30"/>
                    </a:lnTo>
                    <a:lnTo>
                      <a:pt x="2" y="24"/>
                    </a:lnTo>
                    <a:lnTo>
                      <a:pt x="6" y="16"/>
                    </a:lnTo>
                    <a:lnTo>
                      <a:pt x="10" y="10"/>
                    </a:lnTo>
                    <a:lnTo>
                      <a:pt x="16" y="6"/>
                    </a:lnTo>
                    <a:lnTo>
                      <a:pt x="22" y="2"/>
                    </a:lnTo>
                    <a:lnTo>
                      <a:pt x="30" y="0"/>
                    </a:lnTo>
                    <a:lnTo>
                      <a:pt x="38" y="0"/>
                    </a:lnTo>
                    <a:lnTo>
                      <a:pt x="278" y="0"/>
                    </a:lnTo>
                    <a:lnTo>
                      <a:pt x="272" y="12"/>
                    </a:lnTo>
                    <a:lnTo>
                      <a:pt x="272" y="12"/>
                    </a:lnTo>
                    <a:lnTo>
                      <a:pt x="268" y="24"/>
                    </a:lnTo>
                    <a:lnTo>
                      <a:pt x="266" y="38"/>
                    </a:lnTo>
                    <a:lnTo>
                      <a:pt x="266" y="38"/>
                    </a:lnTo>
                    <a:lnTo>
                      <a:pt x="268" y="50"/>
                    </a:lnTo>
                    <a:lnTo>
                      <a:pt x="272" y="64"/>
                    </a:lnTo>
                    <a:lnTo>
                      <a:pt x="278" y="76"/>
                    </a:lnTo>
                    <a:close/>
                    <a:moveTo>
                      <a:pt x="38" y="18"/>
                    </a:moveTo>
                    <a:lnTo>
                      <a:pt x="38" y="18"/>
                    </a:lnTo>
                    <a:lnTo>
                      <a:pt x="30" y="20"/>
                    </a:lnTo>
                    <a:lnTo>
                      <a:pt x="24" y="24"/>
                    </a:lnTo>
                    <a:lnTo>
                      <a:pt x="20" y="30"/>
                    </a:lnTo>
                    <a:lnTo>
                      <a:pt x="18" y="38"/>
                    </a:lnTo>
                    <a:lnTo>
                      <a:pt x="18" y="38"/>
                    </a:lnTo>
                    <a:lnTo>
                      <a:pt x="20" y="46"/>
                    </a:lnTo>
                    <a:lnTo>
                      <a:pt x="24" y="52"/>
                    </a:lnTo>
                    <a:lnTo>
                      <a:pt x="30" y="56"/>
                    </a:lnTo>
                    <a:lnTo>
                      <a:pt x="38" y="58"/>
                    </a:lnTo>
                    <a:lnTo>
                      <a:pt x="252" y="58"/>
                    </a:lnTo>
                    <a:lnTo>
                      <a:pt x="252" y="58"/>
                    </a:lnTo>
                    <a:lnTo>
                      <a:pt x="250" y="48"/>
                    </a:lnTo>
                    <a:lnTo>
                      <a:pt x="248" y="38"/>
                    </a:lnTo>
                    <a:lnTo>
                      <a:pt x="248" y="38"/>
                    </a:lnTo>
                    <a:lnTo>
                      <a:pt x="250" y="28"/>
                    </a:lnTo>
                    <a:lnTo>
                      <a:pt x="252" y="18"/>
                    </a:lnTo>
                    <a:lnTo>
                      <a:pt x="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2" name="Freeform 43">
                <a:extLst>
                  <a:ext uri="{FF2B5EF4-FFF2-40B4-BE49-F238E27FC236}">
                    <a16:creationId xmlns:a16="http://schemas.microsoft.com/office/drawing/2014/main" id="{DBF2F406-1A75-4778-9836-8A79370A4471}"/>
                  </a:ext>
                </a:extLst>
              </p:cNvPr>
              <p:cNvSpPr>
                <a:spLocks/>
              </p:cNvSpPr>
              <p:nvPr/>
            </p:nvSpPr>
            <p:spPr bwMode="auto">
              <a:xfrm>
                <a:off x="842" y="889"/>
                <a:ext cx="148" cy="60"/>
              </a:xfrm>
              <a:custGeom>
                <a:avLst/>
                <a:gdLst>
                  <a:gd name="T0" fmla="*/ 16 w 148"/>
                  <a:gd name="T1" fmla="*/ 60 h 60"/>
                  <a:gd name="T2" fmla="*/ 0 w 148"/>
                  <a:gd name="T3" fmla="*/ 52 h 60"/>
                  <a:gd name="T4" fmla="*/ 4 w 148"/>
                  <a:gd name="T5" fmla="*/ 44 h 60"/>
                  <a:gd name="T6" fmla="*/ 4 w 148"/>
                  <a:gd name="T7" fmla="*/ 44 h 60"/>
                  <a:gd name="T8" fmla="*/ 10 w 148"/>
                  <a:gd name="T9" fmla="*/ 36 h 60"/>
                  <a:gd name="T10" fmla="*/ 16 w 148"/>
                  <a:gd name="T11" fmla="*/ 26 h 60"/>
                  <a:gd name="T12" fmla="*/ 24 w 148"/>
                  <a:gd name="T13" fmla="*/ 18 h 60"/>
                  <a:gd name="T14" fmla="*/ 32 w 148"/>
                  <a:gd name="T15" fmla="*/ 12 h 60"/>
                  <a:gd name="T16" fmla="*/ 42 w 148"/>
                  <a:gd name="T17" fmla="*/ 6 h 60"/>
                  <a:gd name="T18" fmla="*/ 52 w 148"/>
                  <a:gd name="T19" fmla="*/ 2 h 60"/>
                  <a:gd name="T20" fmla="*/ 64 w 148"/>
                  <a:gd name="T21" fmla="*/ 0 h 60"/>
                  <a:gd name="T22" fmla="*/ 74 w 148"/>
                  <a:gd name="T23" fmla="*/ 0 h 60"/>
                  <a:gd name="T24" fmla="*/ 74 w 148"/>
                  <a:gd name="T25" fmla="*/ 0 h 60"/>
                  <a:gd name="T26" fmla="*/ 86 w 148"/>
                  <a:gd name="T27" fmla="*/ 0 h 60"/>
                  <a:gd name="T28" fmla="*/ 96 w 148"/>
                  <a:gd name="T29" fmla="*/ 2 h 60"/>
                  <a:gd name="T30" fmla="*/ 106 w 148"/>
                  <a:gd name="T31" fmla="*/ 6 h 60"/>
                  <a:gd name="T32" fmla="*/ 116 w 148"/>
                  <a:gd name="T33" fmla="*/ 12 h 60"/>
                  <a:gd name="T34" fmla="*/ 126 w 148"/>
                  <a:gd name="T35" fmla="*/ 18 h 60"/>
                  <a:gd name="T36" fmla="*/ 132 w 148"/>
                  <a:gd name="T37" fmla="*/ 26 h 60"/>
                  <a:gd name="T38" fmla="*/ 140 w 148"/>
                  <a:gd name="T39" fmla="*/ 36 h 60"/>
                  <a:gd name="T40" fmla="*/ 146 w 148"/>
                  <a:gd name="T41" fmla="*/ 44 h 60"/>
                  <a:gd name="T42" fmla="*/ 148 w 148"/>
                  <a:gd name="T43" fmla="*/ 52 h 60"/>
                  <a:gd name="T44" fmla="*/ 132 w 148"/>
                  <a:gd name="T45" fmla="*/ 60 h 60"/>
                  <a:gd name="T46" fmla="*/ 128 w 148"/>
                  <a:gd name="T47" fmla="*/ 52 h 60"/>
                  <a:gd name="T48" fmla="*/ 128 w 148"/>
                  <a:gd name="T49" fmla="*/ 52 h 60"/>
                  <a:gd name="T50" fmla="*/ 124 w 148"/>
                  <a:gd name="T51" fmla="*/ 44 h 60"/>
                  <a:gd name="T52" fmla="*/ 120 w 148"/>
                  <a:gd name="T53" fmla="*/ 38 h 60"/>
                  <a:gd name="T54" fmla="*/ 106 w 148"/>
                  <a:gd name="T55" fmla="*/ 28 h 60"/>
                  <a:gd name="T56" fmla="*/ 92 w 148"/>
                  <a:gd name="T57" fmla="*/ 20 h 60"/>
                  <a:gd name="T58" fmla="*/ 84 w 148"/>
                  <a:gd name="T59" fmla="*/ 18 h 60"/>
                  <a:gd name="T60" fmla="*/ 74 w 148"/>
                  <a:gd name="T61" fmla="*/ 18 h 60"/>
                  <a:gd name="T62" fmla="*/ 74 w 148"/>
                  <a:gd name="T63" fmla="*/ 18 h 60"/>
                  <a:gd name="T64" fmla="*/ 66 w 148"/>
                  <a:gd name="T65" fmla="*/ 18 h 60"/>
                  <a:gd name="T66" fmla="*/ 58 w 148"/>
                  <a:gd name="T67" fmla="*/ 20 h 60"/>
                  <a:gd name="T68" fmla="*/ 42 w 148"/>
                  <a:gd name="T69" fmla="*/ 28 h 60"/>
                  <a:gd name="T70" fmla="*/ 30 w 148"/>
                  <a:gd name="T71" fmla="*/ 38 h 60"/>
                  <a:gd name="T72" fmla="*/ 24 w 148"/>
                  <a:gd name="T73" fmla="*/ 44 h 60"/>
                  <a:gd name="T74" fmla="*/ 20 w 148"/>
                  <a:gd name="T75" fmla="*/ 52 h 60"/>
                  <a:gd name="T76" fmla="*/ 16 w 148"/>
                  <a:gd name="T7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60">
                    <a:moveTo>
                      <a:pt x="16" y="60"/>
                    </a:moveTo>
                    <a:lnTo>
                      <a:pt x="0" y="52"/>
                    </a:lnTo>
                    <a:lnTo>
                      <a:pt x="4" y="44"/>
                    </a:lnTo>
                    <a:lnTo>
                      <a:pt x="4" y="44"/>
                    </a:lnTo>
                    <a:lnTo>
                      <a:pt x="10" y="36"/>
                    </a:lnTo>
                    <a:lnTo>
                      <a:pt x="16" y="26"/>
                    </a:lnTo>
                    <a:lnTo>
                      <a:pt x="24" y="18"/>
                    </a:lnTo>
                    <a:lnTo>
                      <a:pt x="32" y="12"/>
                    </a:lnTo>
                    <a:lnTo>
                      <a:pt x="42" y="6"/>
                    </a:lnTo>
                    <a:lnTo>
                      <a:pt x="52" y="2"/>
                    </a:lnTo>
                    <a:lnTo>
                      <a:pt x="64" y="0"/>
                    </a:lnTo>
                    <a:lnTo>
                      <a:pt x="74" y="0"/>
                    </a:lnTo>
                    <a:lnTo>
                      <a:pt x="74" y="0"/>
                    </a:lnTo>
                    <a:lnTo>
                      <a:pt x="86" y="0"/>
                    </a:lnTo>
                    <a:lnTo>
                      <a:pt x="96" y="2"/>
                    </a:lnTo>
                    <a:lnTo>
                      <a:pt x="106" y="6"/>
                    </a:lnTo>
                    <a:lnTo>
                      <a:pt x="116" y="12"/>
                    </a:lnTo>
                    <a:lnTo>
                      <a:pt x="126" y="18"/>
                    </a:lnTo>
                    <a:lnTo>
                      <a:pt x="132" y="26"/>
                    </a:lnTo>
                    <a:lnTo>
                      <a:pt x="140" y="36"/>
                    </a:lnTo>
                    <a:lnTo>
                      <a:pt x="146" y="44"/>
                    </a:lnTo>
                    <a:lnTo>
                      <a:pt x="148" y="52"/>
                    </a:lnTo>
                    <a:lnTo>
                      <a:pt x="132" y="60"/>
                    </a:lnTo>
                    <a:lnTo>
                      <a:pt x="128" y="52"/>
                    </a:lnTo>
                    <a:lnTo>
                      <a:pt x="128" y="52"/>
                    </a:lnTo>
                    <a:lnTo>
                      <a:pt x="124" y="44"/>
                    </a:lnTo>
                    <a:lnTo>
                      <a:pt x="120" y="38"/>
                    </a:lnTo>
                    <a:lnTo>
                      <a:pt x="106" y="28"/>
                    </a:lnTo>
                    <a:lnTo>
                      <a:pt x="92" y="20"/>
                    </a:lnTo>
                    <a:lnTo>
                      <a:pt x="84" y="18"/>
                    </a:lnTo>
                    <a:lnTo>
                      <a:pt x="74" y="18"/>
                    </a:lnTo>
                    <a:lnTo>
                      <a:pt x="74" y="18"/>
                    </a:lnTo>
                    <a:lnTo>
                      <a:pt x="66" y="18"/>
                    </a:lnTo>
                    <a:lnTo>
                      <a:pt x="58" y="20"/>
                    </a:lnTo>
                    <a:lnTo>
                      <a:pt x="42" y="28"/>
                    </a:lnTo>
                    <a:lnTo>
                      <a:pt x="30" y="38"/>
                    </a:lnTo>
                    <a:lnTo>
                      <a:pt x="24" y="44"/>
                    </a:lnTo>
                    <a:lnTo>
                      <a:pt x="20" y="52"/>
                    </a:lnTo>
                    <a:lnTo>
                      <a:pt x="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44">
                <a:extLst>
                  <a:ext uri="{FF2B5EF4-FFF2-40B4-BE49-F238E27FC236}">
                    <a16:creationId xmlns:a16="http://schemas.microsoft.com/office/drawing/2014/main" id="{9A8C8AFE-303A-4007-9198-83001969ECDA}"/>
                  </a:ext>
                </a:extLst>
              </p:cNvPr>
              <p:cNvSpPr>
                <a:spLocks/>
              </p:cNvSpPr>
              <p:nvPr/>
            </p:nvSpPr>
            <p:spPr bwMode="auto">
              <a:xfrm>
                <a:off x="934" y="985"/>
                <a:ext cx="56" cy="56"/>
              </a:xfrm>
              <a:custGeom>
                <a:avLst/>
                <a:gdLst>
                  <a:gd name="T0" fmla="*/ 8 w 56"/>
                  <a:gd name="T1" fmla="*/ 56 h 56"/>
                  <a:gd name="T2" fmla="*/ 0 w 56"/>
                  <a:gd name="T3" fmla="*/ 40 h 56"/>
                  <a:gd name="T4" fmla="*/ 8 w 56"/>
                  <a:gd name="T5" fmla="*/ 36 h 56"/>
                  <a:gd name="T6" fmla="*/ 8 w 56"/>
                  <a:gd name="T7" fmla="*/ 36 h 56"/>
                  <a:gd name="T8" fmla="*/ 16 w 56"/>
                  <a:gd name="T9" fmla="*/ 32 h 56"/>
                  <a:gd name="T10" fmla="*/ 24 w 56"/>
                  <a:gd name="T11" fmla="*/ 24 h 56"/>
                  <a:gd name="T12" fmla="*/ 32 w 56"/>
                  <a:gd name="T13" fmla="*/ 16 h 56"/>
                  <a:gd name="T14" fmla="*/ 36 w 56"/>
                  <a:gd name="T15" fmla="*/ 8 h 56"/>
                  <a:gd name="T16" fmla="*/ 40 w 56"/>
                  <a:gd name="T17" fmla="*/ 0 h 56"/>
                  <a:gd name="T18" fmla="*/ 56 w 56"/>
                  <a:gd name="T19" fmla="*/ 6 h 56"/>
                  <a:gd name="T20" fmla="*/ 54 w 56"/>
                  <a:gd name="T21" fmla="*/ 16 h 56"/>
                  <a:gd name="T22" fmla="*/ 54 w 56"/>
                  <a:gd name="T23" fmla="*/ 16 h 56"/>
                  <a:gd name="T24" fmla="*/ 46 w 56"/>
                  <a:gd name="T25" fmla="*/ 26 h 56"/>
                  <a:gd name="T26" fmla="*/ 38 w 56"/>
                  <a:gd name="T27" fmla="*/ 38 h 56"/>
                  <a:gd name="T28" fmla="*/ 28 w 56"/>
                  <a:gd name="T29" fmla="*/ 46 h 56"/>
                  <a:gd name="T30" fmla="*/ 16 w 56"/>
                  <a:gd name="T31" fmla="*/ 52 h 56"/>
                  <a:gd name="T32" fmla="*/ 8 w 56"/>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8" y="56"/>
                    </a:moveTo>
                    <a:lnTo>
                      <a:pt x="0" y="40"/>
                    </a:lnTo>
                    <a:lnTo>
                      <a:pt x="8" y="36"/>
                    </a:lnTo>
                    <a:lnTo>
                      <a:pt x="8" y="36"/>
                    </a:lnTo>
                    <a:lnTo>
                      <a:pt x="16" y="32"/>
                    </a:lnTo>
                    <a:lnTo>
                      <a:pt x="24" y="24"/>
                    </a:lnTo>
                    <a:lnTo>
                      <a:pt x="32" y="16"/>
                    </a:lnTo>
                    <a:lnTo>
                      <a:pt x="36" y="8"/>
                    </a:lnTo>
                    <a:lnTo>
                      <a:pt x="40" y="0"/>
                    </a:lnTo>
                    <a:lnTo>
                      <a:pt x="56" y="6"/>
                    </a:lnTo>
                    <a:lnTo>
                      <a:pt x="54" y="16"/>
                    </a:lnTo>
                    <a:lnTo>
                      <a:pt x="54" y="16"/>
                    </a:lnTo>
                    <a:lnTo>
                      <a:pt x="46" y="26"/>
                    </a:lnTo>
                    <a:lnTo>
                      <a:pt x="38" y="38"/>
                    </a:lnTo>
                    <a:lnTo>
                      <a:pt x="28" y="46"/>
                    </a:lnTo>
                    <a:lnTo>
                      <a:pt x="16" y="52"/>
                    </a:lnTo>
                    <a:lnTo>
                      <a:pt x="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45">
                <a:extLst>
                  <a:ext uri="{FF2B5EF4-FFF2-40B4-BE49-F238E27FC236}">
                    <a16:creationId xmlns:a16="http://schemas.microsoft.com/office/drawing/2014/main" id="{788FEB29-178D-4DBE-B076-CC7015B966A6}"/>
                  </a:ext>
                </a:extLst>
              </p:cNvPr>
              <p:cNvSpPr>
                <a:spLocks/>
              </p:cNvSpPr>
              <p:nvPr/>
            </p:nvSpPr>
            <p:spPr bwMode="auto">
              <a:xfrm>
                <a:off x="842" y="985"/>
                <a:ext cx="58" cy="56"/>
              </a:xfrm>
              <a:custGeom>
                <a:avLst/>
                <a:gdLst>
                  <a:gd name="T0" fmla="*/ 50 w 58"/>
                  <a:gd name="T1" fmla="*/ 56 h 56"/>
                  <a:gd name="T2" fmla="*/ 42 w 58"/>
                  <a:gd name="T3" fmla="*/ 52 h 56"/>
                  <a:gd name="T4" fmla="*/ 42 w 58"/>
                  <a:gd name="T5" fmla="*/ 52 h 56"/>
                  <a:gd name="T6" fmla="*/ 30 w 58"/>
                  <a:gd name="T7" fmla="*/ 46 h 56"/>
                  <a:gd name="T8" fmla="*/ 20 w 58"/>
                  <a:gd name="T9" fmla="*/ 38 h 56"/>
                  <a:gd name="T10" fmla="*/ 10 w 58"/>
                  <a:gd name="T11" fmla="*/ 26 h 56"/>
                  <a:gd name="T12" fmla="*/ 4 w 58"/>
                  <a:gd name="T13" fmla="*/ 16 h 56"/>
                  <a:gd name="T14" fmla="*/ 0 w 58"/>
                  <a:gd name="T15" fmla="*/ 6 h 56"/>
                  <a:gd name="T16" fmla="*/ 16 w 58"/>
                  <a:gd name="T17" fmla="*/ 0 h 56"/>
                  <a:gd name="T18" fmla="*/ 20 w 58"/>
                  <a:gd name="T19" fmla="*/ 8 h 56"/>
                  <a:gd name="T20" fmla="*/ 20 w 58"/>
                  <a:gd name="T21" fmla="*/ 8 h 56"/>
                  <a:gd name="T22" fmla="*/ 26 w 58"/>
                  <a:gd name="T23" fmla="*/ 16 h 56"/>
                  <a:gd name="T24" fmla="*/ 32 w 58"/>
                  <a:gd name="T25" fmla="*/ 24 h 56"/>
                  <a:gd name="T26" fmla="*/ 40 w 58"/>
                  <a:gd name="T27" fmla="*/ 32 h 56"/>
                  <a:gd name="T28" fmla="*/ 48 w 58"/>
                  <a:gd name="T29" fmla="*/ 36 h 56"/>
                  <a:gd name="T30" fmla="*/ 58 w 58"/>
                  <a:gd name="T31" fmla="*/ 40 h 56"/>
                  <a:gd name="T32" fmla="*/ 50 w 58"/>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6">
                    <a:moveTo>
                      <a:pt x="50" y="56"/>
                    </a:moveTo>
                    <a:lnTo>
                      <a:pt x="42" y="52"/>
                    </a:lnTo>
                    <a:lnTo>
                      <a:pt x="42" y="52"/>
                    </a:lnTo>
                    <a:lnTo>
                      <a:pt x="30" y="46"/>
                    </a:lnTo>
                    <a:lnTo>
                      <a:pt x="20" y="38"/>
                    </a:lnTo>
                    <a:lnTo>
                      <a:pt x="10" y="26"/>
                    </a:lnTo>
                    <a:lnTo>
                      <a:pt x="4" y="16"/>
                    </a:lnTo>
                    <a:lnTo>
                      <a:pt x="0" y="6"/>
                    </a:lnTo>
                    <a:lnTo>
                      <a:pt x="16" y="0"/>
                    </a:lnTo>
                    <a:lnTo>
                      <a:pt x="20" y="8"/>
                    </a:lnTo>
                    <a:lnTo>
                      <a:pt x="20" y="8"/>
                    </a:lnTo>
                    <a:lnTo>
                      <a:pt x="26" y="16"/>
                    </a:lnTo>
                    <a:lnTo>
                      <a:pt x="32" y="24"/>
                    </a:lnTo>
                    <a:lnTo>
                      <a:pt x="40" y="32"/>
                    </a:lnTo>
                    <a:lnTo>
                      <a:pt x="48" y="36"/>
                    </a:lnTo>
                    <a:lnTo>
                      <a:pt x="58" y="40"/>
                    </a:lnTo>
                    <a:lnTo>
                      <a:pt x="5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46">
                <a:extLst>
                  <a:ext uri="{FF2B5EF4-FFF2-40B4-BE49-F238E27FC236}">
                    <a16:creationId xmlns:a16="http://schemas.microsoft.com/office/drawing/2014/main" id="{6AF09FBE-E115-404B-A8BA-A3D1C905E58C}"/>
                  </a:ext>
                </a:extLst>
              </p:cNvPr>
              <p:cNvSpPr>
                <a:spLocks noEditPoints="1"/>
              </p:cNvSpPr>
              <p:nvPr/>
            </p:nvSpPr>
            <p:spPr bwMode="auto">
              <a:xfrm>
                <a:off x="576" y="993"/>
                <a:ext cx="154" cy="228"/>
              </a:xfrm>
              <a:custGeom>
                <a:avLst/>
                <a:gdLst>
                  <a:gd name="T0" fmla="*/ 146 w 154"/>
                  <a:gd name="T1" fmla="*/ 228 h 228"/>
                  <a:gd name="T2" fmla="*/ 8 w 154"/>
                  <a:gd name="T3" fmla="*/ 228 h 228"/>
                  <a:gd name="T4" fmla="*/ 0 w 154"/>
                  <a:gd name="T5" fmla="*/ 216 h 228"/>
                  <a:gd name="T6" fmla="*/ 68 w 154"/>
                  <a:gd name="T7" fmla="*/ 0 h 228"/>
                  <a:gd name="T8" fmla="*/ 86 w 154"/>
                  <a:gd name="T9" fmla="*/ 0 h 228"/>
                  <a:gd name="T10" fmla="*/ 154 w 154"/>
                  <a:gd name="T11" fmla="*/ 216 h 228"/>
                  <a:gd name="T12" fmla="*/ 146 w 154"/>
                  <a:gd name="T13" fmla="*/ 228 h 228"/>
                  <a:gd name="T14" fmla="*/ 20 w 154"/>
                  <a:gd name="T15" fmla="*/ 210 h 228"/>
                  <a:gd name="T16" fmla="*/ 134 w 154"/>
                  <a:gd name="T17" fmla="*/ 210 h 228"/>
                  <a:gd name="T18" fmla="*/ 76 w 154"/>
                  <a:gd name="T19" fmla="*/ 32 h 228"/>
                  <a:gd name="T20" fmla="*/ 20 w 154"/>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28">
                    <a:moveTo>
                      <a:pt x="146" y="228"/>
                    </a:moveTo>
                    <a:lnTo>
                      <a:pt x="8" y="228"/>
                    </a:lnTo>
                    <a:lnTo>
                      <a:pt x="0" y="216"/>
                    </a:lnTo>
                    <a:lnTo>
                      <a:pt x="68" y="0"/>
                    </a:lnTo>
                    <a:lnTo>
                      <a:pt x="86" y="0"/>
                    </a:lnTo>
                    <a:lnTo>
                      <a:pt x="154" y="216"/>
                    </a:lnTo>
                    <a:lnTo>
                      <a:pt x="146" y="228"/>
                    </a:lnTo>
                    <a:close/>
                    <a:moveTo>
                      <a:pt x="20" y="210"/>
                    </a:moveTo>
                    <a:lnTo>
                      <a:pt x="134" y="210"/>
                    </a:lnTo>
                    <a:lnTo>
                      <a:pt x="76" y="32"/>
                    </a:lnTo>
                    <a:lnTo>
                      <a:pt x="2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6" name="Freeform 47">
                <a:extLst>
                  <a:ext uri="{FF2B5EF4-FFF2-40B4-BE49-F238E27FC236}">
                    <a16:creationId xmlns:a16="http://schemas.microsoft.com/office/drawing/2014/main" id="{130E5CAA-2D0D-4E2E-BC66-0461C972DB13}"/>
                  </a:ext>
                </a:extLst>
              </p:cNvPr>
              <p:cNvSpPr>
                <a:spLocks noEditPoints="1"/>
              </p:cNvSpPr>
              <p:nvPr/>
            </p:nvSpPr>
            <p:spPr bwMode="auto">
              <a:xfrm>
                <a:off x="1102" y="993"/>
                <a:ext cx="156" cy="228"/>
              </a:xfrm>
              <a:custGeom>
                <a:avLst/>
                <a:gdLst>
                  <a:gd name="T0" fmla="*/ 146 w 156"/>
                  <a:gd name="T1" fmla="*/ 228 h 228"/>
                  <a:gd name="T2" fmla="*/ 10 w 156"/>
                  <a:gd name="T3" fmla="*/ 228 h 228"/>
                  <a:gd name="T4" fmla="*/ 0 w 156"/>
                  <a:gd name="T5" fmla="*/ 216 h 228"/>
                  <a:gd name="T6" fmla="*/ 70 w 156"/>
                  <a:gd name="T7" fmla="*/ 0 h 228"/>
                  <a:gd name="T8" fmla="*/ 86 w 156"/>
                  <a:gd name="T9" fmla="*/ 0 h 228"/>
                  <a:gd name="T10" fmla="*/ 156 w 156"/>
                  <a:gd name="T11" fmla="*/ 216 h 228"/>
                  <a:gd name="T12" fmla="*/ 146 w 156"/>
                  <a:gd name="T13" fmla="*/ 228 h 228"/>
                  <a:gd name="T14" fmla="*/ 22 w 156"/>
                  <a:gd name="T15" fmla="*/ 210 h 228"/>
                  <a:gd name="T16" fmla="*/ 134 w 156"/>
                  <a:gd name="T17" fmla="*/ 210 h 228"/>
                  <a:gd name="T18" fmla="*/ 78 w 156"/>
                  <a:gd name="T19" fmla="*/ 32 h 228"/>
                  <a:gd name="T20" fmla="*/ 22 w 156"/>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28">
                    <a:moveTo>
                      <a:pt x="146" y="228"/>
                    </a:moveTo>
                    <a:lnTo>
                      <a:pt x="10" y="228"/>
                    </a:lnTo>
                    <a:lnTo>
                      <a:pt x="0" y="216"/>
                    </a:lnTo>
                    <a:lnTo>
                      <a:pt x="70" y="0"/>
                    </a:lnTo>
                    <a:lnTo>
                      <a:pt x="86" y="0"/>
                    </a:lnTo>
                    <a:lnTo>
                      <a:pt x="156" y="216"/>
                    </a:lnTo>
                    <a:lnTo>
                      <a:pt x="146" y="228"/>
                    </a:lnTo>
                    <a:close/>
                    <a:moveTo>
                      <a:pt x="22" y="210"/>
                    </a:moveTo>
                    <a:lnTo>
                      <a:pt x="134" y="210"/>
                    </a:lnTo>
                    <a:lnTo>
                      <a:pt x="78" y="32"/>
                    </a:lnTo>
                    <a:lnTo>
                      <a:pt x="22"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7" name="Freeform 48">
                <a:extLst>
                  <a:ext uri="{FF2B5EF4-FFF2-40B4-BE49-F238E27FC236}">
                    <a16:creationId xmlns:a16="http://schemas.microsoft.com/office/drawing/2014/main" id="{402BB9B7-CAAC-47F3-A458-364FEDBD1DD0}"/>
                  </a:ext>
                </a:extLst>
              </p:cNvPr>
              <p:cNvSpPr>
                <a:spLocks noEditPoints="1"/>
              </p:cNvSpPr>
              <p:nvPr/>
            </p:nvSpPr>
            <p:spPr bwMode="auto">
              <a:xfrm>
                <a:off x="528" y="1203"/>
                <a:ext cx="250" cy="134"/>
              </a:xfrm>
              <a:custGeom>
                <a:avLst/>
                <a:gdLst>
                  <a:gd name="T0" fmla="*/ 124 w 250"/>
                  <a:gd name="T1" fmla="*/ 134 h 134"/>
                  <a:gd name="T2" fmla="*/ 124 w 250"/>
                  <a:gd name="T3" fmla="*/ 134 h 134"/>
                  <a:gd name="T4" fmla="*/ 112 w 250"/>
                  <a:gd name="T5" fmla="*/ 134 h 134"/>
                  <a:gd name="T6" fmla="*/ 100 w 250"/>
                  <a:gd name="T7" fmla="*/ 132 h 134"/>
                  <a:gd name="T8" fmla="*/ 88 w 250"/>
                  <a:gd name="T9" fmla="*/ 128 h 134"/>
                  <a:gd name="T10" fmla="*/ 76 w 250"/>
                  <a:gd name="T11" fmla="*/ 124 h 134"/>
                  <a:gd name="T12" fmla="*/ 56 w 250"/>
                  <a:gd name="T13" fmla="*/ 114 h 134"/>
                  <a:gd name="T14" fmla="*/ 36 w 250"/>
                  <a:gd name="T15" fmla="*/ 98 h 134"/>
                  <a:gd name="T16" fmla="*/ 22 w 250"/>
                  <a:gd name="T17" fmla="*/ 80 h 134"/>
                  <a:gd name="T18" fmla="*/ 10 w 250"/>
                  <a:gd name="T19" fmla="*/ 58 h 134"/>
                  <a:gd name="T20" fmla="*/ 6 w 250"/>
                  <a:gd name="T21" fmla="*/ 46 h 134"/>
                  <a:gd name="T22" fmla="*/ 2 w 250"/>
                  <a:gd name="T23" fmla="*/ 34 h 134"/>
                  <a:gd name="T24" fmla="*/ 0 w 250"/>
                  <a:gd name="T25" fmla="*/ 22 h 134"/>
                  <a:gd name="T26" fmla="*/ 0 w 250"/>
                  <a:gd name="T27" fmla="*/ 10 h 134"/>
                  <a:gd name="T28" fmla="*/ 0 w 250"/>
                  <a:gd name="T29" fmla="*/ 0 h 134"/>
                  <a:gd name="T30" fmla="*/ 250 w 250"/>
                  <a:gd name="T31" fmla="*/ 0 h 134"/>
                  <a:gd name="T32" fmla="*/ 250 w 250"/>
                  <a:gd name="T33" fmla="*/ 10 h 134"/>
                  <a:gd name="T34" fmla="*/ 250 w 250"/>
                  <a:gd name="T35" fmla="*/ 10 h 134"/>
                  <a:gd name="T36" fmla="*/ 250 w 250"/>
                  <a:gd name="T37" fmla="*/ 22 h 134"/>
                  <a:gd name="T38" fmla="*/ 248 w 250"/>
                  <a:gd name="T39" fmla="*/ 34 h 134"/>
                  <a:gd name="T40" fmla="*/ 244 w 250"/>
                  <a:gd name="T41" fmla="*/ 46 h 134"/>
                  <a:gd name="T42" fmla="*/ 240 w 250"/>
                  <a:gd name="T43" fmla="*/ 58 h 134"/>
                  <a:gd name="T44" fmla="*/ 228 w 250"/>
                  <a:gd name="T45" fmla="*/ 80 h 134"/>
                  <a:gd name="T46" fmla="*/ 214 w 250"/>
                  <a:gd name="T47" fmla="*/ 98 h 134"/>
                  <a:gd name="T48" fmla="*/ 194 w 250"/>
                  <a:gd name="T49" fmla="*/ 114 h 134"/>
                  <a:gd name="T50" fmla="*/ 174 w 250"/>
                  <a:gd name="T51" fmla="*/ 124 h 134"/>
                  <a:gd name="T52" fmla="*/ 162 w 250"/>
                  <a:gd name="T53" fmla="*/ 128 h 134"/>
                  <a:gd name="T54" fmla="*/ 150 w 250"/>
                  <a:gd name="T55" fmla="*/ 132 h 134"/>
                  <a:gd name="T56" fmla="*/ 138 w 250"/>
                  <a:gd name="T57" fmla="*/ 134 h 134"/>
                  <a:gd name="T58" fmla="*/ 124 w 250"/>
                  <a:gd name="T59" fmla="*/ 134 h 134"/>
                  <a:gd name="T60" fmla="*/ 124 w 250"/>
                  <a:gd name="T61" fmla="*/ 134 h 134"/>
                  <a:gd name="T62" fmla="*/ 18 w 250"/>
                  <a:gd name="T63" fmla="*/ 18 h 134"/>
                  <a:gd name="T64" fmla="*/ 18 w 250"/>
                  <a:gd name="T65" fmla="*/ 18 h 134"/>
                  <a:gd name="T66" fmla="*/ 22 w 250"/>
                  <a:gd name="T67" fmla="*/ 38 h 134"/>
                  <a:gd name="T68" fmla="*/ 30 w 250"/>
                  <a:gd name="T69" fmla="*/ 56 h 134"/>
                  <a:gd name="T70" fmla="*/ 40 w 250"/>
                  <a:gd name="T71" fmla="*/ 74 h 134"/>
                  <a:gd name="T72" fmla="*/ 52 w 250"/>
                  <a:gd name="T73" fmla="*/ 88 h 134"/>
                  <a:gd name="T74" fmla="*/ 68 w 250"/>
                  <a:gd name="T75" fmla="*/ 100 h 134"/>
                  <a:gd name="T76" fmla="*/ 86 w 250"/>
                  <a:gd name="T77" fmla="*/ 108 h 134"/>
                  <a:gd name="T78" fmla="*/ 104 w 250"/>
                  <a:gd name="T79" fmla="*/ 114 h 134"/>
                  <a:gd name="T80" fmla="*/ 124 w 250"/>
                  <a:gd name="T81" fmla="*/ 116 h 134"/>
                  <a:gd name="T82" fmla="*/ 124 w 250"/>
                  <a:gd name="T83" fmla="*/ 116 h 134"/>
                  <a:gd name="T84" fmla="*/ 146 w 250"/>
                  <a:gd name="T85" fmla="*/ 114 h 134"/>
                  <a:gd name="T86" fmla="*/ 164 w 250"/>
                  <a:gd name="T87" fmla="*/ 108 h 134"/>
                  <a:gd name="T88" fmla="*/ 182 w 250"/>
                  <a:gd name="T89" fmla="*/ 100 h 134"/>
                  <a:gd name="T90" fmla="*/ 198 w 250"/>
                  <a:gd name="T91" fmla="*/ 88 h 134"/>
                  <a:gd name="T92" fmla="*/ 210 w 250"/>
                  <a:gd name="T93" fmla="*/ 74 h 134"/>
                  <a:gd name="T94" fmla="*/ 220 w 250"/>
                  <a:gd name="T95" fmla="*/ 56 h 134"/>
                  <a:gd name="T96" fmla="*/ 228 w 250"/>
                  <a:gd name="T97" fmla="*/ 38 h 134"/>
                  <a:gd name="T98" fmla="*/ 232 w 250"/>
                  <a:gd name="T99" fmla="*/ 18 h 134"/>
                  <a:gd name="T100" fmla="*/ 18 w 250"/>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134">
                    <a:moveTo>
                      <a:pt x="124" y="134"/>
                    </a:moveTo>
                    <a:lnTo>
                      <a:pt x="124" y="134"/>
                    </a:lnTo>
                    <a:lnTo>
                      <a:pt x="112" y="134"/>
                    </a:lnTo>
                    <a:lnTo>
                      <a:pt x="100" y="132"/>
                    </a:lnTo>
                    <a:lnTo>
                      <a:pt x="88" y="128"/>
                    </a:lnTo>
                    <a:lnTo>
                      <a:pt x="76" y="124"/>
                    </a:lnTo>
                    <a:lnTo>
                      <a:pt x="56" y="114"/>
                    </a:lnTo>
                    <a:lnTo>
                      <a:pt x="36" y="98"/>
                    </a:lnTo>
                    <a:lnTo>
                      <a:pt x="22" y="80"/>
                    </a:lnTo>
                    <a:lnTo>
                      <a:pt x="10" y="58"/>
                    </a:lnTo>
                    <a:lnTo>
                      <a:pt x="6" y="46"/>
                    </a:lnTo>
                    <a:lnTo>
                      <a:pt x="2" y="34"/>
                    </a:lnTo>
                    <a:lnTo>
                      <a:pt x="0" y="22"/>
                    </a:lnTo>
                    <a:lnTo>
                      <a:pt x="0" y="10"/>
                    </a:lnTo>
                    <a:lnTo>
                      <a:pt x="0" y="0"/>
                    </a:lnTo>
                    <a:lnTo>
                      <a:pt x="250" y="0"/>
                    </a:lnTo>
                    <a:lnTo>
                      <a:pt x="250" y="10"/>
                    </a:lnTo>
                    <a:lnTo>
                      <a:pt x="250" y="10"/>
                    </a:lnTo>
                    <a:lnTo>
                      <a:pt x="250" y="22"/>
                    </a:lnTo>
                    <a:lnTo>
                      <a:pt x="248" y="34"/>
                    </a:lnTo>
                    <a:lnTo>
                      <a:pt x="244" y="46"/>
                    </a:lnTo>
                    <a:lnTo>
                      <a:pt x="240" y="58"/>
                    </a:lnTo>
                    <a:lnTo>
                      <a:pt x="228" y="80"/>
                    </a:lnTo>
                    <a:lnTo>
                      <a:pt x="214" y="98"/>
                    </a:lnTo>
                    <a:lnTo>
                      <a:pt x="194" y="114"/>
                    </a:lnTo>
                    <a:lnTo>
                      <a:pt x="174" y="124"/>
                    </a:lnTo>
                    <a:lnTo>
                      <a:pt x="162" y="128"/>
                    </a:lnTo>
                    <a:lnTo>
                      <a:pt x="150" y="132"/>
                    </a:lnTo>
                    <a:lnTo>
                      <a:pt x="138" y="134"/>
                    </a:lnTo>
                    <a:lnTo>
                      <a:pt x="124" y="134"/>
                    </a:lnTo>
                    <a:lnTo>
                      <a:pt x="124" y="134"/>
                    </a:lnTo>
                    <a:close/>
                    <a:moveTo>
                      <a:pt x="18" y="18"/>
                    </a:moveTo>
                    <a:lnTo>
                      <a:pt x="18" y="18"/>
                    </a:lnTo>
                    <a:lnTo>
                      <a:pt x="22" y="38"/>
                    </a:lnTo>
                    <a:lnTo>
                      <a:pt x="30" y="56"/>
                    </a:lnTo>
                    <a:lnTo>
                      <a:pt x="40" y="74"/>
                    </a:lnTo>
                    <a:lnTo>
                      <a:pt x="52" y="88"/>
                    </a:lnTo>
                    <a:lnTo>
                      <a:pt x="68" y="100"/>
                    </a:lnTo>
                    <a:lnTo>
                      <a:pt x="86" y="108"/>
                    </a:lnTo>
                    <a:lnTo>
                      <a:pt x="104" y="114"/>
                    </a:lnTo>
                    <a:lnTo>
                      <a:pt x="124" y="116"/>
                    </a:lnTo>
                    <a:lnTo>
                      <a:pt x="124" y="116"/>
                    </a:lnTo>
                    <a:lnTo>
                      <a:pt x="146" y="114"/>
                    </a:lnTo>
                    <a:lnTo>
                      <a:pt x="164" y="108"/>
                    </a:lnTo>
                    <a:lnTo>
                      <a:pt x="182" y="100"/>
                    </a:lnTo>
                    <a:lnTo>
                      <a:pt x="198" y="88"/>
                    </a:lnTo>
                    <a:lnTo>
                      <a:pt x="210" y="74"/>
                    </a:lnTo>
                    <a:lnTo>
                      <a:pt x="220" y="56"/>
                    </a:lnTo>
                    <a:lnTo>
                      <a:pt x="228" y="38"/>
                    </a:lnTo>
                    <a:lnTo>
                      <a:pt x="232"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8" name="Freeform 49">
                <a:extLst>
                  <a:ext uri="{FF2B5EF4-FFF2-40B4-BE49-F238E27FC236}">
                    <a16:creationId xmlns:a16="http://schemas.microsoft.com/office/drawing/2014/main" id="{3E5D3042-47FB-4321-BF92-8A94FB86AB81}"/>
                  </a:ext>
                </a:extLst>
              </p:cNvPr>
              <p:cNvSpPr>
                <a:spLocks noEditPoints="1"/>
              </p:cNvSpPr>
              <p:nvPr/>
            </p:nvSpPr>
            <p:spPr bwMode="auto">
              <a:xfrm>
                <a:off x="1056" y="1203"/>
                <a:ext cx="248" cy="134"/>
              </a:xfrm>
              <a:custGeom>
                <a:avLst/>
                <a:gdLst>
                  <a:gd name="T0" fmla="*/ 124 w 248"/>
                  <a:gd name="T1" fmla="*/ 134 h 134"/>
                  <a:gd name="T2" fmla="*/ 124 w 248"/>
                  <a:gd name="T3" fmla="*/ 134 h 134"/>
                  <a:gd name="T4" fmla="*/ 112 w 248"/>
                  <a:gd name="T5" fmla="*/ 134 h 134"/>
                  <a:gd name="T6" fmla="*/ 98 w 248"/>
                  <a:gd name="T7" fmla="*/ 132 h 134"/>
                  <a:gd name="T8" fmla="*/ 86 w 248"/>
                  <a:gd name="T9" fmla="*/ 128 h 134"/>
                  <a:gd name="T10" fmla="*/ 76 w 248"/>
                  <a:gd name="T11" fmla="*/ 124 h 134"/>
                  <a:gd name="T12" fmla="*/ 54 w 248"/>
                  <a:gd name="T13" fmla="*/ 114 h 134"/>
                  <a:gd name="T14" fmla="*/ 36 w 248"/>
                  <a:gd name="T15" fmla="*/ 98 h 134"/>
                  <a:gd name="T16" fmla="*/ 20 w 248"/>
                  <a:gd name="T17" fmla="*/ 80 h 134"/>
                  <a:gd name="T18" fmla="*/ 8 w 248"/>
                  <a:gd name="T19" fmla="*/ 58 h 134"/>
                  <a:gd name="T20" fmla="*/ 4 w 248"/>
                  <a:gd name="T21" fmla="*/ 46 h 134"/>
                  <a:gd name="T22" fmla="*/ 2 w 248"/>
                  <a:gd name="T23" fmla="*/ 34 h 134"/>
                  <a:gd name="T24" fmla="*/ 0 w 248"/>
                  <a:gd name="T25" fmla="*/ 22 h 134"/>
                  <a:gd name="T26" fmla="*/ 0 w 248"/>
                  <a:gd name="T27" fmla="*/ 10 h 134"/>
                  <a:gd name="T28" fmla="*/ 0 w 248"/>
                  <a:gd name="T29" fmla="*/ 0 h 134"/>
                  <a:gd name="T30" fmla="*/ 248 w 248"/>
                  <a:gd name="T31" fmla="*/ 0 h 134"/>
                  <a:gd name="T32" fmla="*/ 248 w 248"/>
                  <a:gd name="T33" fmla="*/ 10 h 134"/>
                  <a:gd name="T34" fmla="*/ 248 w 248"/>
                  <a:gd name="T35" fmla="*/ 10 h 134"/>
                  <a:gd name="T36" fmla="*/ 248 w 248"/>
                  <a:gd name="T37" fmla="*/ 22 h 134"/>
                  <a:gd name="T38" fmla="*/ 246 w 248"/>
                  <a:gd name="T39" fmla="*/ 34 h 134"/>
                  <a:gd name="T40" fmla="*/ 244 w 248"/>
                  <a:gd name="T41" fmla="*/ 46 h 134"/>
                  <a:gd name="T42" fmla="*/ 240 w 248"/>
                  <a:gd name="T43" fmla="*/ 58 h 134"/>
                  <a:gd name="T44" fmla="*/ 228 w 248"/>
                  <a:gd name="T45" fmla="*/ 80 h 134"/>
                  <a:gd name="T46" fmla="*/ 212 w 248"/>
                  <a:gd name="T47" fmla="*/ 98 h 134"/>
                  <a:gd name="T48" fmla="*/ 194 w 248"/>
                  <a:gd name="T49" fmla="*/ 114 h 134"/>
                  <a:gd name="T50" fmla="*/ 172 w 248"/>
                  <a:gd name="T51" fmla="*/ 124 h 134"/>
                  <a:gd name="T52" fmla="*/ 162 w 248"/>
                  <a:gd name="T53" fmla="*/ 128 h 134"/>
                  <a:gd name="T54" fmla="*/ 150 w 248"/>
                  <a:gd name="T55" fmla="*/ 132 h 134"/>
                  <a:gd name="T56" fmla="*/ 136 w 248"/>
                  <a:gd name="T57" fmla="*/ 134 h 134"/>
                  <a:gd name="T58" fmla="*/ 124 w 248"/>
                  <a:gd name="T59" fmla="*/ 134 h 134"/>
                  <a:gd name="T60" fmla="*/ 124 w 248"/>
                  <a:gd name="T61" fmla="*/ 134 h 134"/>
                  <a:gd name="T62" fmla="*/ 18 w 248"/>
                  <a:gd name="T63" fmla="*/ 18 h 134"/>
                  <a:gd name="T64" fmla="*/ 18 w 248"/>
                  <a:gd name="T65" fmla="*/ 18 h 134"/>
                  <a:gd name="T66" fmla="*/ 22 w 248"/>
                  <a:gd name="T67" fmla="*/ 38 h 134"/>
                  <a:gd name="T68" fmla="*/ 28 w 248"/>
                  <a:gd name="T69" fmla="*/ 56 h 134"/>
                  <a:gd name="T70" fmla="*/ 38 w 248"/>
                  <a:gd name="T71" fmla="*/ 74 h 134"/>
                  <a:gd name="T72" fmla="*/ 52 w 248"/>
                  <a:gd name="T73" fmla="*/ 88 h 134"/>
                  <a:gd name="T74" fmla="*/ 66 w 248"/>
                  <a:gd name="T75" fmla="*/ 100 h 134"/>
                  <a:gd name="T76" fmla="*/ 84 w 248"/>
                  <a:gd name="T77" fmla="*/ 108 h 134"/>
                  <a:gd name="T78" fmla="*/ 104 w 248"/>
                  <a:gd name="T79" fmla="*/ 114 h 134"/>
                  <a:gd name="T80" fmla="*/ 124 w 248"/>
                  <a:gd name="T81" fmla="*/ 116 h 134"/>
                  <a:gd name="T82" fmla="*/ 124 w 248"/>
                  <a:gd name="T83" fmla="*/ 116 h 134"/>
                  <a:gd name="T84" fmla="*/ 144 w 248"/>
                  <a:gd name="T85" fmla="*/ 114 h 134"/>
                  <a:gd name="T86" fmla="*/ 164 w 248"/>
                  <a:gd name="T87" fmla="*/ 108 h 134"/>
                  <a:gd name="T88" fmla="*/ 182 w 248"/>
                  <a:gd name="T89" fmla="*/ 100 h 134"/>
                  <a:gd name="T90" fmla="*/ 196 w 248"/>
                  <a:gd name="T91" fmla="*/ 88 h 134"/>
                  <a:gd name="T92" fmla="*/ 210 w 248"/>
                  <a:gd name="T93" fmla="*/ 74 h 134"/>
                  <a:gd name="T94" fmla="*/ 220 w 248"/>
                  <a:gd name="T95" fmla="*/ 56 h 134"/>
                  <a:gd name="T96" fmla="*/ 226 w 248"/>
                  <a:gd name="T97" fmla="*/ 38 h 134"/>
                  <a:gd name="T98" fmla="*/ 230 w 248"/>
                  <a:gd name="T99" fmla="*/ 18 h 134"/>
                  <a:gd name="T100" fmla="*/ 18 w 248"/>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34">
                    <a:moveTo>
                      <a:pt x="124" y="134"/>
                    </a:moveTo>
                    <a:lnTo>
                      <a:pt x="124" y="134"/>
                    </a:lnTo>
                    <a:lnTo>
                      <a:pt x="112" y="134"/>
                    </a:lnTo>
                    <a:lnTo>
                      <a:pt x="98" y="132"/>
                    </a:lnTo>
                    <a:lnTo>
                      <a:pt x="86" y="128"/>
                    </a:lnTo>
                    <a:lnTo>
                      <a:pt x="76" y="124"/>
                    </a:lnTo>
                    <a:lnTo>
                      <a:pt x="54" y="114"/>
                    </a:lnTo>
                    <a:lnTo>
                      <a:pt x="36" y="98"/>
                    </a:lnTo>
                    <a:lnTo>
                      <a:pt x="20" y="80"/>
                    </a:lnTo>
                    <a:lnTo>
                      <a:pt x="8" y="58"/>
                    </a:lnTo>
                    <a:lnTo>
                      <a:pt x="4" y="46"/>
                    </a:lnTo>
                    <a:lnTo>
                      <a:pt x="2" y="34"/>
                    </a:lnTo>
                    <a:lnTo>
                      <a:pt x="0" y="22"/>
                    </a:lnTo>
                    <a:lnTo>
                      <a:pt x="0" y="10"/>
                    </a:lnTo>
                    <a:lnTo>
                      <a:pt x="0" y="0"/>
                    </a:lnTo>
                    <a:lnTo>
                      <a:pt x="248" y="0"/>
                    </a:lnTo>
                    <a:lnTo>
                      <a:pt x="248" y="10"/>
                    </a:lnTo>
                    <a:lnTo>
                      <a:pt x="248" y="10"/>
                    </a:lnTo>
                    <a:lnTo>
                      <a:pt x="248" y="22"/>
                    </a:lnTo>
                    <a:lnTo>
                      <a:pt x="246" y="34"/>
                    </a:lnTo>
                    <a:lnTo>
                      <a:pt x="244" y="46"/>
                    </a:lnTo>
                    <a:lnTo>
                      <a:pt x="240" y="58"/>
                    </a:lnTo>
                    <a:lnTo>
                      <a:pt x="228" y="80"/>
                    </a:lnTo>
                    <a:lnTo>
                      <a:pt x="212" y="98"/>
                    </a:lnTo>
                    <a:lnTo>
                      <a:pt x="194" y="114"/>
                    </a:lnTo>
                    <a:lnTo>
                      <a:pt x="172" y="124"/>
                    </a:lnTo>
                    <a:lnTo>
                      <a:pt x="162" y="128"/>
                    </a:lnTo>
                    <a:lnTo>
                      <a:pt x="150" y="132"/>
                    </a:lnTo>
                    <a:lnTo>
                      <a:pt x="136" y="134"/>
                    </a:lnTo>
                    <a:lnTo>
                      <a:pt x="124" y="134"/>
                    </a:lnTo>
                    <a:lnTo>
                      <a:pt x="124" y="134"/>
                    </a:lnTo>
                    <a:close/>
                    <a:moveTo>
                      <a:pt x="18" y="18"/>
                    </a:moveTo>
                    <a:lnTo>
                      <a:pt x="18" y="18"/>
                    </a:lnTo>
                    <a:lnTo>
                      <a:pt x="22" y="38"/>
                    </a:lnTo>
                    <a:lnTo>
                      <a:pt x="28" y="56"/>
                    </a:lnTo>
                    <a:lnTo>
                      <a:pt x="38" y="74"/>
                    </a:lnTo>
                    <a:lnTo>
                      <a:pt x="52" y="88"/>
                    </a:lnTo>
                    <a:lnTo>
                      <a:pt x="66" y="100"/>
                    </a:lnTo>
                    <a:lnTo>
                      <a:pt x="84" y="108"/>
                    </a:lnTo>
                    <a:lnTo>
                      <a:pt x="104" y="114"/>
                    </a:lnTo>
                    <a:lnTo>
                      <a:pt x="124" y="116"/>
                    </a:lnTo>
                    <a:lnTo>
                      <a:pt x="124" y="116"/>
                    </a:lnTo>
                    <a:lnTo>
                      <a:pt x="144" y="114"/>
                    </a:lnTo>
                    <a:lnTo>
                      <a:pt x="164" y="108"/>
                    </a:lnTo>
                    <a:lnTo>
                      <a:pt x="182" y="100"/>
                    </a:lnTo>
                    <a:lnTo>
                      <a:pt x="196" y="88"/>
                    </a:lnTo>
                    <a:lnTo>
                      <a:pt x="210" y="74"/>
                    </a:lnTo>
                    <a:lnTo>
                      <a:pt x="220" y="56"/>
                    </a:lnTo>
                    <a:lnTo>
                      <a:pt x="226" y="38"/>
                    </a:lnTo>
                    <a:lnTo>
                      <a:pt x="230"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9" name="Freeform 50">
                <a:extLst>
                  <a:ext uri="{FF2B5EF4-FFF2-40B4-BE49-F238E27FC236}">
                    <a16:creationId xmlns:a16="http://schemas.microsoft.com/office/drawing/2014/main" id="{7D565DD5-896E-4A88-AD22-91953A0CA8A0}"/>
                  </a:ext>
                </a:extLst>
              </p:cNvPr>
              <p:cNvSpPr>
                <a:spLocks/>
              </p:cNvSpPr>
              <p:nvPr/>
            </p:nvSpPr>
            <p:spPr bwMode="auto">
              <a:xfrm>
                <a:off x="800" y="843"/>
                <a:ext cx="232" cy="86"/>
              </a:xfrm>
              <a:custGeom>
                <a:avLst/>
                <a:gdLst>
                  <a:gd name="T0" fmla="*/ 216 w 232"/>
                  <a:gd name="T1" fmla="*/ 86 h 86"/>
                  <a:gd name="T2" fmla="*/ 212 w 232"/>
                  <a:gd name="T3" fmla="*/ 78 h 86"/>
                  <a:gd name="T4" fmla="*/ 212 w 232"/>
                  <a:gd name="T5" fmla="*/ 78 h 86"/>
                  <a:gd name="T6" fmla="*/ 204 w 232"/>
                  <a:gd name="T7" fmla="*/ 66 h 86"/>
                  <a:gd name="T8" fmla="*/ 196 w 232"/>
                  <a:gd name="T9" fmla="*/ 54 h 86"/>
                  <a:gd name="T10" fmla="*/ 184 w 232"/>
                  <a:gd name="T11" fmla="*/ 44 h 86"/>
                  <a:gd name="T12" fmla="*/ 172 w 232"/>
                  <a:gd name="T13" fmla="*/ 34 h 86"/>
                  <a:gd name="T14" fmla="*/ 160 w 232"/>
                  <a:gd name="T15" fmla="*/ 28 h 86"/>
                  <a:gd name="T16" fmla="*/ 146 w 232"/>
                  <a:gd name="T17" fmla="*/ 22 h 86"/>
                  <a:gd name="T18" fmla="*/ 132 w 232"/>
                  <a:gd name="T19" fmla="*/ 20 h 86"/>
                  <a:gd name="T20" fmla="*/ 116 w 232"/>
                  <a:gd name="T21" fmla="*/ 18 h 86"/>
                  <a:gd name="T22" fmla="*/ 116 w 232"/>
                  <a:gd name="T23" fmla="*/ 18 h 86"/>
                  <a:gd name="T24" fmla="*/ 102 w 232"/>
                  <a:gd name="T25" fmla="*/ 20 h 86"/>
                  <a:gd name="T26" fmla="*/ 86 w 232"/>
                  <a:gd name="T27" fmla="*/ 22 h 86"/>
                  <a:gd name="T28" fmla="*/ 74 w 232"/>
                  <a:gd name="T29" fmla="*/ 28 h 86"/>
                  <a:gd name="T30" fmla="*/ 60 w 232"/>
                  <a:gd name="T31" fmla="*/ 34 h 86"/>
                  <a:gd name="T32" fmla="*/ 48 w 232"/>
                  <a:gd name="T33" fmla="*/ 44 h 86"/>
                  <a:gd name="T34" fmla="*/ 38 w 232"/>
                  <a:gd name="T35" fmla="*/ 54 h 86"/>
                  <a:gd name="T36" fmla="*/ 28 w 232"/>
                  <a:gd name="T37" fmla="*/ 66 h 86"/>
                  <a:gd name="T38" fmla="*/ 20 w 232"/>
                  <a:gd name="T39" fmla="*/ 78 h 86"/>
                  <a:gd name="T40" fmla="*/ 18 w 232"/>
                  <a:gd name="T41" fmla="*/ 86 h 86"/>
                  <a:gd name="T42" fmla="*/ 0 w 232"/>
                  <a:gd name="T43" fmla="*/ 78 h 86"/>
                  <a:gd name="T44" fmla="*/ 4 w 232"/>
                  <a:gd name="T45" fmla="*/ 70 h 86"/>
                  <a:gd name="T46" fmla="*/ 4 w 232"/>
                  <a:gd name="T47" fmla="*/ 70 h 86"/>
                  <a:gd name="T48" fmla="*/ 14 w 232"/>
                  <a:gd name="T49" fmla="*/ 56 h 86"/>
                  <a:gd name="T50" fmla="*/ 24 w 232"/>
                  <a:gd name="T51" fmla="*/ 42 h 86"/>
                  <a:gd name="T52" fmla="*/ 36 w 232"/>
                  <a:gd name="T53" fmla="*/ 30 h 86"/>
                  <a:gd name="T54" fmla="*/ 50 w 232"/>
                  <a:gd name="T55" fmla="*/ 20 h 86"/>
                  <a:gd name="T56" fmla="*/ 66 w 232"/>
                  <a:gd name="T57" fmla="*/ 12 h 86"/>
                  <a:gd name="T58" fmla="*/ 82 w 232"/>
                  <a:gd name="T59" fmla="*/ 6 h 86"/>
                  <a:gd name="T60" fmla="*/ 98 w 232"/>
                  <a:gd name="T61" fmla="*/ 2 h 86"/>
                  <a:gd name="T62" fmla="*/ 116 w 232"/>
                  <a:gd name="T63" fmla="*/ 0 h 86"/>
                  <a:gd name="T64" fmla="*/ 116 w 232"/>
                  <a:gd name="T65" fmla="*/ 0 h 86"/>
                  <a:gd name="T66" fmla="*/ 134 w 232"/>
                  <a:gd name="T67" fmla="*/ 2 h 86"/>
                  <a:gd name="T68" fmla="*/ 152 w 232"/>
                  <a:gd name="T69" fmla="*/ 6 h 86"/>
                  <a:gd name="T70" fmla="*/ 168 w 232"/>
                  <a:gd name="T71" fmla="*/ 12 h 86"/>
                  <a:gd name="T72" fmla="*/ 182 w 232"/>
                  <a:gd name="T73" fmla="*/ 20 h 86"/>
                  <a:gd name="T74" fmla="*/ 196 w 232"/>
                  <a:gd name="T75" fmla="*/ 30 h 86"/>
                  <a:gd name="T76" fmla="*/ 208 w 232"/>
                  <a:gd name="T77" fmla="*/ 42 h 86"/>
                  <a:gd name="T78" fmla="*/ 220 w 232"/>
                  <a:gd name="T79" fmla="*/ 56 h 86"/>
                  <a:gd name="T80" fmla="*/ 228 w 232"/>
                  <a:gd name="T81" fmla="*/ 70 h 86"/>
                  <a:gd name="T82" fmla="*/ 232 w 232"/>
                  <a:gd name="T83" fmla="*/ 78 h 86"/>
                  <a:gd name="T84" fmla="*/ 216 w 232"/>
                  <a:gd name="T8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86">
                    <a:moveTo>
                      <a:pt x="216" y="86"/>
                    </a:moveTo>
                    <a:lnTo>
                      <a:pt x="212" y="78"/>
                    </a:lnTo>
                    <a:lnTo>
                      <a:pt x="212" y="78"/>
                    </a:lnTo>
                    <a:lnTo>
                      <a:pt x="204" y="66"/>
                    </a:lnTo>
                    <a:lnTo>
                      <a:pt x="196" y="54"/>
                    </a:lnTo>
                    <a:lnTo>
                      <a:pt x="184" y="44"/>
                    </a:lnTo>
                    <a:lnTo>
                      <a:pt x="172" y="34"/>
                    </a:lnTo>
                    <a:lnTo>
                      <a:pt x="160" y="28"/>
                    </a:lnTo>
                    <a:lnTo>
                      <a:pt x="146" y="22"/>
                    </a:lnTo>
                    <a:lnTo>
                      <a:pt x="132" y="20"/>
                    </a:lnTo>
                    <a:lnTo>
                      <a:pt x="116" y="18"/>
                    </a:lnTo>
                    <a:lnTo>
                      <a:pt x="116" y="18"/>
                    </a:lnTo>
                    <a:lnTo>
                      <a:pt x="102" y="20"/>
                    </a:lnTo>
                    <a:lnTo>
                      <a:pt x="86" y="22"/>
                    </a:lnTo>
                    <a:lnTo>
                      <a:pt x="74" y="28"/>
                    </a:lnTo>
                    <a:lnTo>
                      <a:pt x="60" y="34"/>
                    </a:lnTo>
                    <a:lnTo>
                      <a:pt x="48" y="44"/>
                    </a:lnTo>
                    <a:lnTo>
                      <a:pt x="38" y="54"/>
                    </a:lnTo>
                    <a:lnTo>
                      <a:pt x="28" y="66"/>
                    </a:lnTo>
                    <a:lnTo>
                      <a:pt x="20" y="78"/>
                    </a:lnTo>
                    <a:lnTo>
                      <a:pt x="18" y="86"/>
                    </a:lnTo>
                    <a:lnTo>
                      <a:pt x="0" y="78"/>
                    </a:lnTo>
                    <a:lnTo>
                      <a:pt x="4" y="70"/>
                    </a:lnTo>
                    <a:lnTo>
                      <a:pt x="4" y="70"/>
                    </a:lnTo>
                    <a:lnTo>
                      <a:pt x="14" y="56"/>
                    </a:lnTo>
                    <a:lnTo>
                      <a:pt x="24" y="42"/>
                    </a:lnTo>
                    <a:lnTo>
                      <a:pt x="36" y="30"/>
                    </a:lnTo>
                    <a:lnTo>
                      <a:pt x="50" y="20"/>
                    </a:lnTo>
                    <a:lnTo>
                      <a:pt x="66" y="12"/>
                    </a:lnTo>
                    <a:lnTo>
                      <a:pt x="82" y="6"/>
                    </a:lnTo>
                    <a:lnTo>
                      <a:pt x="98" y="2"/>
                    </a:lnTo>
                    <a:lnTo>
                      <a:pt x="116" y="0"/>
                    </a:lnTo>
                    <a:lnTo>
                      <a:pt x="116" y="0"/>
                    </a:lnTo>
                    <a:lnTo>
                      <a:pt x="134" y="2"/>
                    </a:lnTo>
                    <a:lnTo>
                      <a:pt x="152" y="6"/>
                    </a:lnTo>
                    <a:lnTo>
                      <a:pt x="168" y="12"/>
                    </a:lnTo>
                    <a:lnTo>
                      <a:pt x="182" y="20"/>
                    </a:lnTo>
                    <a:lnTo>
                      <a:pt x="196" y="30"/>
                    </a:lnTo>
                    <a:lnTo>
                      <a:pt x="208" y="42"/>
                    </a:lnTo>
                    <a:lnTo>
                      <a:pt x="220" y="56"/>
                    </a:lnTo>
                    <a:lnTo>
                      <a:pt x="228" y="70"/>
                    </a:lnTo>
                    <a:lnTo>
                      <a:pt x="232" y="78"/>
                    </a:lnTo>
                    <a:lnTo>
                      <a:pt x="21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287" name="TextBox 286">
              <a:extLst>
                <a:ext uri="{FF2B5EF4-FFF2-40B4-BE49-F238E27FC236}">
                  <a16:creationId xmlns:a16="http://schemas.microsoft.com/office/drawing/2014/main" id="{430E12F0-05DB-4AB3-BD55-CAA98A4F6DE3}"/>
                </a:ext>
              </a:extLst>
            </p:cNvPr>
            <p:cNvSpPr txBox="1"/>
            <p:nvPr/>
          </p:nvSpPr>
          <p:spPr>
            <a:xfrm>
              <a:off x="7830812" y="2672736"/>
              <a:ext cx="1045143" cy="186043"/>
            </a:xfrm>
            <a:prstGeom prst="rect">
              <a:avLst/>
            </a:prstGeom>
            <a:noFill/>
            <a:ln w="12700" cap="sq">
              <a:noFill/>
              <a:miter lim="800000"/>
            </a:ln>
          </p:spPr>
          <p:txBody>
            <a:bodyPr wrap="square" lIns="61200" tIns="36576"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AT" sz="1000" b="1" i="0" u="none" strike="noStrike" kern="0" cap="none" spc="0" normalizeH="0" baseline="0" noProof="0" dirty="0">
                  <a:ln>
                    <a:noFill/>
                  </a:ln>
                  <a:solidFill>
                    <a:srgbClr val="FFE600"/>
                  </a:solidFill>
                  <a:effectLst/>
                  <a:uLnTx/>
                  <a:uFillTx/>
                </a:rPr>
                <a:t>Consumer Protection</a:t>
              </a:r>
            </a:p>
          </p:txBody>
        </p:sp>
        <p:grpSp>
          <p:nvGrpSpPr>
            <p:cNvPr id="288" name="Group 49">
              <a:extLst>
                <a:ext uri="{FF2B5EF4-FFF2-40B4-BE49-F238E27FC236}">
                  <a16:creationId xmlns:a16="http://schemas.microsoft.com/office/drawing/2014/main" id="{389020F2-F057-4539-A956-9261E9C2FD88}"/>
                </a:ext>
              </a:extLst>
            </p:cNvPr>
            <p:cNvGrpSpPr>
              <a:grpSpLocks noChangeAspect="1"/>
            </p:cNvGrpSpPr>
            <p:nvPr/>
          </p:nvGrpSpPr>
          <p:grpSpPr bwMode="auto">
            <a:xfrm>
              <a:off x="8807688" y="3607696"/>
              <a:ext cx="83073" cy="122013"/>
              <a:chOff x="2027" y="1937"/>
              <a:chExt cx="512" cy="752"/>
            </a:xfrm>
            <a:solidFill>
              <a:srgbClr val="FFE600"/>
            </a:solidFill>
          </p:grpSpPr>
          <p:sp>
            <p:nvSpPr>
              <p:cNvPr id="308" name="Freeform 50">
                <a:extLst>
                  <a:ext uri="{FF2B5EF4-FFF2-40B4-BE49-F238E27FC236}">
                    <a16:creationId xmlns:a16="http://schemas.microsoft.com/office/drawing/2014/main" id="{5C6DC255-6140-404D-972A-4BEEEBAD0AB4}"/>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51">
                <a:extLst>
                  <a:ext uri="{FF2B5EF4-FFF2-40B4-BE49-F238E27FC236}">
                    <a16:creationId xmlns:a16="http://schemas.microsoft.com/office/drawing/2014/main" id="{2EDD4BAA-AA7D-4521-A484-30B3C6B49AA1}"/>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52">
                <a:extLst>
                  <a:ext uri="{FF2B5EF4-FFF2-40B4-BE49-F238E27FC236}">
                    <a16:creationId xmlns:a16="http://schemas.microsoft.com/office/drawing/2014/main" id="{A8FB8B41-3FC4-4F8E-A7BC-04513BAFB8B7}"/>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53">
                <a:extLst>
                  <a:ext uri="{FF2B5EF4-FFF2-40B4-BE49-F238E27FC236}">
                    <a16:creationId xmlns:a16="http://schemas.microsoft.com/office/drawing/2014/main" id="{BBE79B8C-C2CF-4EFF-B385-A5A241232D0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12" name="Freeform 54">
                <a:extLst>
                  <a:ext uri="{FF2B5EF4-FFF2-40B4-BE49-F238E27FC236}">
                    <a16:creationId xmlns:a16="http://schemas.microsoft.com/office/drawing/2014/main" id="{6E593E78-00B0-4F4F-A392-86E94AF53A60}"/>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55">
                <a:extLst>
                  <a:ext uri="{FF2B5EF4-FFF2-40B4-BE49-F238E27FC236}">
                    <a16:creationId xmlns:a16="http://schemas.microsoft.com/office/drawing/2014/main" id="{D2F2B3A8-3DE4-4657-9A03-62D0DA7ECC51}"/>
                  </a:ext>
                </a:extLst>
              </p:cNvPr>
              <p:cNvSpPr>
                <a:spLocks noEditPoints="1"/>
              </p:cNvSpPr>
              <p:nvPr/>
            </p:nvSpPr>
            <p:spPr bwMode="auto">
              <a:xfrm>
                <a:off x="2229" y="2581"/>
                <a:ext cx="108" cy="108"/>
              </a:xfrm>
              <a:custGeom>
                <a:avLst/>
                <a:gdLst>
                  <a:gd name="T0" fmla="*/ 54 w 108"/>
                  <a:gd name="T1" fmla="*/ 108 h 108"/>
                  <a:gd name="T2" fmla="*/ 32 w 108"/>
                  <a:gd name="T3" fmla="*/ 104 h 108"/>
                  <a:gd name="T4" fmla="*/ 16 w 108"/>
                  <a:gd name="T5" fmla="*/ 92 h 108"/>
                  <a:gd name="T6" fmla="*/ 4 w 108"/>
                  <a:gd name="T7" fmla="*/ 74 h 108"/>
                  <a:gd name="T8" fmla="*/ 0 w 108"/>
                  <a:gd name="T9" fmla="*/ 54 h 108"/>
                  <a:gd name="T10" fmla="*/ 0 w 108"/>
                  <a:gd name="T11" fmla="*/ 42 h 108"/>
                  <a:gd name="T12" fmla="*/ 10 w 108"/>
                  <a:gd name="T13" fmla="*/ 24 h 108"/>
                  <a:gd name="T14" fmla="*/ 24 w 108"/>
                  <a:gd name="T15" fmla="*/ 8 h 108"/>
                  <a:gd name="T16" fmla="*/ 42 w 108"/>
                  <a:gd name="T17" fmla="*/ 0 h 108"/>
                  <a:gd name="T18" fmla="*/ 54 w 108"/>
                  <a:gd name="T19" fmla="*/ 0 h 108"/>
                  <a:gd name="T20" fmla="*/ 74 w 108"/>
                  <a:gd name="T21" fmla="*/ 4 h 108"/>
                  <a:gd name="T22" fmla="*/ 92 w 108"/>
                  <a:gd name="T23" fmla="*/ 16 h 108"/>
                  <a:gd name="T24" fmla="*/ 104 w 108"/>
                  <a:gd name="T25" fmla="*/ 32 h 108"/>
                  <a:gd name="T26" fmla="*/ 108 w 108"/>
                  <a:gd name="T27" fmla="*/ 54 h 108"/>
                  <a:gd name="T28" fmla="*/ 106 w 108"/>
                  <a:gd name="T29" fmla="*/ 64 h 108"/>
                  <a:gd name="T30" fmla="*/ 98 w 108"/>
                  <a:gd name="T31" fmla="*/ 84 h 108"/>
                  <a:gd name="T32" fmla="*/ 84 w 108"/>
                  <a:gd name="T33" fmla="*/ 98 h 108"/>
                  <a:gd name="T34" fmla="*/ 64 w 108"/>
                  <a:gd name="T35" fmla="*/ 106 h 108"/>
                  <a:gd name="T36" fmla="*/ 54 w 108"/>
                  <a:gd name="T37" fmla="*/ 108 h 108"/>
                  <a:gd name="T38" fmla="*/ 54 w 108"/>
                  <a:gd name="T39" fmla="*/ 18 h 108"/>
                  <a:gd name="T40" fmla="*/ 40 w 108"/>
                  <a:gd name="T41" fmla="*/ 20 h 108"/>
                  <a:gd name="T42" fmla="*/ 28 w 108"/>
                  <a:gd name="T43" fmla="*/ 28 h 108"/>
                  <a:gd name="T44" fmla="*/ 20 w 108"/>
                  <a:gd name="T45" fmla="*/ 40 h 108"/>
                  <a:gd name="T46" fmla="*/ 18 w 108"/>
                  <a:gd name="T47" fmla="*/ 54 h 108"/>
                  <a:gd name="T48" fmla="*/ 18 w 108"/>
                  <a:gd name="T49" fmla="*/ 60 h 108"/>
                  <a:gd name="T50" fmla="*/ 24 w 108"/>
                  <a:gd name="T51" fmla="*/ 74 h 108"/>
                  <a:gd name="T52" fmla="*/ 34 w 108"/>
                  <a:gd name="T53" fmla="*/ 84 h 108"/>
                  <a:gd name="T54" fmla="*/ 46 w 108"/>
                  <a:gd name="T55" fmla="*/ 88 h 108"/>
                  <a:gd name="T56" fmla="*/ 54 w 108"/>
                  <a:gd name="T57" fmla="*/ 90 h 108"/>
                  <a:gd name="T58" fmla="*/ 68 w 108"/>
                  <a:gd name="T59" fmla="*/ 86 h 108"/>
                  <a:gd name="T60" fmla="*/ 80 w 108"/>
                  <a:gd name="T61" fmla="*/ 78 h 108"/>
                  <a:gd name="T62" fmla="*/ 88 w 108"/>
                  <a:gd name="T63" fmla="*/ 68 h 108"/>
                  <a:gd name="T64" fmla="*/ 90 w 108"/>
                  <a:gd name="T65" fmla="*/ 54 h 108"/>
                  <a:gd name="T66" fmla="*/ 90 w 108"/>
                  <a:gd name="T67" fmla="*/ 46 h 108"/>
                  <a:gd name="T68" fmla="*/ 84 w 108"/>
                  <a:gd name="T69" fmla="*/ 34 h 108"/>
                  <a:gd name="T70" fmla="*/ 74 w 108"/>
                  <a:gd name="T71" fmla="*/ 24 h 108"/>
                  <a:gd name="T72" fmla="*/ 62 w 108"/>
                  <a:gd name="T73" fmla="*/ 18 h 108"/>
                  <a:gd name="T74" fmla="*/ 54 w 108"/>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8">
                    <a:moveTo>
                      <a:pt x="54" y="108"/>
                    </a:moveTo>
                    <a:lnTo>
                      <a:pt x="54" y="108"/>
                    </a:lnTo>
                    <a:lnTo>
                      <a:pt x="42" y="106"/>
                    </a:lnTo>
                    <a:lnTo>
                      <a:pt x="32" y="104"/>
                    </a:lnTo>
                    <a:lnTo>
                      <a:pt x="24" y="98"/>
                    </a:lnTo>
                    <a:lnTo>
                      <a:pt x="16" y="92"/>
                    </a:lnTo>
                    <a:lnTo>
                      <a:pt x="10" y="84"/>
                    </a:lnTo>
                    <a:lnTo>
                      <a:pt x="4" y="74"/>
                    </a:lnTo>
                    <a:lnTo>
                      <a:pt x="0" y="64"/>
                    </a:lnTo>
                    <a:lnTo>
                      <a:pt x="0" y="54"/>
                    </a:lnTo>
                    <a:lnTo>
                      <a:pt x="0" y="54"/>
                    </a:lnTo>
                    <a:lnTo>
                      <a:pt x="0" y="42"/>
                    </a:lnTo>
                    <a:lnTo>
                      <a:pt x="4" y="32"/>
                    </a:lnTo>
                    <a:lnTo>
                      <a:pt x="10" y="24"/>
                    </a:lnTo>
                    <a:lnTo>
                      <a:pt x="16" y="16"/>
                    </a:lnTo>
                    <a:lnTo>
                      <a:pt x="24" y="8"/>
                    </a:lnTo>
                    <a:lnTo>
                      <a:pt x="32" y="4"/>
                    </a:lnTo>
                    <a:lnTo>
                      <a:pt x="42" y="0"/>
                    </a:lnTo>
                    <a:lnTo>
                      <a:pt x="54" y="0"/>
                    </a:lnTo>
                    <a:lnTo>
                      <a:pt x="54" y="0"/>
                    </a:lnTo>
                    <a:lnTo>
                      <a:pt x="64" y="0"/>
                    </a:lnTo>
                    <a:lnTo>
                      <a:pt x="74" y="4"/>
                    </a:lnTo>
                    <a:lnTo>
                      <a:pt x="84" y="8"/>
                    </a:lnTo>
                    <a:lnTo>
                      <a:pt x="92" y="16"/>
                    </a:lnTo>
                    <a:lnTo>
                      <a:pt x="98" y="24"/>
                    </a:lnTo>
                    <a:lnTo>
                      <a:pt x="104" y="32"/>
                    </a:lnTo>
                    <a:lnTo>
                      <a:pt x="106" y="42"/>
                    </a:lnTo>
                    <a:lnTo>
                      <a:pt x="108" y="54"/>
                    </a:lnTo>
                    <a:lnTo>
                      <a:pt x="108" y="54"/>
                    </a:lnTo>
                    <a:lnTo>
                      <a:pt x="106" y="64"/>
                    </a:lnTo>
                    <a:lnTo>
                      <a:pt x="104" y="74"/>
                    </a:lnTo>
                    <a:lnTo>
                      <a:pt x="98" y="84"/>
                    </a:lnTo>
                    <a:lnTo>
                      <a:pt x="92" y="92"/>
                    </a:lnTo>
                    <a:lnTo>
                      <a:pt x="84" y="98"/>
                    </a:lnTo>
                    <a:lnTo>
                      <a:pt x="74" y="104"/>
                    </a:lnTo>
                    <a:lnTo>
                      <a:pt x="64" y="106"/>
                    </a:lnTo>
                    <a:lnTo>
                      <a:pt x="54" y="108"/>
                    </a:lnTo>
                    <a:lnTo>
                      <a:pt x="54" y="108"/>
                    </a:lnTo>
                    <a:close/>
                    <a:moveTo>
                      <a:pt x="54" y="18"/>
                    </a:moveTo>
                    <a:lnTo>
                      <a:pt x="54" y="18"/>
                    </a:lnTo>
                    <a:lnTo>
                      <a:pt x="46" y="18"/>
                    </a:lnTo>
                    <a:lnTo>
                      <a:pt x="40" y="20"/>
                    </a:lnTo>
                    <a:lnTo>
                      <a:pt x="34" y="24"/>
                    </a:lnTo>
                    <a:lnTo>
                      <a:pt x="28" y="28"/>
                    </a:lnTo>
                    <a:lnTo>
                      <a:pt x="24" y="34"/>
                    </a:lnTo>
                    <a:lnTo>
                      <a:pt x="20" y="40"/>
                    </a:lnTo>
                    <a:lnTo>
                      <a:pt x="18" y="46"/>
                    </a:lnTo>
                    <a:lnTo>
                      <a:pt x="18" y="54"/>
                    </a:lnTo>
                    <a:lnTo>
                      <a:pt x="18" y="54"/>
                    </a:lnTo>
                    <a:lnTo>
                      <a:pt x="18" y="60"/>
                    </a:lnTo>
                    <a:lnTo>
                      <a:pt x="20" y="68"/>
                    </a:lnTo>
                    <a:lnTo>
                      <a:pt x="24" y="74"/>
                    </a:lnTo>
                    <a:lnTo>
                      <a:pt x="28" y="78"/>
                    </a:lnTo>
                    <a:lnTo>
                      <a:pt x="34" y="84"/>
                    </a:lnTo>
                    <a:lnTo>
                      <a:pt x="40" y="86"/>
                    </a:lnTo>
                    <a:lnTo>
                      <a:pt x="46" y="88"/>
                    </a:lnTo>
                    <a:lnTo>
                      <a:pt x="54" y="90"/>
                    </a:lnTo>
                    <a:lnTo>
                      <a:pt x="54" y="90"/>
                    </a:lnTo>
                    <a:lnTo>
                      <a:pt x="62" y="88"/>
                    </a:lnTo>
                    <a:lnTo>
                      <a:pt x="68" y="86"/>
                    </a:lnTo>
                    <a:lnTo>
                      <a:pt x="74" y="84"/>
                    </a:lnTo>
                    <a:lnTo>
                      <a:pt x="80" y="78"/>
                    </a:lnTo>
                    <a:lnTo>
                      <a:pt x="84" y="74"/>
                    </a:lnTo>
                    <a:lnTo>
                      <a:pt x="88" y="68"/>
                    </a:lnTo>
                    <a:lnTo>
                      <a:pt x="90" y="60"/>
                    </a:lnTo>
                    <a:lnTo>
                      <a:pt x="90" y="54"/>
                    </a:lnTo>
                    <a:lnTo>
                      <a:pt x="90" y="54"/>
                    </a:lnTo>
                    <a:lnTo>
                      <a:pt x="90" y="46"/>
                    </a:lnTo>
                    <a:lnTo>
                      <a:pt x="88" y="40"/>
                    </a:lnTo>
                    <a:lnTo>
                      <a:pt x="84" y="34"/>
                    </a:lnTo>
                    <a:lnTo>
                      <a:pt x="80" y="28"/>
                    </a:lnTo>
                    <a:lnTo>
                      <a:pt x="74" y="24"/>
                    </a:lnTo>
                    <a:lnTo>
                      <a:pt x="68" y="20"/>
                    </a:lnTo>
                    <a:lnTo>
                      <a:pt x="62" y="18"/>
                    </a:lnTo>
                    <a:lnTo>
                      <a:pt x="54" y="18"/>
                    </a:lnTo>
                    <a:lnTo>
                      <a:pt x="5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Rectangle 56">
                <a:extLst>
                  <a:ext uri="{FF2B5EF4-FFF2-40B4-BE49-F238E27FC236}">
                    <a16:creationId xmlns:a16="http://schemas.microsoft.com/office/drawing/2014/main" id="{89ACF88D-D0DD-47BA-996A-FEFAB93B54E1}"/>
                  </a:ext>
                </a:extLst>
              </p:cNvPr>
              <p:cNvSpPr>
                <a:spLocks noChangeArrowheads="1"/>
              </p:cNvSpPr>
              <p:nvPr/>
            </p:nvSpPr>
            <p:spPr bwMode="auto">
              <a:xfrm>
                <a:off x="2273" y="25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Rectangle 57">
                <a:extLst>
                  <a:ext uri="{FF2B5EF4-FFF2-40B4-BE49-F238E27FC236}">
                    <a16:creationId xmlns:a16="http://schemas.microsoft.com/office/drawing/2014/main" id="{BEC25DA2-2811-423D-ADF8-4483BFD840FA}"/>
                  </a:ext>
                </a:extLst>
              </p:cNvPr>
              <p:cNvSpPr>
                <a:spLocks noChangeArrowheads="1"/>
              </p:cNvSpPr>
              <p:nvPr/>
            </p:nvSpPr>
            <p:spPr bwMode="auto">
              <a:xfrm>
                <a:off x="2319"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6" name="Rectangle 58">
                <a:extLst>
                  <a:ext uri="{FF2B5EF4-FFF2-40B4-BE49-F238E27FC236}">
                    <a16:creationId xmlns:a16="http://schemas.microsoft.com/office/drawing/2014/main" id="{6E273B9C-BF02-4DC6-A272-75B47CFE3F71}"/>
                  </a:ext>
                </a:extLst>
              </p:cNvPr>
              <p:cNvSpPr>
                <a:spLocks noChangeArrowheads="1"/>
              </p:cNvSpPr>
              <p:nvPr/>
            </p:nvSpPr>
            <p:spPr bwMode="auto">
              <a:xfrm>
                <a:off x="2027"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289" name="Group 288">
              <a:extLst>
                <a:ext uri="{FF2B5EF4-FFF2-40B4-BE49-F238E27FC236}">
                  <a16:creationId xmlns:a16="http://schemas.microsoft.com/office/drawing/2014/main" id="{8F3EC398-B51D-451B-8C4C-B0585D3B23E1}"/>
                </a:ext>
              </a:extLst>
            </p:cNvPr>
            <p:cNvGrpSpPr/>
            <p:nvPr/>
          </p:nvGrpSpPr>
          <p:grpSpPr>
            <a:xfrm>
              <a:off x="7918920" y="3616004"/>
              <a:ext cx="155067" cy="150692"/>
              <a:chOff x="2689225" y="3098800"/>
              <a:chExt cx="1600200" cy="1098550"/>
            </a:xfrm>
            <a:solidFill>
              <a:srgbClr val="FFE600"/>
            </a:solidFill>
          </p:grpSpPr>
          <p:sp>
            <p:nvSpPr>
              <p:cNvPr id="292" name="Freeform 23">
                <a:extLst>
                  <a:ext uri="{FF2B5EF4-FFF2-40B4-BE49-F238E27FC236}">
                    <a16:creationId xmlns:a16="http://schemas.microsoft.com/office/drawing/2014/main" id="{77583028-2752-40BB-B0D9-CB1E65637D93}"/>
                  </a:ext>
                </a:extLst>
              </p:cNvPr>
              <p:cNvSpPr>
                <a:spLocks noEditPoints="1"/>
              </p:cNvSpPr>
              <p:nvPr/>
            </p:nvSpPr>
            <p:spPr bwMode="auto">
              <a:xfrm>
                <a:off x="2689225" y="4016375"/>
                <a:ext cx="1600200" cy="180975"/>
              </a:xfrm>
              <a:custGeom>
                <a:avLst/>
                <a:gdLst>
                  <a:gd name="T0" fmla="*/ 52 w 1008"/>
                  <a:gd name="T1" fmla="*/ 114 h 114"/>
                  <a:gd name="T2" fmla="*/ 42 w 1008"/>
                  <a:gd name="T3" fmla="*/ 114 h 114"/>
                  <a:gd name="T4" fmla="*/ 24 w 1008"/>
                  <a:gd name="T5" fmla="*/ 106 h 114"/>
                  <a:gd name="T6" fmla="*/ 8 w 1008"/>
                  <a:gd name="T7" fmla="*/ 90 h 114"/>
                  <a:gd name="T8" fmla="*/ 0 w 1008"/>
                  <a:gd name="T9" fmla="*/ 72 h 114"/>
                  <a:gd name="T10" fmla="*/ 0 w 1008"/>
                  <a:gd name="T11" fmla="*/ 0 h 114"/>
                  <a:gd name="T12" fmla="*/ 430 w 1008"/>
                  <a:gd name="T13" fmla="*/ 16 h 114"/>
                  <a:gd name="T14" fmla="*/ 432 w 1008"/>
                  <a:gd name="T15" fmla="*/ 26 h 114"/>
                  <a:gd name="T16" fmla="*/ 444 w 1008"/>
                  <a:gd name="T17" fmla="*/ 38 h 114"/>
                  <a:gd name="T18" fmla="*/ 568 w 1008"/>
                  <a:gd name="T19" fmla="*/ 38 h 114"/>
                  <a:gd name="T20" fmla="*/ 576 w 1008"/>
                  <a:gd name="T21" fmla="*/ 38 h 114"/>
                  <a:gd name="T22" fmla="*/ 588 w 1008"/>
                  <a:gd name="T23" fmla="*/ 26 h 114"/>
                  <a:gd name="T24" fmla="*/ 590 w 1008"/>
                  <a:gd name="T25" fmla="*/ 0 h 114"/>
                  <a:gd name="T26" fmla="*/ 1008 w 1008"/>
                  <a:gd name="T27" fmla="*/ 60 h 114"/>
                  <a:gd name="T28" fmla="*/ 1008 w 1008"/>
                  <a:gd name="T29" fmla="*/ 72 h 114"/>
                  <a:gd name="T30" fmla="*/ 1000 w 1008"/>
                  <a:gd name="T31" fmla="*/ 90 h 114"/>
                  <a:gd name="T32" fmla="*/ 984 w 1008"/>
                  <a:gd name="T33" fmla="*/ 106 h 114"/>
                  <a:gd name="T34" fmla="*/ 966 w 1008"/>
                  <a:gd name="T35" fmla="*/ 114 h 114"/>
                  <a:gd name="T36" fmla="*/ 956 w 1008"/>
                  <a:gd name="T37" fmla="*/ 114 h 114"/>
                  <a:gd name="T38" fmla="*/ 18 w 1008"/>
                  <a:gd name="T39" fmla="*/ 60 h 114"/>
                  <a:gd name="T40" fmla="*/ 18 w 1008"/>
                  <a:gd name="T41" fmla="*/ 68 h 114"/>
                  <a:gd name="T42" fmla="*/ 24 w 1008"/>
                  <a:gd name="T43" fmla="*/ 80 h 114"/>
                  <a:gd name="T44" fmla="*/ 34 w 1008"/>
                  <a:gd name="T45" fmla="*/ 90 h 114"/>
                  <a:gd name="T46" fmla="*/ 46 w 1008"/>
                  <a:gd name="T47" fmla="*/ 96 h 114"/>
                  <a:gd name="T48" fmla="*/ 956 w 1008"/>
                  <a:gd name="T49" fmla="*/ 96 h 114"/>
                  <a:gd name="T50" fmla="*/ 962 w 1008"/>
                  <a:gd name="T51" fmla="*/ 96 h 114"/>
                  <a:gd name="T52" fmla="*/ 974 w 1008"/>
                  <a:gd name="T53" fmla="*/ 90 h 114"/>
                  <a:gd name="T54" fmla="*/ 984 w 1008"/>
                  <a:gd name="T55" fmla="*/ 80 h 114"/>
                  <a:gd name="T56" fmla="*/ 990 w 1008"/>
                  <a:gd name="T57" fmla="*/ 68 h 114"/>
                  <a:gd name="T58" fmla="*/ 990 w 1008"/>
                  <a:gd name="T59" fmla="*/ 18 h 114"/>
                  <a:gd name="T60" fmla="*/ 608 w 1008"/>
                  <a:gd name="T61" fmla="*/ 18 h 114"/>
                  <a:gd name="T62" fmla="*/ 604 w 1008"/>
                  <a:gd name="T63" fmla="*/ 34 h 114"/>
                  <a:gd name="T64" fmla="*/ 596 w 1008"/>
                  <a:gd name="T65" fmla="*/ 46 h 114"/>
                  <a:gd name="T66" fmla="*/ 584 w 1008"/>
                  <a:gd name="T67" fmla="*/ 54 h 114"/>
                  <a:gd name="T68" fmla="*/ 568 w 1008"/>
                  <a:gd name="T69" fmla="*/ 56 h 114"/>
                  <a:gd name="T70" fmla="*/ 452 w 1008"/>
                  <a:gd name="T71" fmla="*/ 56 h 114"/>
                  <a:gd name="T72" fmla="*/ 438 w 1008"/>
                  <a:gd name="T73" fmla="*/ 54 h 114"/>
                  <a:gd name="T74" fmla="*/ 426 w 1008"/>
                  <a:gd name="T75" fmla="*/ 46 h 114"/>
                  <a:gd name="T76" fmla="*/ 416 w 1008"/>
                  <a:gd name="T77" fmla="*/ 34 h 114"/>
                  <a:gd name="T78" fmla="*/ 412 w 1008"/>
                  <a:gd name="T7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8" h="114">
                    <a:moveTo>
                      <a:pt x="956" y="114"/>
                    </a:moveTo>
                    <a:lnTo>
                      <a:pt x="52" y="114"/>
                    </a:lnTo>
                    <a:lnTo>
                      <a:pt x="52" y="114"/>
                    </a:lnTo>
                    <a:lnTo>
                      <a:pt x="42" y="114"/>
                    </a:lnTo>
                    <a:lnTo>
                      <a:pt x="32" y="110"/>
                    </a:lnTo>
                    <a:lnTo>
                      <a:pt x="24" y="106"/>
                    </a:lnTo>
                    <a:lnTo>
                      <a:pt x="16" y="98"/>
                    </a:lnTo>
                    <a:lnTo>
                      <a:pt x="8" y="90"/>
                    </a:lnTo>
                    <a:lnTo>
                      <a:pt x="4" y="82"/>
                    </a:lnTo>
                    <a:lnTo>
                      <a:pt x="0" y="72"/>
                    </a:lnTo>
                    <a:lnTo>
                      <a:pt x="0" y="60"/>
                    </a:lnTo>
                    <a:lnTo>
                      <a:pt x="0" y="0"/>
                    </a:lnTo>
                    <a:lnTo>
                      <a:pt x="430" y="0"/>
                    </a:lnTo>
                    <a:lnTo>
                      <a:pt x="430" y="16"/>
                    </a:lnTo>
                    <a:lnTo>
                      <a:pt x="430" y="16"/>
                    </a:lnTo>
                    <a:lnTo>
                      <a:pt x="432" y="26"/>
                    </a:lnTo>
                    <a:lnTo>
                      <a:pt x="438" y="32"/>
                    </a:lnTo>
                    <a:lnTo>
                      <a:pt x="444" y="38"/>
                    </a:lnTo>
                    <a:lnTo>
                      <a:pt x="452" y="38"/>
                    </a:lnTo>
                    <a:lnTo>
                      <a:pt x="568" y="38"/>
                    </a:lnTo>
                    <a:lnTo>
                      <a:pt x="568" y="38"/>
                    </a:lnTo>
                    <a:lnTo>
                      <a:pt x="576" y="38"/>
                    </a:lnTo>
                    <a:lnTo>
                      <a:pt x="584" y="32"/>
                    </a:lnTo>
                    <a:lnTo>
                      <a:pt x="588" y="26"/>
                    </a:lnTo>
                    <a:lnTo>
                      <a:pt x="590" y="16"/>
                    </a:lnTo>
                    <a:lnTo>
                      <a:pt x="590" y="0"/>
                    </a:lnTo>
                    <a:lnTo>
                      <a:pt x="1008" y="0"/>
                    </a:lnTo>
                    <a:lnTo>
                      <a:pt x="1008" y="60"/>
                    </a:lnTo>
                    <a:lnTo>
                      <a:pt x="1008" y="60"/>
                    </a:lnTo>
                    <a:lnTo>
                      <a:pt x="1008" y="72"/>
                    </a:lnTo>
                    <a:lnTo>
                      <a:pt x="1004" y="82"/>
                    </a:lnTo>
                    <a:lnTo>
                      <a:pt x="1000" y="90"/>
                    </a:lnTo>
                    <a:lnTo>
                      <a:pt x="992" y="98"/>
                    </a:lnTo>
                    <a:lnTo>
                      <a:pt x="984" y="106"/>
                    </a:lnTo>
                    <a:lnTo>
                      <a:pt x="976" y="110"/>
                    </a:lnTo>
                    <a:lnTo>
                      <a:pt x="966" y="114"/>
                    </a:lnTo>
                    <a:lnTo>
                      <a:pt x="956" y="114"/>
                    </a:lnTo>
                    <a:lnTo>
                      <a:pt x="956" y="114"/>
                    </a:lnTo>
                    <a:close/>
                    <a:moveTo>
                      <a:pt x="18" y="18"/>
                    </a:moveTo>
                    <a:lnTo>
                      <a:pt x="18" y="60"/>
                    </a:lnTo>
                    <a:lnTo>
                      <a:pt x="18" y="60"/>
                    </a:lnTo>
                    <a:lnTo>
                      <a:pt x="18" y="68"/>
                    </a:lnTo>
                    <a:lnTo>
                      <a:pt x="20" y="74"/>
                    </a:lnTo>
                    <a:lnTo>
                      <a:pt x="24" y="80"/>
                    </a:lnTo>
                    <a:lnTo>
                      <a:pt x="28" y="86"/>
                    </a:lnTo>
                    <a:lnTo>
                      <a:pt x="34" y="90"/>
                    </a:lnTo>
                    <a:lnTo>
                      <a:pt x="40" y="94"/>
                    </a:lnTo>
                    <a:lnTo>
                      <a:pt x="46" y="96"/>
                    </a:lnTo>
                    <a:lnTo>
                      <a:pt x="52" y="96"/>
                    </a:lnTo>
                    <a:lnTo>
                      <a:pt x="956" y="96"/>
                    </a:lnTo>
                    <a:lnTo>
                      <a:pt x="956" y="96"/>
                    </a:lnTo>
                    <a:lnTo>
                      <a:pt x="962" y="96"/>
                    </a:lnTo>
                    <a:lnTo>
                      <a:pt x="968" y="94"/>
                    </a:lnTo>
                    <a:lnTo>
                      <a:pt x="974" y="90"/>
                    </a:lnTo>
                    <a:lnTo>
                      <a:pt x="980" y="86"/>
                    </a:lnTo>
                    <a:lnTo>
                      <a:pt x="984" y="80"/>
                    </a:lnTo>
                    <a:lnTo>
                      <a:pt x="988" y="74"/>
                    </a:lnTo>
                    <a:lnTo>
                      <a:pt x="990" y="68"/>
                    </a:lnTo>
                    <a:lnTo>
                      <a:pt x="990" y="60"/>
                    </a:lnTo>
                    <a:lnTo>
                      <a:pt x="990" y="18"/>
                    </a:lnTo>
                    <a:lnTo>
                      <a:pt x="608" y="18"/>
                    </a:lnTo>
                    <a:lnTo>
                      <a:pt x="608" y="18"/>
                    </a:lnTo>
                    <a:lnTo>
                      <a:pt x="606" y="26"/>
                    </a:lnTo>
                    <a:lnTo>
                      <a:pt x="604" y="34"/>
                    </a:lnTo>
                    <a:lnTo>
                      <a:pt x="600" y="40"/>
                    </a:lnTo>
                    <a:lnTo>
                      <a:pt x="596" y="46"/>
                    </a:lnTo>
                    <a:lnTo>
                      <a:pt x="590" y="50"/>
                    </a:lnTo>
                    <a:lnTo>
                      <a:pt x="584" y="54"/>
                    </a:lnTo>
                    <a:lnTo>
                      <a:pt x="576" y="56"/>
                    </a:lnTo>
                    <a:lnTo>
                      <a:pt x="568" y="56"/>
                    </a:lnTo>
                    <a:lnTo>
                      <a:pt x="452" y="56"/>
                    </a:lnTo>
                    <a:lnTo>
                      <a:pt x="452" y="56"/>
                    </a:lnTo>
                    <a:lnTo>
                      <a:pt x="444" y="56"/>
                    </a:lnTo>
                    <a:lnTo>
                      <a:pt x="438" y="54"/>
                    </a:lnTo>
                    <a:lnTo>
                      <a:pt x="430" y="50"/>
                    </a:lnTo>
                    <a:lnTo>
                      <a:pt x="426" y="46"/>
                    </a:lnTo>
                    <a:lnTo>
                      <a:pt x="420" y="40"/>
                    </a:lnTo>
                    <a:lnTo>
                      <a:pt x="416" y="34"/>
                    </a:lnTo>
                    <a:lnTo>
                      <a:pt x="414" y="26"/>
                    </a:lnTo>
                    <a:lnTo>
                      <a:pt x="41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3" name="Freeform 24">
                <a:extLst>
                  <a:ext uri="{FF2B5EF4-FFF2-40B4-BE49-F238E27FC236}">
                    <a16:creationId xmlns:a16="http://schemas.microsoft.com/office/drawing/2014/main" id="{B0C58631-480E-45A4-9BFA-F9C039AB8123}"/>
                  </a:ext>
                </a:extLst>
              </p:cNvPr>
              <p:cNvSpPr>
                <a:spLocks/>
              </p:cNvSpPr>
              <p:nvPr/>
            </p:nvSpPr>
            <p:spPr bwMode="auto">
              <a:xfrm>
                <a:off x="2784475" y="3143250"/>
                <a:ext cx="1409700" cy="901700"/>
              </a:xfrm>
              <a:custGeom>
                <a:avLst/>
                <a:gdLst>
                  <a:gd name="T0" fmla="*/ 888 w 888"/>
                  <a:gd name="T1" fmla="*/ 568 h 568"/>
                  <a:gd name="T2" fmla="*/ 0 w 888"/>
                  <a:gd name="T3" fmla="*/ 568 h 568"/>
                  <a:gd name="T4" fmla="*/ 0 w 888"/>
                  <a:gd name="T5" fmla="*/ 42 h 568"/>
                  <a:gd name="T6" fmla="*/ 0 w 888"/>
                  <a:gd name="T7" fmla="*/ 42 h 568"/>
                  <a:gd name="T8" fmla="*/ 0 w 888"/>
                  <a:gd name="T9" fmla="*/ 34 h 568"/>
                  <a:gd name="T10" fmla="*/ 2 w 888"/>
                  <a:gd name="T11" fmla="*/ 26 h 568"/>
                  <a:gd name="T12" fmla="*/ 6 w 888"/>
                  <a:gd name="T13" fmla="*/ 18 h 568"/>
                  <a:gd name="T14" fmla="*/ 12 w 888"/>
                  <a:gd name="T15" fmla="*/ 12 h 568"/>
                  <a:gd name="T16" fmla="*/ 18 w 888"/>
                  <a:gd name="T17" fmla="*/ 6 h 568"/>
                  <a:gd name="T18" fmla="*/ 24 w 888"/>
                  <a:gd name="T19" fmla="*/ 2 h 568"/>
                  <a:gd name="T20" fmla="*/ 32 w 888"/>
                  <a:gd name="T21" fmla="*/ 0 h 568"/>
                  <a:gd name="T22" fmla="*/ 42 w 888"/>
                  <a:gd name="T23" fmla="*/ 0 h 568"/>
                  <a:gd name="T24" fmla="*/ 142 w 888"/>
                  <a:gd name="T25" fmla="*/ 0 h 568"/>
                  <a:gd name="T26" fmla="*/ 142 w 888"/>
                  <a:gd name="T27" fmla="*/ 18 h 568"/>
                  <a:gd name="T28" fmla="*/ 42 w 888"/>
                  <a:gd name="T29" fmla="*/ 18 h 568"/>
                  <a:gd name="T30" fmla="*/ 42 w 888"/>
                  <a:gd name="T31" fmla="*/ 18 h 568"/>
                  <a:gd name="T32" fmla="*/ 32 w 888"/>
                  <a:gd name="T33" fmla="*/ 20 h 568"/>
                  <a:gd name="T34" fmla="*/ 24 w 888"/>
                  <a:gd name="T35" fmla="*/ 24 h 568"/>
                  <a:gd name="T36" fmla="*/ 20 w 888"/>
                  <a:gd name="T37" fmla="*/ 32 h 568"/>
                  <a:gd name="T38" fmla="*/ 18 w 888"/>
                  <a:gd name="T39" fmla="*/ 42 h 568"/>
                  <a:gd name="T40" fmla="*/ 18 w 888"/>
                  <a:gd name="T41" fmla="*/ 550 h 568"/>
                  <a:gd name="T42" fmla="*/ 870 w 888"/>
                  <a:gd name="T43" fmla="*/ 550 h 568"/>
                  <a:gd name="T44" fmla="*/ 870 w 888"/>
                  <a:gd name="T45" fmla="*/ 42 h 568"/>
                  <a:gd name="T46" fmla="*/ 870 w 888"/>
                  <a:gd name="T47" fmla="*/ 42 h 568"/>
                  <a:gd name="T48" fmla="*/ 868 w 888"/>
                  <a:gd name="T49" fmla="*/ 32 h 568"/>
                  <a:gd name="T50" fmla="*/ 864 w 888"/>
                  <a:gd name="T51" fmla="*/ 24 h 568"/>
                  <a:gd name="T52" fmla="*/ 856 w 888"/>
                  <a:gd name="T53" fmla="*/ 20 h 568"/>
                  <a:gd name="T54" fmla="*/ 846 w 888"/>
                  <a:gd name="T55" fmla="*/ 18 h 568"/>
                  <a:gd name="T56" fmla="*/ 746 w 888"/>
                  <a:gd name="T57" fmla="*/ 18 h 568"/>
                  <a:gd name="T58" fmla="*/ 746 w 888"/>
                  <a:gd name="T59" fmla="*/ 0 h 568"/>
                  <a:gd name="T60" fmla="*/ 846 w 888"/>
                  <a:gd name="T61" fmla="*/ 0 h 568"/>
                  <a:gd name="T62" fmla="*/ 846 w 888"/>
                  <a:gd name="T63" fmla="*/ 0 h 568"/>
                  <a:gd name="T64" fmla="*/ 854 w 888"/>
                  <a:gd name="T65" fmla="*/ 0 h 568"/>
                  <a:gd name="T66" fmla="*/ 862 w 888"/>
                  <a:gd name="T67" fmla="*/ 2 h 568"/>
                  <a:gd name="T68" fmla="*/ 870 w 888"/>
                  <a:gd name="T69" fmla="*/ 6 h 568"/>
                  <a:gd name="T70" fmla="*/ 876 w 888"/>
                  <a:gd name="T71" fmla="*/ 12 h 568"/>
                  <a:gd name="T72" fmla="*/ 882 w 888"/>
                  <a:gd name="T73" fmla="*/ 18 h 568"/>
                  <a:gd name="T74" fmla="*/ 886 w 888"/>
                  <a:gd name="T75" fmla="*/ 26 h 568"/>
                  <a:gd name="T76" fmla="*/ 888 w 888"/>
                  <a:gd name="T77" fmla="*/ 34 h 568"/>
                  <a:gd name="T78" fmla="*/ 888 w 888"/>
                  <a:gd name="T79" fmla="*/ 42 h 568"/>
                  <a:gd name="T80" fmla="*/ 888 w 888"/>
                  <a:gd name="T81"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8" h="568">
                    <a:moveTo>
                      <a:pt x="888" y="568"/>
                    </a:moveTo>
                    <a:lnTo>
                      <a:pt x="0" y="568"/>
                    </a:lnTo>
                    <a:lnTo>
                      <a:pt x="0" y="42"/>
                    </a:lnTo>
                    <a:lnTo>
                      <a:pt x="0" y="42"/>
                    </a:lnTo>
                    <a:lnTo>
                      <a:pt x="0" y="34"/>
                    </a:lnTo>
                    <a:lnTo>
                      <a:pt x="2" y="26"/>
                    </a:lnTo>
                    <a:lnTo>
                      <a:pt x="6" y="18"/>
                    </a:lnTo>
                    <a:lnTo>
                      <a:pt x="12" y="12"/>
                    </a:lnTo>
                    <a:lnTo>
                      <a:pt x="18" y="6"/>
                    </a:lnTo>
                    <a:lnTo>
                      <a:pt x="24" y="2"/>
                    </a:lnTo>
                    <a:lnTo>
                      <a:pt x="32" y="0"/>
                    </a:lnTo>
                    <a:lnTo>
                      <a:pt x="42" y="0"/>
                    </a:lnTo>
                    <a:lnTo>
                      <a:pt x="142" y="0"/>
                    </a:lnTo>
                    <a:lnTo>
                      <a:pt x="142" y="18"/>
                    </a:lnTo>
                    <a:lnTo>
                      <a:pt x="42" y="18"/>
                    </a:lnTo>
                    <a:lnTo>
                      <a:pt x="42" y="18"/>
                    </a:lnTo>
                    <a:lnTo>
                      <a:pt x="32" y="20"/>
                    </a:lnTo>
                    <a:lnTo>
                      <a:pt x="24" y="24"/>
                    </a:lnTo>
                    <a:lnTo>
                      <a:pt x="20" y="32"/>
                    </a:lnTo>
                    <a:lnTo>
                      <a:pt x="18" y="42"/>
                    </a:lnTo>
                    <a:lnTo>
                      <a:pt x="18" y="550"/>
                    </a:lnTo>
                    <a:lnTo>
                      <a:pt x="870" y="550"/>
                    </a:lnTo>
                    <a:lnTo>
                      <a:pt x="870" y="42"/>
                    </a:lnTo>
                    <a:lnTo>
                      <a:pt x="870" y="42"/>
                    </a:lnTo>
                    <a:lnTo>
                      <a:pt x="868" y="32"/>
                    </a:lnTo>
                    <a:lnTo>
                      <a:pt x="864" y="24"/>
                    </a:lnTo>
                    <a:lnTo>
                      <a:pt x="856" y="20"/>
                    </a:lnTo>
                    <a:lnTo>
                      <a:pt x="846" y="18"/>
                    </a:lnTo>
                    <a:lnTo>
                      <a:pt x="746" y="18"/>
                    </a:lnTo>
                    <a:lnTo>
                      <a:pt x="746" y="0"/>
                    </a:lnTo>
                    <a:lnTo>
                      <a:pt x="846" y="0"/>
                    </a:lnTo>
                    <a:lnTo>
                      <a:pt x="846" y="0"/>
                    </a:lnTo>
                    <a:lnTo>
                      <a:pt x="854" y="0"/>
                    </a:lnTo>
                    <a:lnTo>
                      <a:pt x="862" y="2"/>
                    </a:lnTo>
                    <a:lnTo>
                      <a:pt x="870" y="6"/>
                    </a:lnTo>
                    <a:lnTo>
                      <a:pt x="876" y="12"/>
                    </a:lnTo>
                    <a:lnTo>
                      <a:pt x="882" y="18"/>
                    </a:lnTo>
                    <a:lnTo>
                      <a:pt x="886" y="26"/>
                    </a:lnTo>
                    <a:lnTo>
                      <a:pt x="888" y="34"/>
                    </a:lnTo>
                    <a:lnTo>
                      <a:pt x="888" y="42"/>
                    </a:lnTo>
                    <a:lnTo>
                      <a:pt x="888" y="5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4" name="Freeform 25">
                <a:extLst>
                  <a:ext uri="{FF2B5EF4-FFF2-40B4-BE49-F238E27FC236}">
                    <a16:creationId xmlns:a16="http://schemas.microsoft.com/office/drawing/2014/main" id="{54D657B0-97C1-43C4-B012-E7CA50CAF249}"/>
                  </a:ext>
                </a:extLst>
              </p:cNvPr>
              <p:cNvSpPr>
                <a:spLocks/>
              </p:cNvSpPr>
              <p:nvPr/>
            </p:nvSpPr>
            <p:spPr bwMode="auto">
              <a:xfrm>
                <a:off x="2873375" y="3222625"/>
                <a:ext cx="1231900" cy="742950"/>
              </a:xfrm>
              <a:custGeom>
                <a:avLst/>
                <a:gdLst>
                  <a:gd name="T0" fmla="*/ 754 w 776"/>
                  <a:gd name="T1" fmla="*/ 468 h 468"/>
                  <a:gd name="T2" fmla="*/ 22 w 776"/>
                  <a:gd name="T3" fmla="*/ 468 h 468"/>
                  <a:gd name="T4" fmla="*/ 22 w 776"/>
                  <a:gd name="T5" fmla="*/ 468 h 468"/>
                  <a:gd name="T6" fmla="*/ 14 w 776"/>
                  <a:gd name="T7" fmla="*/ 466 h 468"/>
                  <a:gd name="T8" fmla="*/ 6 w 776"/>
                  <a:gd name="T9" fmla="*/ 462 h 468"/>
                  <a:gd name="T10" fmla="*/ 2 w 776"/>
                  <a:gd name="T11" fmla="*/ 456 h 468"/>
                  <a:gd name="T12" fmla="*/ 0 w 776"/>
                  <a:gd name="T13" fmla="*/ 446 h 468"/>
                  <a:gd name="T14" fmla="*/ 0 w 776"/>
                  <a:gd name="T15" fmla="*/ 22 h 468"/>
                  <a:gd name="T16" fmla="*/ 0 w 776"/>
                  <a:gd name="T17" fmla="*/ 22 h 468"/>
                  <a:gd name="T18" fmla="*/ 2 w 776"/>
                  <a:gd name="T19" fmla="*/ 14 h 468"/>
                  <a:gd name="T20" fmla="*/ 6 w 776"/>
                  <a:gd name="T21" fmla="*/ 6 h 468"/>
                  <a:gd name="T22" fmla="*/ 14 w 776"/>
                  <a:gd name="T23" fmla="*/ 2 h 468"/>
                  <a:gd name="T24" fmla="*/ 22 w 776"/>
                  <a:gd name="T25" fmla="*/ 0 h 468"/>
                  <a:gd name="T26" fmla="*/ 86 w 776"/>
                  <a:gd name="T27" fmla="*/ 0 h 468"/>
                  <a:gd name="T28" fmla="*/ 86 w 776"/>
                  <a:gd name="T29" fmla="*/ 18 h 468"/>
                  <a:gd name="T30" fmla="*/ 22 w 776"/>
                  <a:gd name="T31" fmla="*/ 18 h 468"/>
                  <a:gd name="T32" fmla="*/ 22 w 776"/>
                  <a:gd name="T33" fmla="*/ 18 h 468"/>
                  <a:gd name="T34" fmla="*/ 20 w 776"/>
                  <a:gd name="T35" fmla="*/ 18 h 468"/>
                  <a:gd name="T36" fmla="*/ 18 w 776"/>
                  <a:gd name="T37" fmla="*/ 22 h 468"/>
                  <a:gd name="T38" fmla="*/ 18 w 776"/>
                  <a:gd name="T39" fmla="*/ 446 h 468"/>
                  <a:gd name="T40" fmla="*/ 18 w 776"/>
                  <a:gd name="T41" fmla="*/ 446 h 468"/>
                  <a:gd name="T42" fmla="*/ 20 w 776"/>
                  <a:gd name="T43" fmla="*/ 450 h 468"/>
                  <a:gd name="T44" fmla="*/ 22 w 776"/>
                  <a:gd name="T45" fmla="*/ 450 h 468"/>
                  <a:gd name="T46" fmla="*/ 754 w 776"/>
                  <a:gd name="T47" fmla="*/ 450 h 468"/>
                  <a:gd name="T48" fmla="*/ 754 w 776"/>
                  <a:gd name="T49" fmla="*/ 450 h 468"/>
                  <a:gd name="T50" fmla="*/ 756 w 776"/>
                  <a:gd name="T51" fmla="*/ 450 h 468"/>
                  <a:gd name="T52" fmla="*/ 758 w 776"/>
                  <a:gd name="T53" fmla="*/ 446 h 468"/>
                  <a:gd name="T54" fmla="*/ 758 w 776"/>
                  <a:gd name="T55" fmla="*/ 22 h 468"/>
                  <a:gd name="T56" fmla="*/ 758 w 776"/>
                  <a:gd name="T57" fmla="*/ 22 h 468"/>
                  <a:gd name="T58" fmla="*/ 756 w 776"/>
                  <a:gd name="T59" fmla="*/ 18 h 468"/>
                  <a:gd name="T60" fmla="*/ 754 w 776"/>
                  <a:gd name="T61" fmla="*/ 18 h 468"/>
                  <a:gd name="T62" fmla="*/ 690 w 776"/>
                  <a:gd name="T63" fmla="*/ 18 h 468"/>
                  <a:gd name="T64" fmla="*/ 690 w 776"/>
                  <a:gd name="T65" fmla="*/ 0 h 468"/>
                  <a:gd name="T66" fmla="*/ 754 w 776"/>
                  <a:gd name="T67" fmla="*/ 0 h 468"/>
                  <a:gd name="T68" fmla="*/ 754 w 776"/>
                  <a:gd name="T69" fmla="*/ 0 h 468"/>
                  <a:gd name="T70" fmla="*/ 762 w 776"/>
                  <a:gd name="T71" fmla="*/ 2 h 468"/>
                  <a:gd name="T72" fmla="*/ 770 w 776"/>
                  <a:gd name="T73" fmla="*/ 6 h 468"/>
                  <a:gd name="T74" fmla="*/ 774 w 776"/>
                  <a:gd name="T75" fmla="*/ 14 h 468"/>
                  <a:gd name="T76" fmla="*/ 776 w 776"/>
                  <a:gd name="T77" fmla="*/ 22 h 468"/>
                  <a:gd name="T78" fmla="*/ 776 w 776"/>
                  <a:gd name="T79" fmla="*/ 446 h 468"/>
                  <a:gd name="T80" fmla="*/ 776 w 776"/>
                  <a:gd name="T81" fmla="*/ 446 h 468"/>
                  <a:gd name="T82" fmla="*/ 774 w 776"/>
                  <a:gd name="T83" fmla="*/ 456 h 468"/>
                  <a:gd name="T84" fmla="*/ 770 w 776"/>
                  <a:gd name="T85" fmla="*/ 462 h 468"/>
                  <a:gd name="T86" fmla="*/ 762 w 776"/>
                  <a:gd name="T87" fmla="*/ 466 h 468"/>
                  <a:gd name="T88" fmla="*/ 754 w 776"/>
                  <a:gd name="T89" fmla="*/ 468 h 468"/>
                  <a:gd name="T90" fmla="*/ 754 w 776"/>
                  <a:gd name="T9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6" h="468">
                    <a:moveTo>
                      <a:pt x="754" y="468"/>
                    </a:moveTo>
                    <a:lnTo>
                      <a:pt x="22" y="468"/>
                    </a:lnTo>
                    <a:lnTo>
                      <a:pt x="22" y="468"/>
                    </a:lnTo>
                    <a:lnTo>
                      <a:pt x="14" y="466"/>
                    </a:lnTo>
                    <a:lnTo>
                      <a:pt x="6" y="462"/>
                    </a:lnTo>
                    <a:lnTo>
                      <a:pt x="2" y="456"/>
                    </a:lnTo>
                    <a:lnTo>
                      <a:pt x="0" y="446"/>
                    </a:lnTo>
                    <a:lnTo>
                      <a:pt x="0" y="22"/>
                    </a:lnTo>
                    <a:lnTo>
                      <a:pt x="0" y="22"/>
                    </a:lnTo>
                    <a:lnTo>
                      <a:pt x="2" y="14"/>
                    </a:lnTo>
                    <a:lnTo>
                      <a:pt x="6" y="6"/>
                    </a:lnTo>
                    <a:lnTo>
                      <a:pt x="14" y="2"/>
                    </a:lnTo>
                    <a:lnTo>
                      <a:pt x="22" y="0"/>
                    </a:lnTo>
                    <a:lnTo>
                      <a:pt x="86" y="0"/>
                    </a:lnTo>
                    <a:lnTo>
                      <a:pt x="86" y="18"/>
                    </a:lnTo>
                    <a:lnTo>
                      <a:pt x="22" y="18"/>
                    </a:lnTo>
                    <a:lnTo>
                      <a:pt x="22" y="18"/>
                    </a:lnTo>
                    <a:lnTo>
                      <a:pt x="20" y="18"/>
                    </a:lnTo>
                    <a:lnTo>
                      <a:pt x="18" y="22"/>
                    </a:lnTo>
                    <a:lnTo>
                      <a:pt x="18" y="446"/>
                    </a:lnTo>
                    <a:lnTo>
                      <a:pt x="18" y="446"/>
                    </a:lnTo>
                    <a:lnTo>
                      <a:pt x="20" y="450"/>
                    </a:lnTo>
                    <a:lnTo>
                      <a:pt x="22" y="450"/>
                    </a:lnTo>
                    <a:lnTo>
                      <a:pt x="754" y="450"/>
                    </a:lnTo>
                    <a:lnTo>
                      <a:pt x="754" y="450"/>
                    </a:lnTo>
                    <a:lnTo>
                      <a:pt x="756" y="450"/>
                    </a:lnTo>
                    <a:lnTo>
                      <a:pt x="758" y="446"/>
                    </a:lnTo>
                    <a:lnTo>
                      <a:pt x="758" y="22"/>
                    </a:lnTo>
                    <a:lnTo>
                      <a:pt x="758" y="22"/>
                    </a:lnTo>
                    <a:lnTo>
                      <a:pt x="756" y="18"/>
                    </a:lnTo>
                    <a:lnTo>
                      <a:pt x="754" y="18"/>
                    </a:lnTo>
                    <a:lnTo>
                      <a:pt x="690" y="18"/>
                    </a:lnTo>
                    <a:lnTo>
                      <a:pt x="690" y="0"/>
                    </a:lnTo>
                    <a:lnTo>
                      <a:pt x="754" y="0"/>
                    </a:lnTo>
                    <a:lnTo>
                      <a:pt x="754" y="0"/>
                    </a:lnTo>
                    <a:lnTo>
                      <a:pt x="762" y="2"/>
                    </a:lnTo>
                    <a:lnTo>
                      <a:pt x="770" y="6"/>
                    </a:lnTo>
                    <a:lnTo>
                      <a:pt x="774" y="14"/>
                    </a:lnTo>
                    <a:lnTo>
                      <a:pt x="776" y="22"/>
                    </a:lnTo>
                    <a:lnTo>
                      <a:pt x="776" y="446"/>
                    </a:lnTo>
                    <a:lnTo>
                      <a:pt x="776" y="446"/>
                    </a:lnTo>
                    <a:lnTo>
                      <a:pt x="774" y="456"/>
                    </a:lnTo>
                    <a:lnTo>
                      <a:pt x="770" y="462"/>
                    </a:lnTo>
                    <a:lnTo>
                      <a:pt x="762" y="466"/>
                    </a:lnTo>
                    <a:lnTo>
                      <a:pt x="754" y="468"/>
                    </a:lnTo>
                    <a:lnTo>
                      <a:pt x="754" y="4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5" name="Freeform 26">
                <a:extLst>
                  <a:ext uri="{FF2B5EF4-FFF2-40B4-BE49-F238E27FC236}">
                    <a16:creationId xmlns:a16="http://schemas.microsoft.com/office/drawing/2014/main" id="{0428C161-DF78-4BFE-A6DB-08BA9687DFE1}"/>
                  </a:ext>
                </a:extLst>
              </p:cNvPr>
              <p:cNvSpPr>
                <a:spLocks noEditPoints="1"/>
              </p:cNvSpPr>
              <p:nvPr/>
            </p:nvSpPr>
            <p:spPr bwMode="auto">
              <a:xfrm>
                <a:off x="3054350" y="3098800"/>
                <a:ext cx="447675" cy="682625"/>
              </a:xfrm>
              <a:custGeom>
                <a:avLst/>
                <a:gdLst>
                  <a:gd name="T0" fmla="*/ 282 w 282"/>
                  <a:gd name="T1" fmla="*/ 430 h 430"/>
                  <a:gd name="T2" fmla="*/ 264 w 282"/>
                  <a:gd name="T3" fmla="*/ 430 h 430"/>
                  <a:gd name="T4" fmla="*/ 264 w 282"/>
                  <a:gd name="T5" fmla="*/ 420 h 430"/>
                  <a:gd name="T6" fmla="*/ 264 w 282"/>
                  <a:gd name="T7" fmla="*/ 420 h 430"/>
                  <a:gd name="T8" fmla="*/ 264 w 282"/>
                  <a:gd name="T9" fmla="*/ 414 h 430"/>
                  <a:gd name="T10" fmla="*/ 262 w 282"/>
                  <a:gd name="T11" fmla="*/ 406 h 430"/>
                  <a:gd name="T12" fmla="*/ 258 w 282"/>
                  <a:gd name="T13" fmla="*/ 400 h 430"/>
                  <a:gd name="T14" fmla="*/ 254 w 282"/>
                  <a:gd name="T15" fmla="*/ 396 h 430"/>
                  <a:gd name="T16" fmla="*/ 250 w 282"/>
                  <a:gd name="T17" fmla="*/ 392 h 430"/>
                  <a:gd name="T18" fmla="*/ 244 w 282"/>
                  <a:gd name="T19" fmla="*/ 388 h 430"/>
                  <a:gd name="T20" fmla="*/ 236 w 282"/>
                  <a:gd name="T21" fmla="*/ 386 h 430"/>
                  <a:gd name="T22" fmla="*/ 230 w 282"/>
                  <a:gd name="T23" fmla="*/ 386 h 430"/>
                  <a:gd name="T24" fmla="*/ 0 w 282"/>
                  <a:gd name="T25" fmla="*/ 386 h 430"/>
                  <a:gd name="T26" fmla="*/ 0 w 282"/>
                  <a:gd name="T27" fmla="*/ 0 h 430"/>
                  <a:gd name="T28" fmla="*/ 230 w 282"/>
                  <a:gd name="T29" fmla="*/ 0 h 430"/>
                  <a:gd name="T30" fmla="*/ 230 w 282"/>
                  <a:gd name="T31" fmla="*/ 0 h 430"/>
                  <a:gd name="T32" fmla="*/ 240 w 282"/>
                  <a:gd name="T33" fmla="*/ 0 h 430"/>
                  <a:gd name="T34" fmla="*/ 250 w 282"/>
                  <a:gd name="T35" fmla="*/ 4 h 430"/>
                  <a:gd name="T36" fmla="*/ 260 w 282"/>
                  <a:gd name="T37" fmla="*/ 8 h 430"/>
                  <a:gd name="T38" fmla="*/ 268 w 282"/>
                  <a:gd name="T39" fmla="*/ 14 h 430"/>
                  <a:gd name="T40" fmla="*/ 274 w 282"/>
                  <a:gd name="T41" fmla="*/ 22 h 430"/>
                  <a:gd name="T42" fmla="*/ 278 w 282"/>
                  <a:gd name="T43" fmla="*/ 32 h 430"/>
                  <a:gd name="T44" fmla="*/ 282 w 282"/>
                  <a:gd name="T45" fmla="*/ 42 h 430"/>
                  <a:gd name="T46" fmla="*/ 282 w 282"/>
                  <a:gd name="T47" fmla="*/ 52 h 430"/>
                  <a:gd name="T48" fmla="*/ 282 w 282"/>
                  <a:gd name="T49" fmla="*/ 386 h 430"/>
                  <a:gd name="T50" fmla="*/ 270 w 282"/>
                  <a:gd name="T51" fmla="*/ 386 h 430"/>
                  <a:gd name="T52" fmla="*/ 270 w 282"/>
                  <a:gd name="T53" fmla="*/ 386 h 430"/>
                  <a:gd name="T54" fmla="*/ 276 w 282"/>
                  <a:gd name="T55" fmla="*/ 392 h 430"/>
                  <a:gd name="T56" fmla="*/ 280 w 282"/>
                  <a:gd name="T57" fmla="*/ 402 h 430"/>
                  <a:gd name="T58" fmla="*/ 282 w 282"/>
                  <a:gd name="T59" fmla="*/ 410 h 430"/>
                  <a:gd name="T60" fmla="*/ 282 w 282"/>
                  <a:gd name="T61" fmla="*/ 420 h 430"/>
                  <a:gd name="T62" fmla="*/ 282 w 282"/>
                  <a:gd name="T63" fmla="*/ 430 h 430"/>
                  <a:gd name="T64" fmla="*/ 18 w 282"/>
                  <a:gd name="T65" fmla="*/ 368 h 430"/>
                  <a:gd name="T66" fmla="*/ 230 w 282"/>
                  <a:gd name="T67" fmla="*/ 368 h 430"/>
                  <a:gd name="T68" fmla="*/ 230 w 282"/>
                  <a:gd name="T69" fmla="*/ 368 h 430"/>
                  <a:gd name="T70" fmla="*/ 240 w 282"/>
                  <a:gd name="T71" fmla="*/ 368 h 430"/>
                  <a:gd name="T72" fmla="*/ 248 w 282"/>
                  <a:gd name="T73" fmla="*/ 370 h 430"/>
                  <a:gd name="T74" fmla="*/ 258 w 282"/>
                  <a:gd name="T75" fmla="*/ 374 h 430"/>
                  <a:gd name="T76" fmla="*/ 264 w 282"/>
                  <a:gd name="T77" fmla="*/ 380 h 430"/>
                  <a:gd name="T78" fmla="*/ 264 w 282"/>
                  <a:gd name="T79" fmla="*/ 52 h 430"/>
                  <a:gd name="T80" fmla="*/ 264 w 282"/>
                  <a:gd name="T81" fmla="*/ 52 h 430"/>
                  <a:gd name="T82" fmla="*/ 264 w 282"/>
                  <a:gd name="T83" fmla="*/ 46 h 430"/>
                  <a:gd name="T84" fmla="*/ 262 w 282"/>
                  <a:gd name="T85" fmla="*/ 38 h 430"/>
                  <a:gd name="T86" fmla="*/ 258 w 282"/>
                  <a:gd name="T87" fmla="*/ 32 h 430"/>
                  <a:gd name="T88" fmla="*/ 254 w 282"/>
                  <a:gd name="T89" fmla="*/ 28 h 430"/>
                  <a:gd name="T90" fmla="*/ 250 w 282"/>
                  <a:gd name="T91" fmla="*/ 24 h 430"/>
                  <a:gd name="T92" fmla="*/ 244 w 282"/>
                  <a:gd name="T93" fmla="*/ 20 h 430"/>
                  <a:gd name="T94" fmla="*/ 236 w 282"/>
                  <a:gd name="T95" fmla="*/ 18 h 430"/>
                  <a:gd name="T96" fmla="*/ 230 w 282"/>
                  <a:gd name="T97" fmla="*/ 18 h 430"/>
                  <a:gd name="T98" fmla="*/ 18 w 282"/>
                  <a:gd name="T99" fmla="*/ 18 h 430"/>
                  <a:gd name="T100" fmla="*/ 18 w 282"/>
                  <a:gd name="T101" fmla="*/ 36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30">
                    <a:moveTo>
                      <a:pt x="282" y="430"/>
                    </a:moveTo>
                    <a:lnTo>
                      <a:pt x="264" y="430"/>
                    </a:lnTo>
                    <a:lnTo>
                      <a:pt x="264" y="420"/>
                    </a:lnTo>
                    <a:lnTo>
                      <a:pt x="264" y="420"/>
                    </a:lnTo>
                    <a:lnTo>
                      <a:pt x="264" y="414"/>
                    </a:lnTo>
                    <a:lnTo>
                      <a:pt x="262" y="406"/>
                    </a:lnTo>
                    <a:lnTo>
                      <a:pt x="258" y="400"/>
                    </a:lnTo>
                    <a:lnTo>
                      <a:pt x="254" y="396"/>
                    </a:lnTo>
                    <a:lnTo>
                      <a:pt x="250" y="392"/>
                    </a:lnTo>
                    <a:lnTo>
                      <a:pt x="244" y="388"/>
                    </a:lnTo>
                    <a:lnTo>
                      <a:pt x="236" y="386"/>
                    </a:lnTo>
                    <a:lnTo>
                      <a:pt x="230" y="386"/>
                    </a:lnTo>
                    <a:lnTo>
                      <a:pt x="0" y="386"/>
                    </a:lnTo>
                    <a:lnTo>
                      <a:pt x="0" y="0"/>
                    </a:lnTo>
                    <a:lnTo>
                      <a:pt x="230" y="0"/>
                    </a:lnTo>
                    <a:lnTo>
                      <a:pt x="230" y="0"/>
                    </a:lnTo>
                    <a:lnTo>
                      <a:pt x="240" y="0"/>
                    </a:lnTo>
                    <a:lnTo>
                      <a:pt x="250" y="4"/>
                    </a:lnTo>
                    <a:lnTo>
                      <a:pt x="260" y="8"/>
                    </a:lnTo>
                    <a:lnTo>
                      <a:pt x="268" y="14"/>
                    </a:lnTo>
                    <a:lnTo>
                      <a:pt x="274" y="22"/>
                    </a:lnTo>
                    <a:lnTo>
                      <a:pt x="278" y="32"/>
                    </a:lnTo>
                    <a:lnTo>
                      <a:pt x="282" y="42"/>
                    </a:lnTo>
                    <a:lnTo>
                      <a:pt x="282" y="52"/>
                    </a:lnTo>
                    <a:lnTo>
                      <a:pt x="282" y="386"/>
                    </a:lnTo>
                    <a:lnTo>
                      <a:pt x="270" y="386"/>
                    </a:lnTo>
                    <a:lnTo>
                      <a:pt x="270" y="386"/>
                    </a:lnTo>
                    <a:lnTo>
                      <a:pt x="276" y="392"/>
                    </a:lnTo>
                    <a:lnTo>
                      <a:pt x="280" y="402"/>
                    </a:lnTo>
                    <a:lnTo>
                      <a:pt x="282" y="410"/>
                    </a:lnTo>
                    <a:lnTo>
                      <a:pt x="282" y="420"/>
                    </a:lnTo>
                    <a:lnTo>
                      <a:pt x="282" y="430"/>
                    </a:lnTo>
                    <a:close/>
                    <a:moveTo>
                      <a:pt x="18" y="368"/>
                    </a:moveTo>
                    <a:lnTo>
                      <a:pt x="230" y="368"/>
                    </a:lnTo>
                    <a:lnTo>
                      <a:pt x="230" y="368"/>
                    </a:lnTo>
                    <a:lnTo>
                      <a:pt x="240" y="368"/>
                    </a:lnTo>
                    <a:lnTo>
                      <a:pt x="248" y="370"/>
                    </a:lnTo>
                    <a:lnTo>
                      <a:pt x="258" y="374"/>
                    </a:lnTo>
                    <a:lnTo>
                      <a:pt x="264" y="380"/>
                    </a:lnTo>
                    <a:lnTo>
                      <a:pt x="264" y="52"/>
                    </a:lnTo>
                    <a:lnTo>
                      <a:pt x="264" y="52"/>
                    </a:lnTo>
                    <a:lnTo>
                      <a:pt x="264" y="46"/>
                    </a:lnTo>
                    <a:lnTo>
                      <a:pt x="262" y="38"/>
                    </a:lnTo>
                    <a:lnTo>
                      <a:pt x="258" y="32"/>
                    </a:lnTo>
                    <a:lnTo>
                      <a:pt x="254" y="28"/>
                    </a:lnTo>
                    <a:lnTo>
                      <a:pt x="250" y="24"/>
                    </a:lnTo>
                    <a:lnTo>
                      <a:pt x="244" y="20"/>
                    </a:lnTo>
                    <a:lnTo>
                      <a:pt x="236" y="18"/>
                    </a:lnTo>
                    <a:lnTo>
                      <a:pt x="230" y="18"/>
                    </a:lnTo>
                    <a:lnTo>
                      <a:pt x="18" y="18"/>
                    </a:lnTo>
                    <a:lnTo>
                      <a:pt x="18" y="3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6" name="Freeform 27">
                <a:extLst>
                  <a:ext uri="{FF2B5EF4-FFF2-40B4-BE49-F238E27FC236}">
                    <a16:creationId xmlns:a16="http://schemas.microsoft.com/office/drawing/2014/main" id="{C0098BD5-08F9-41A8-BEC3-4DAC4C885E9F}"/>
                  </a:ext>
                </a:extLst>
              </p:cNvPr>
              <p:cNvSpPr>
                <a:spLocks noEditPoints="1"/>
              </p:cNvSpPr>
              <p:nvPr/>
            </p:nvSpPr>
            <p:spPr bwMode="auto">
              <a:xfrm>
                <a:off x="3473450" y="3098800"/>
                <a:ext cx="450850" cy="666750"/>
              </a:xfrm>
              <a:custGeom>
                <a:avLst/>
                <a:gdLst>
                  <a:gd name="T0" fmla="*/ 18 w 284"/>
                  <a:gd name="T1" fmla="*/ 420 h 420"/>
                  <a:gd name="T2" fmla="*/ 0 w 284"/>
                  <a:gd name="T3" fmla="*/ 420 h 420"/>
                  <a:gd name="T4" fmla="*/ 0 w 284"/>
                  <a:gd name="T5" fmla="*/ 52 h 420"/>
                  <a:gd name="T6" fmla="*/ 0 w 284"/>
                  <a:gd name="T7" fmla="*/ 52 h 420"/>
                  <a:gd name="T8" fmla="*/ 2 w 284"/>
                  <a:gd name="T9" fmla="*/ 42 h 420"/>
                  <a:gd name="T10" fmla="*/ 6 w 284"/>
                  <a:gd name="T11" fmla="*/ 32 h 420"/>
                  <a:gd name="T12" fmla="*/ 10 w 284"/>
                  <a:gd name="T13" fmla="*/ 22 h 420"/>
                  <a:gd name="T14" fmla="*/ 16 w 284"/>
                  <a:gd name="T15" fmla="*/ 14 h 420"/>
                  <a:gd name="T16" fmla="*/ 24 w 284"/>
                  <a:gd name="T17" fmla="*/ 8 h 420"/>
                  <a:gd name="T18" fmla="*/ 34 w 284"/>
                  <a:gd name="T19" fmla="*/ 4 h 420"/>
                  <a:gd name="T20" fmla="*/ 44 w 284"/>
                  <a:gd name="T21" fmla="*/ 0 h 420"/>
                  <a:gd name="T22" fmla="*/ 54 w 284"/>
                  <a:gd name="T23" fmla="*/ 0 h 420"/>
                  <a:gd name="T24" fmla="*/ 284 w 284"/>
                  <a:gd name="T25" fmla="*/ 0 h 420"/>
                  <a:gd name="T26" fmla="*/ 284 w 284"/>
                  <a:gd name="T27" fmla="*/ 386 h 420"/>
                  <a:gd name="T28" fmla="*/ 54 w 284"/>
                  <a:gd name="T29" fmla="*/ 386 h 420"/>
                  <a:gd name="T30" fmla="*/ 54 w 284"/>
                  <a:gd name="T31" fmla="*/ 386 h 420"/>
                  <a:gd name="T32" fmla="*/ 48 w 284"/>
                  <a:gd name="T33" fmla="*/ 386 h 420"/>
                  <a:gd name="T34" fmla="*/ 40 w 284"/>
                  <a:gd name="T35" fmla="*/ 388 h 420"/>
                  <a:gd name="T36" fmla="*/ 34 w 284"/>
                  <a:gd name="T37" fmla="*/ 392 h 420"/>
                  <a:gd name="T38" fmla="*/ 30 w 284"/>
                  <a:gd name="T39" fmla="*/ 396 h 420"/>
                  <a:gd name="T40" fmla="*/ 24 w 284"/>
                  <a:gd name="T41" fmla="*/ 400 h 420"/>
                  <a:gd name="T42" fmla="*/ 22 w 284"/>
                  <a:gd name="T43" fmla="*/ 406 h 420"/>
                  <a:gd name="T44" fmla="*/ 20 w 284"/>
                  <a:gd name="T45" fmla="*/ 414 h 420"/>
                  <a:gd name="T46" fmla="*/ 18 w 284"/>
                  <a:gd name="T47" fmla="*/ 420 h 420"/>
                  <a:gd name="T48" fmla="*/ 18 w 284"/>
                  <a:gd name="T49" fmla="*/ 420 h 420"/>
                  <a:gd name="T50" fmla="*/ 54 w 284"/>
                  <a:gd name="T51" fmla="*/ 18 h 420"/>
                  <a:gd name="T52" fmla="*/ 54 w 284"/>
                  <a:gd name="T53" fmla="*/ 18 h 420"/>
                  <a:gd name="T54" fmla="*/ 48 w 284"/>
                  <a:gd name="T55" fmla="*/ 18 h 420"/>
                  <a:gd name="T56" fmla="*/ 40 w 284"/>
                  <a:gd name="T57" fmla="*/ 20 h 420"/>
                  <a:gd name="T58" fmla="*/ 34 w 284"/>
                  <a:gd name="T59" fmla="*/ 24 h 420"/>
                  <a:gd name="T60" fmla="*/ 30 w 284"/>
                  <a:gd name="T61" fmla="*/ 28 h 420"/>
                  <a:gd name="T62" fmla="*/ 24 w 284"/>
                  <a:gd name="T63" fmla="*/ 32 h 420"/>
                  <a:gd name="T64" fmla="*/ 22 w 284"/>
                  <a:gd name="T65" fmla="*/ 38 h 420"/>
                  <a:gd name="T66" fmla="*/ 20 w 284"/>
                  <a:gd name="T67" fmla="*/ 46 h 420"/>
                  <a:gd name="T68" fmla="*/ 18 w 284"/>
                  <a:gd name="T69" fmla="*/ 52 h 420"/>
                  <a:gd name="T70" fmla="*/ 18 w 284"/>
                  <a:gd name="T71" fmla="*/ 380 h 420"/>
                  <a:gd name="T72" fmla="*/ 18 w 284"/>
                  <a:gd name="T73" fmla="*/ 380 h 420"/>
                  <a:gd name="T74" fmla="*/ 26 w 284"/>
                  <a:gd name="T75" fmla="*/ 374 h 420"/>
                  <a:gd name="T76" fmla="*/ 34 w 284"/>
                  <a:gd name="T77" fmla="*/ 370 h 420"/>
                  <a:gd name="T78" fmla="*/ 44 w 284"/>
                  <a:gd name="T79" fmla="*/ 368 h 420"/>
                  <a:gd name="T80" fmla="*/ 54 w 284"/>
                  <a:gd name="T81" fmla="*/ 368 h 420"/>
                  <a:gd name="T82" fmla="*/ 266 w 284"/>
                  <a:gd name="T83" fmla="*/ 368 h 420"/>
                  <a:gd name="T84" fmla="*/ 266 w 284"/>
                  <a:gd name="T85" fmla="*/ 18 h 420"/>
                  <a:gd name="T86" fmla="*/ 54 w 284"/>
                  <a:gd name="T87" fmla="*/ 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420">
                    <a:moveTo>
                      <a:pt x="18" y="420"/>
                    </a:moveTo>
                    <a:lnTo>
                      <a:pt x="0" y="420"/>
                    </a:lnTo>
                    <a:lnTo>
                      <a:pt x="0" y="52"/>
                    </a:lnTo>
                    <a:lnTo>
                      <a:pt x="0" y="52"/>
                    </a:lnTo>
                    <a:lnTo>
                      <a:pt x="2" y="42"/>
                    </a:lnTo>
                    <a:lnTo>
                      <a:pt x="6" y="32"/>
                    </a:lnTo>
                    <a:lnTo>
                      <a:pt x="10" y="22"/>
                    </a:lnTo>
                    <a:lnTo>
                      <a:pt x="16" y="14"/>
                    </a:lnTo>
                    <a:lnTo>
                      <a:pt x="24" y="8"/>
                    </a:lnTo>
                    <a:lnTo>
                      <a:pt x="34" y="4"/>
                    </a:lnTo>
                    <a:lnTo>
                      <a:pt x="44" y="0"/>
                    </a:lnTo>
                    <a:lnTo>
                      <a:pt x="54" y="0"/>
                    </a:lnTo>
                    <a:lnTo>
                      <a:pt x="284" y="0"/>
                    </a:lnTo>
                    <a:lnTo>
                      <a:pt x="284" y="386"/>
                    </a:lnTo>
                    <a:lnTo>
                      <a:pt x="54" y="386"/>
                    </a:lnTo>
                    <a:lnTo>
                      <a:pt x="54" y="386"/>
                    </a:lnTo>
                    <a:lnTo>
                      <a:pt x="48" y="386"/>
                    </a:lnTo>
                    <a:lnTo>
                      <a:pt x="40" y="388"/>
                    </a:lnTo>
                    <a:lnTo>
                      <a:pt x="34" y="392"/>
                    </a:lnTo>
                    <a:lnTo>
                      <a:pt x="30" y="396"/>
                    </a:lnTo>
                    <a:lnTo>
                      <a:pt x="24" y="400"/>
                    </a:lnTo>
                    <a:lnTo>
                      <a:pt x="22" y="406"/>
                    </a:lnTo>
                    <a:lnTo>
                      <a:pt x="20" y="414"/>
                    </a:lnTo>
                    <a:lnTo>
                      <a:pt x="18" y="420"/>
                    </a:lnTo>
                    <a:lnTo>
                      <a:pt x="18" y="420"/>
                    </a:lnTo>
                    <a:close/>
                    <a:moveTo>
                      <a:pt x="54" y="18"/>
                    </a:moveTo>
                    <a:lnTo>
                      <a:pt x="54" y="18"/>
                    </a:lnTo>
                    <a:lnTo>
                      <a:pt x="48" y="18"/>
                    </a:lnTo>
                    <a:lnTo>
                      <a:pt x="40" y="20"/>
                    </a:lnTo>
                    <a:lnTo>
                      <a:pt x="34" y="24"/>
                    </a:lnTo>
                    <a:lnTo>
                      <a:pt x="30" y="28"/>
                    </a:lnTo>
                    <a:lnTo>
                      <a:pt x="24" y="32"/>
                    </a:lnTo>
                    <a:lnTo>
                      <a:pt x="22" y="38"/>
                    </a:lnTo>
                    <a:lnTo>
                      <a:pt x="20" y="46"/>
                    </a:lnTo>
                    <a:lnTo>
                      <a:pt x="18" y="52"/>
                    </a:lnTo>
                    <a:lnTo>
                      <a:pt x="18" y="380"/>
                    </a:lnTo>
                    <a:lnTo>
                      <a:pt x="18" y="380"/>
                    </a:lnTo>
                    <a:lnTo>
                      <a:pt x="26" y="374"/>
                    </a:lnTo>
                    <a:lnTo>
                      <a:pt x="34" y="370"/>
                    </a:lnTo>
                    <a:lnTo>
                      <a:pt x="44" y="368"/>
                    </a:lnTo>
                    <a:lnTo>
                      <a:pt x="54" y="368"/>
                    </a:lnTo>
                    <a:lnTo>
                      <a:pt x="266" y="368"/>
                    </a:lnTo>
                    <a:lnTo>
                      <a:pt x="266" y="18"/>
                    </a:lnTo>
                    <a:lnTo>
                      <a:pt x="5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7" name="Rectangle 28">
                <a:extLst>
                  <a:ext uri="{FF2B5EF4-FFF2-40B4-BE49-F238E27FC236}">
                    <a16:creationId xmlns:a16="http://schemas.microsoft.com/office/drawing/2014/main" id="{75C6AB11-C4A4-4E4A-8877-67FCCBDA06DE}"/>
                  </a:ext>
                </a:extLst>
              </p:cNvPr>
              <p:cNvSpPr>
                <a:spLocks noChangeArrowheads="1"/>
              </p:cNvSpPr>
              <p:nvPr/>
            </p:nvSpPr>
            <p:spPr bwMode="auto">
              <a:xfrm>
                <a:off x="3279775" y="327660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8" name="Rectangle 29">
                <a:extLst>
                  <a:ext uri="{FF2B5EF4-FFF2-40B4-BE49-F238E27FC236}">
                    <a16:creationId xmlns:a16="http://schemas.microsoft.com/office/drawing/2014/main" id="{8BA337F9-D0F2-4CB5-96A8-EA3DC6F984FB}"/>
                  </a:ext>
                </a:extLst>
              </p:cNvPr>
              <p:cNvSpPr>
                <a:spLocks noChangeArrowheads="1"/>
              </p:cNvSpPr>
              <p:nvPr/>
            </p:nvSpPr>
            <p:spPr bwMode="auto">
              <a:xfrm>
                <a:off x="3279775" y="334645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9" name="Rectangle 30">
                <a:extLst>
                  <a:ext uri="{FF2B5EF4-FFF2-40B4-BE49-F238E27FC236}">
                    <a16:creationId xmlns:a16="http://schemas.microsoft.com/office/drawing/2014/main" id="{74E3C854-44A4-4232-A110-14A5B70F947B}"/>
                  </a:ext>
                </a:extLst>
              </p:cNvPr>
              <p:cNvSpPr>
                <a:spLocks noChangeArrowheads="1"/>
              </p:cNvSpPr>
              <p:nvPr/>
            </p:nvSpPr>
            <p:spPr bwMode="auto">
              <a:xfrm>
                <a:off x="31337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0" name="Rectangle 31">
                <a:extLst>
                  <a:ext uri="{FF2B5EF4-FFF2-40B4-BE49-F238E27FC236}">
                    <a16:creationId xmlns:a16="http://schemas.microsoft.com/office/drawing/2014/main" id="{21EB516A-F978-406D-BF10-21CD2AFFA847}"/>
                  </a:ext>
                </a:extLst>
              </p:cNvPr>
              <p:cNvSpPr>
                <a:spLocks noChangeArrowheads="1"/>
              </p:cNvSpPr>
              <p:nvPr/>
            </p:nvSpPr>
            <p:spPr bwMode="auto">
              <a:xfrm>
                <a:off x="31337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1" name="Rectangle 32">
                <a:extLst>
                  <a:ext uri="{FF2B5EF4-FFF2-40B4-BE49-F238E27FC236}">
                    <a16:creationId xmlns:a16="http://schemas.microsoft.com/office/drawing/2014/main" id="{B8A3EFF0-C0EF-4722-9B20-177BE9DF2908}"/>
                  </a:ext>
                </a:extLst>
              </p:cNvPr>
              <p:cNvSpPr>
                <a:spLocks noChangeArrowheads="1"/>
              </p:cNvSpPr>
              <p:nvPr/>
            </p:nvSpPr>
            <p:spPr bwMode="auto">
              <a:xfrm>
                <a:off x="31337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2" name="Rectangle 33">
                <a:extLst>
                  <a:ext uri="{FF2B5EF4-FFF2-40B4-BE49-F238E27FC236}">
                    <a16:creationId xmlns:a16="http://schemas.microsoft.com/office/drawing/2014/main" id="{2255CBEC-E8F1-47BD-B525-A03AF5775EDB}"/>
                  </a:ext>
                </a:extLst>
              </p:cNvPr>
              <p:cNvSpPr>
                <a:spLocks noChangeArrowheads="1"/>
              </p:cNvSpPr>
              <p:nvPr/>
            </p:nvSpPr>
            <p:spPr bwMode="auto">
              <a:xfrm>
                <a:off x="3552825" y="32766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3" name="Rectangle 34">
                <a:extLst>
                  <a:ext uri="{FF2B5EF4-FFF2-40B4-BE49-F238E27FC236}">
                    <a16:creationId xmlns:a16="http://schemas.microsoft.com/office/drawing/2014/main" id="{FD5B9866-FABA-45A9-BDB6-0CF89B39DA21}"/>
                  </a:ext>
                </a:extLst>
              </p:cNvPr>
              <p:cNvSpPr>
                <a:spLocks noChangeArrowheads="1"/>
              </p:cNvSpPr>
              <p:nvPr/>
            </p:nvSpPr>
            <p:spPr bwMode="auto">
              <a:xfrm>
                <a:off x="3552825" y="334645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4" name="Rectangle 35">
                <a:extLst>
                  <a:ext uri="{FF2B5EF4-FFF2-40B4-BE49-F238E27FC236}">
                    <a16:creationId xmlns:a16="http://schemas.microsoft.com/office/drawing/2014/main" id="{17B7EF33-A640-4616-807A-5DE92906596B}"/>
                  </a:ext>
                </a:extLst>
              </p:cNvPr>
              <p:cNvSpPr>
                <a:spLocks noChangeArrowheads="1"/>
              </p:cNvSpPr>
              <p:nvPr/>
            </p:nvSpPr>
            <p:spPr bwMode="auto">
              <a:xfrm>
                <a:off x="35528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5" name="Rectangle 36">
                <a:extLst>
                  <a:ext uri="{FF2B5EF4-FFF2-40B4-BE49-F238E27FC236}">
                    <a16:creationId xmlns:a16="http://schemas.microsoft.com/office/drawing/2014/main" id="{FDC896CE-9119-4A5F-B8DE-58B5C305C79E}"/>
                  </a:ext>
                </a:extLst>
              </p:cNvPr>
              <p:cNvSpPr>
                <a:spLocks noChangeArrowheads="1"/>
              </p:cNvSpPr>
              <p:nvPr/>
            </p:nvSpPr>
            <p:spPr bwMode="auto">
              <a:xfrm>
                <a:off x="35528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6" name="Rectangle 37">
                <a:extLst>
                  <a:ext uri="{FF2B5EF4-FFF2-40B4-BE49-F238E27FC236}">
                    <a16:creationId xmlns:a16="http://schemas.microsoft.com/office/drawing/2014/main" id="{745BC256-8648-42FA-96AA-57302CA15A8C}"/>
                  </a:ext>
                </a:extLst>
              </p:cNvPr>
              <p:cNvSpPr>
                <a:spLocks noChangeArrowheads="1"/>
              </p:cNvSpPr>
              <p:nvPr/>
            </p:nvSpPr>
            <p:spPr bwMode="auto">
              <a:xfrm>
                <a:off x="35528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7" name="Freeform 38">
                <a:extLst>
                  <a:ext uri="{FF2B5EF4-FFF2-40B4-BE49-F238E27FC236}">
                    <a16:creationId xmlns:a16="http://schemas.microsoft.com/office/drawing/2014/main" id="{88E993CC-DA7E-490B-9F52-80A17174F764}"/>
                  </a:ext>
                </a:extLst>
              </p:cNvPr>
              <p:cNvSpPr>
                <a:spLocks noEditPoints="1"/>
              </p:cNvSpPr>
              <p:nvPr/>
            </p:nvSpPr>
            <p:spPr bwMode="auto">
              <a:xfrm>
                <a:off x="3133725" y="3276600"/>
                <a:ext cx="120650" cy="98425"/>
              </a:xfrm>
              <a:custGeom>
                <a:avLst/>
                <a:gdLst>
                  <a:gd name="T0" fmla="*/ 76 w 76"/>
                  <a:gd name="T1" fmla="*/ 62 h 62"/>
                  <a:gd name="T2" fmla="*/ 0 w 76"/>
                  <a:gd name="T3" fmla="*/ 62 h 62"/>
                  <a:gd name="T4" fmla="*/ 0 w 76"/>
                  <a:gd name="T5" fmla="*/ 0 h 62"/>
                  <a:gd name="T6" fmla="*/ 76 w 76"/>
                  <a:gd name="T7" fmla="*/ 0 h 62"/>
                  <a:gd name="T8" fmla="*/ 76 w 76"/>
                  <a:gd name="T9" fmla="*/ 62 h 62"/>
                  <a:gd name="T10" fmla="*/ 18 w 76"/>
                  <a:gd name="T11" fmla="*/ 44 h 62"/>
                  <a:gd name="T12" fmla="*/ 58 w 76"/>
                  <a:gd name="T13" fmla="*/ 44 h 62"/>
                  <a:gd name="T14" fmla="*/ 58 w 76"/>
                  <a:gd name="T15" fmla="*/ 18 h 62"/>
                  <a:gd name="T16" fmla="*/ 18 w 76"/>
                  <a:gd name="T17" fmla="*/ 18 h 62"/>
                  <a:gd name="T18" fmla="*/ 18 w 76"/>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62">
                    <a:moveTo>
                      <a:pt x="76" y="62"/>
                    </a:moveTo>
                    <a:lnTo>
                      <a:pt x="0" y="62"/>
                    </a:lnTo>
                    <a:lnTo>
                      <a:pt x="0" y="0"/>
                    </a:lnTo>
                    <a:lnTo>
                      <a:pt x="76" y="0"/>
                    </a:lnTo>
                    <a:lnTo>
                      <a:pt x="76" y="62"/>
                    </a:lnTo>
                    <a:close/>
                    <a:moveTo>
                      <a:pt x="18" y="44"/>
                    </a:moveTo>
                    <a:lnTo>
                      <a:pt x="58" y="44"/>
                    </a:lnTo>
                    <a:lnTo>
                      <a:pt x="58" y="18"/>
                    </a:lnTo>
                    <a:lnTo>
                      <a:pt x="18" y="18"/>
                    </a:lnTo>
                    <a:lnTo>
                      <a:pt x="1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grpSp>
        <p:sp>
          <p:nvSpPr>
            <p:cNvPr id="290" name="TextBox 289">
              <a:extLst>
                <a:ext uri="{FF2B5EF4-FFF2-40B4-BE49-F238E27FC236}">
                  <a16:creationId xmlns:a16="http://schemas.microsoft.com/office/drawing/2014/main" id="{FB0EFCA7-ADD6-4242-9DDF-170CC5F7C416}"/>
                </a:ext>
              </a:extLst>
            </p:cNvPr>
            <p:cNvSpPr txBox="1"/>
            <p:nvPr/>
          </p:nvSpPr>
          <p:spPr>
            <a:xfrm>
              <a:off x="7655928" y="3817233"/>
              <a:ext cx="1045143" cy="186043"/>
            </a:xfrm>
            <a:prstGeom prst="rect">
              <a:avLst/>
            </a:prstGeom>
            <a:noFill/>
            <a:ln w="12700" cap="sq">
              <a:noFill/>
              <a:miter lim="800000"/>
            </a:ln>
          </p:spPr>
          <p:txBody>
            <a:bodyPr wrap="square" lIns="0" tIns="0" rIns="0" bIns="0"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lang="de-AT" sz="1000" b="1" kern="0" dirty="0">
                  <a:solidFill>
                    <a:srgbClr val="FFE600"/>
                  </a:solidFill>
                </a:rPr>
                <a:t>Off</a:t>
              </a:r>
              <a:r>
                <a:rPr kumimoji="0" lang="de-AT" sz="1000" b="1" i="0" u="none" strike="noStrike" kern="0" cap="none" spc="0" normalizeH="0" baseline="0" noProof="0" dirty="0">
                  <a:ln>
                    <a:noFill/>
                  </a:ln>
                  <a:solidFill>
                    <a:srgbClr val="FFE600"/>
                  </a:solidFill>
                  <a:effectLst/>
                  <a:uLnTx/>
                  <a:uFillTx/>
                </a:rPr>
                <a:t>-</a:t>
              </a:r>
              <a:r>
                <a:rPr kumimoji="0" lang="de-AT" sz="1000" i="0" u="none" strike="noStrike" kern="0" cap="none" spc="0" normalizeH="0" baseline="0" noProof="0" dirty="0" err="1">
                  <a:ln>
                    <a:noFill/>
                  </a:ln>
                  <a:solidFill>
                    <a:srgbClr val="FFE600"/>
                  </a:solidFill>
                  <a:effectLst/>
                  <a:uLnTx/>
                  <a:uFillTx/>
                </a:rPr>
                <a:t>chain</a:t>
              </a:r>
              <a:endParaRPr kumimoji="0" lang="de-AT" sz="1000" i="0" u="none" strike="noStrike" kern="0" cap="none" spc="0" normalizeH="0" baseline="0" noProof="0" dirty="0">
                <a:ln>
                  <a:noFill/>
                </a:ln>
                <a:solidFill>
                  <a:srgbClr val="FFE600"/>
                </a:solidFill>
                <a:effectLst/>
                <a:uLnTx/>
                <a:uFillTx/>
              </a:endParaRPr>
            </a:p>
          </p:txBody>
        </p:sp>
        <p:sp>
          <p:nvSpPr>
            <p:cNvPr id="291" name="TextBox 290">
              <a:extLst>
                <a:ext uri="{FF2B5EF4-FFF2-40B4-BE49-F238E27FC236}">
                  <a16:creationId xmlns:a16="http://schemas.microsoft.com/office/drawing/2014/main" id="{4BA4F771-B355-4D46-85EF-BB1152AC87A0}"/>
                </a:ext>
              </a:extLst>
            </p:cNvPr>
            <p:cNvSpPr txBox="1"/>
            <p:nvPr/>
          </p:nvSpPr>
          <p:spPr>
            <a:xfrm>
              <a:off x="8671491" y="3832185"/>
              <a:ext cx="563412" cy="186043"/>
            </a:xfrm>
            <a:prstGeom prst="rect">
              <a:avLst/>
            </a:prstGeom>
            <a:noFill/>
            <a:ln w="12700" cap="sq">
              <a:noFill/>
              <a:miter lim="800000"/>
            </a:ln>
          </p:spPr>
          <p:txBody>
            <a:bodyPr wrap="square" lIns="0" tIns="0" rIns="0" bIns="0" rtlCol="0">
              <a:noAutofit/>
            </a:bodyPr>
            <a:lstStyle/>
            <a:p>
              <a:pPr defTabSz="685434">
                <a:spcBef>
                  <a:spcPct val="20000"/>
                </a:spcBef>
                <a:buClr>
                  <a:srgbClr val="FFE600"/>
                </a:buClr>
                <a:buSzPct val="80000"/>
              </a:pPr>
              <a:r>
                <a:rPr lang="de-AT" sz="1000" b="1" kern="0" dirty="0">
                  <a:solidFill>
                    <a:srgbClr val="FFE600"/>
                  </a:solidFill>
                </a:rPr>
                <a:t>On-</a:t>
              </a:r>
              <a:r>
                <a:rPr lang="de-AT" sz="1000" kern="0" dirty="0">
                  <a:solidFill>
                    <a:srgbClr val="FFE600"/>
                  </a:solidFill>
                </a:rPr>
                <a:t>chain</a:t>
              </a:r>
            </a:p>
          </p:txBody>
        </p:sp>
      </p:grpSp>
    </p:spTree>
    <p:extLst>
      <p:ext uri="{BB962C8B-B14F-4D97-AF65-F5344CB8AC3E}">
        <p14:creationId xmlns:p14="http://schemas.microsoft.com/office/powerpoint/2010/main" val="216270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EDD9-F5B3-48C1-A24A-E9D32D175F99}"/>
              </a:ext>
            </a:extLst>
          </p:cNvPr>
          <p:cNvSpPr>
            <a:spLocks noGrp="1"/>
          </p:cNvSpPr>
          <p:nvPr>
            <p:ph type="title"/>
          </p:nvPr>
        </p:nvSpPr>
        <p:spPr/>
        <p:txBody>
          <a:bodyPr/>
          <a:lstStyle/>
          <a:p>
            <a:r>
              <a:rPr lang="de-AT" dirty="0" err="1"/>
              <a:t>Principle</a:t>
            </a:r>
            <a:r>
              <a:rPr lang="de-AT" dirty="0"/>
              <a:t> 13</a:t>
            </a:r>
          </a:p>
        </p:txBody>
      </p:sp>
      <p:sp>
        <p:nvSpPr>
          <p:cNvPr id="3" name="Text Placeholder 2">
            <a:extLst>
              <a:ext uri="{FF2B5EF4-FFF2-40B4-BE49-F238E27FC236}">
                <a16:creationId xmlns:a16="http://schemas.microsoft.com/office/drawing/2014/main" id="{3141DF54-C884-476C-A8C7-858491B06CF9}"/>
              </a:ext>
            </a:extLst>
          </p:cNvPr>
          <p:cNvSpPr>
            <a:spLocks noGrp="1"/>
          </p:cNvSpPr>
          <p:nvPr>
            <p:ph type="body" sz="quarter" idx="15"/>
          </p:nvPr>
        </p:nvSpPr>
        <p:spPr/>
        <p:txBody>
          <a:bodyPr>
            <a:normAutofit/>
          </a:bodyPr>
          <a:lstStyle/>
          <a:p>
            <a:r>
              <a:rPr lang="en-US" dirty="0"/>
              <a:t>Consumer Protection Prevails Over and Fully Governs Coded Transactions</a:t>
            </a:r>
            <a:endParaRPr lang="de-AT" dirty="0"/>
          </a:p>
        </p:txBody>
      </p:sp>
      <p:sp>
        <p:nvSpPr>
          <p:cNvPr id="4" name="Slide Number Placeholder 3">
            <a:extLst>
              <a:ext uri="{FF2B5EF4-FFF2-40B4-BE49-F238E27FC236}">
                <a16:creationId xmlns:a16="http://schemas.microsoft.com/office/drawing/2014/main" id="{E92C1F4C-BAA7-4D66-A70F-6C6921EB3B00}"/>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4</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9747F8B6-02C9-4FC3-8B9A-876E20C94D57}"/>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sp>
        <p:nvSpPr>
          <p:cNvPr id="23" name="TextBox 22">
            <a:extLst>
              <a:ext uri="{FF2B5EF4-FFF2-40B4-BE49-F238E27FC236}">
                <a16:creationId xmlns:a16="http://schemas.microsoft.com/office/drawing/2014/main" id="{BC7C2141-9F76-43EF-98CA-2132286A7E58}"/>
              </a:ext>
            </a:extLst>
          </p:cNvPr>
          <p:cNvSpPr txBox="1"/>
          <p:nvPr/>
        </p:nvSpPr>
        <p:spPr>
          <a:xfrm>
            <a:off x="5654842" y="2959768"/>
            <a:ext cx="914400" cy="914400"/>
          </a:xfrm>
          <a:prstGeom prst="rect">
            <a:avLst/>
          </a:prstGeom>
          <a:noFill/>
          <a:ln w="12700" cap="sq">
            <a:noFill/>
            <a:miter lim="800000"/>
          </a:ln>
        </p:spPr>
        <p:txBody>
          <a:bodyPr wrap="square" lIns="61200" tIns="36576" rIns="0" bIns="0" rtlCol="0">
            <a:noAutofit/>
          </a:bodyPr>
          <a:lstStyle/>
          <a:p>
            <a: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pPr>
            <a:endParaRPr kumimoji="0" lang="de-AT" sz="1400" b="0" i="0" u="none" strike="noStrike" kern="0" cap="none" spc="0" normalizeH="0" baseline="0" noProof="0" dirty="0">
              <a:ln>
                <a:noFill/>
              </a:ln>
              <a:solidFill>
                <a:schemeClr val="bg1"/>
              </a:solidFill>
              <a:effectLst/>
              <a:uLnTx/>
              <a:uFillTx/>
            </a:endParaRPr>
          </a:p>
        </p:txBody>
      </p:sp>
      <p:grpSp>
        <p:nvGrpSpPr>
          <p:cNvPr id="66" name="Group 65">
            <a:extLst>
              <a:ext uri="{FF2B5EF4-FFF2-40B4-BE49-F238E27FC236}">
                <a16:creationId xmlns:a16="http://schemas.microsoft.com/office/drawing/2014/main" id="{97CF6859-F951-4136-BBAF-3392E7FA1EE1}"/>
              </a:ext>
            </a:extLst>
          </p:cNvPr>
          <p:cNvGrpSpPr/>
          <p:nvPr/>
        </p:nvGrpSpPr>
        <p:grpSpPr>
          <a:xfrm>
            <a:off x="609601" y="1135296"/>
            <a:ext cx="10981142" cy="778819"/>
            <a:chOff x="609601" y="1135296"/>
            <a:chExt cx="10981142" cy="778819"/>
          </a:xfrm>
        </p:grpSpPr>
        <p:sp>
          <p:nvSpPr>
            <p:cNvPr id="67" name="Rectangle 66">
              <a:extLst>
                <a:ext uri="{FF2B5EF4-FFF2-40B4-BE49-F238E27FC236}">
                  <a16:creationId xmlns:a16="http://schemas.microsoft.com/office/drawing/2014/main" id="{EB7BB794-3086-4215-9148-62F830FFF1D6}"/>
                </a:ext>
              </a:extLst>
            </p:cNvPr>
            <p:cNvSpPr/>
            <p:nvPr/>
          </p:nvSpPr>
          <p:spPr>
            <a:xfrm>
              <a:off x="609601" y="1135296"/>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GB" sz="1600" b="1" kern="0" dirty="0">
                  <a:solidFill>
                    <a:schemeClr val="bg1"/>
                  </a:solidFill>
                </a:rPr>
                <a:t>Consumer protection </a:t>
              </a:r>
              <a:r>
                <a:rPr lang="en-GB" sz="1600" kern="0" dirty="0">
                  <a:solidFill>
                    <a:schemeClr val="bg1"/>
                  </a:solidFill>
                </a:rPr>
                <a:t>cannot be overridden by Smart Contracts or any Transaction on a Blockchain</a:t>
              </a:r>
            </a:p>
          </p:txBody>
        </p:sp>
        <p:grpSp>
          <p:nvGrpSpPr>
            <p:cNvPr id="68" name="Group 67">
              <a:extLst>
                <a:ext uri="{FF2B5EF4-FFF2-40B4-BE49-F238E27FC236}">
                  <a16:creationId xmlns:a16="http://schemas.microsoft.com/office/drawing/2014/main" id="{63BAA7C8-D3C2-4787-873F-B8946A97FF4C}"/>
                </a:ext>
              </a:extLst>
            </p:cNvPr>
            <p:cNvGrpSpPr/>
            <p:nvPr/>
          </p:nvGrpSpPr>
          <p:grpSpPr>
            <a:xfrm>
              <a:off x="11444402" y="1393610"/>
              <a:ext cx="146341" cy="239780"/>
              <a:chOff x="4011103" y="2105333"/>
              <a:chExt cx="146341" cy="239780"/>
            </a:xfrm>
          </p:grpSpPr>
          <p:grpSp>
            <p:nvGrpSpPr>
              <p:cNvPr id="73" name="Group 72">
                <a:extLst>
                  <a:ext uri="{FF2B5EF4-FFF2-40B4-BE49-F238E27FC236}">
                    <a16:creationId xmlns:a16="http://schemas.microsoft.com/office/drawing/2014/main" id="{53571E3D-02F5-4247-BB78-4901BB1CD2D0}"/>
                  </a:ext>
                </a:extLst>
              </p:cNvPr>
              <p:cNvGrpSpPr/>
              <p:nvPr/>
            </p:nvGrpSpPr>
            <p:grpSpPr>
              <a:xfrm rot="10800000">
                <a:off x="4011103" y="2137035"/>
                <a:ext cx="40849" cy="208078"/>
                <a:chOff x="906170" y="2076504"/>
                <a:chExt cx="79774" cy="406348"/>
              </a:xfrm>
            </p:grpSpPr>
            <p:sp>
              <p:nvSpPr>
                <p:cNvPr id="84" name="Rectangle 83">
                  <a:extLst>
                    <a:ext uri="{FF2B5EF4-FFF2-40B4-BE49-F238E27FC236}">
                      <a16:creationId xmlns:a16="http://schemas.microsoft.com/office/drawing/2014/main" id="{9108241F-D8B4-4681-A445-51010238D661}"/>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5" name="Rectangle 84">
                  <a:extLst>
                    <a:ext uri="{FF2B5EF4-FFF2-40B4-BE49-F238E27FC236}">
                      <a16:creationId xmlns:a16="http://schemas.microsoft.com/office/drawing/2014/main" id="{BAE050BA-7868-4E7B-A86E-ADF4FD73E03E}"/>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6" name="Rectangle 85">
                  <a:extLst>
                    <a:ext uri="{FF2B5EF4-FFF2-40B4-BE49-F238E27FC236}">
                      <a16:creationId xmlns:a16="http://schemas.microsoft.com/office/drawing/2014/main" id="{7F136E01-ADB2-4757-B9E7-5F58CA11EA73}"/>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74" name="Straight Connector 73">
                <a:extLst>
                  <a:ext uri="{FF2B5EF4-FFF2-40B4-BE49-F238E27FC236}">
                    <a16:creationId xmlns:a16="http://schemas.microsoft.com/office/drawing/2014/main" id="{756019C9-EEF1-40CD-BBC0-910D70F37A33}"/>
                  </a:ext>
                </a:extLst>
              </p:cNvPr>
              <p:cNvCxnSpPr>
                <a:stCxn id="86"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F6FC095-24F4-4263-A685-6EAC516D1E9B}"/>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43ACB234-87A9-47E7-9906-F086EB11BCCE}"/>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77" name="Straight Connector 76">
                <a:extLst>
                  <a:ext uri="{FF2B5EF4-FFF2-40B4-BE49-F238E27FC236}">
                    <a16:creationId xmlns:a16="http://schemas.microsoft.com/office/drawing/2014/main" id="{FE4F9789-8317-49B3-90DB-5C8C8D62D296}"/>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52755F-478D-4A32-8389-CA8412DD750A}"/>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0FF57AE-5C78-4BE6-845F-827F8D59A0B4}"/>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47AA068E-7982-41A0-A2CE-87EA22DD1896}"/>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81" name="Group 80">
                <a:extLst>
                  <a:ext uri="{FF2B5EF4-FFF2-40B4-BE49-F238E27FC236}">
                    <a16:creationId xmlns:a16="http://schemas.microsoft.com/office/drawing/2014/main" id="{31C27D4E-5961-4F24-8F7E-159FD98E7179}"/>
                  </a:ext>
                </a:extLst>
              </p:cNvPr>
              <p:cNvGrpSpPr/>
              <p:nvPr/>
            </p:nvGrpSpPr>
            <p:grpSpPr>
              <a:xfrm rot="10800000">
                <a:off x="4051953" y="2312907"/>
                <a:ext cx="105491" cy="26825"/>
                <a:chOff x="1476522" y="2083779"/>
                <a:chExt cx="206012" cy="52386"/>
              </a:xfrm>
            </p:grpSpPr>
            <p:cxnSp>
              <p:nvCxnSpPr>
                <p:cNvPr id="82" name="Straight Connector 81">
                  <a:extLst>
                    <a:ext uri="{FF2B5EF4-FFF2-40B4-BE49-F238E27FC236}">
                      <a16:creationId xmlns:a16="http://schemas.microsoft.com/office/drawing/2014/main" id="{3A6ABF11-40AB-4217-809F-A78A1472FD2A}"/>
                    </a:ext>
                  </a:extLst>
                </p:cNvPr>
                <p:cNvCxnSpPr>
                  <a:stCxn id="84" idx="1"/>
                  <a:endCxn id="83"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38B7537-D36B-4EF9-85DF-054929F30990}"/>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69" name="Group 68">
              <a:extLst>
                <a:ext uri="{FF2B5EF4-FFF2-40B4-BE49-F238E27FC236}">
                  <a16:creationId xmlns:a16="http://schemas.microsoft.com/office/drawing/2014/main" id="{15167A09-2352-4CD6-83AA-A3B7DBDF510A}"/>
                </a:ext>
              </a:extLst>
            </p:cNvPr>
            <p:cNvGrpSpPr/>
            <p:nvPr/>
          </p:nvGrpSpPr>
          <p:grpSpPr>
            <a:xfrm>
              <a:off x="10735874" y="1859016"/>
              <a:ext cx="384181" cy="55099"/>
              <a:chOff x="3609347" y="2150884"/>
              <a:chExt cx="323386" cy="72179"/>
            </a:xfrm>
          </p:grpSpPr>
          <p:sp>
            <p:nvSpPr>
              <p:cNvPr id="70" name="Rectangle: Rounded Corners 69">
                <a:extLst>
                  <a:ext uri="{FF2B5EF4-FFF2-40B4-BE49-F238E27FC236}">
                    <a16:creationId xmlns:a16="http://schemas.microsoft.com/office/drawing/2014/main" id="{FC933E51-7AC1-47ED-A40B-6CF158A2A0A8}"/>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1" name="Rectangle: Rounded Corners 70">
                <a:extLst>
                  <a:ext uri="{FF2B5EF4-FFF2-40B4-BE49-F238E27FC236}">
                    <a16:creationId xmlns:a16="http://schemas.microsoft.com/office/drawing/2014/main" id="{C68649D4-A7D8-4D5C-97BE-99B00A513653}"/>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2" name="Rectangle 71">
                <a:extLst>
                  <a:ext uri="{FF2B5EF4-FFF2-40B4-BE49-F238E27FC236}">
                    <a16:creationId xmlns:a16="http://schemas.microsoft.com/office/drawing/2014/main" id="{D919CC38-9699-4107-8B11-92DF30CD047D}"/>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sp>
        <p:nvSpPr>
          <p:cNvPr id="87" name="TextBox 86">
            <a:extLst>
              <a:ext uri="{FF2B5EF4-FFF2-40B4-BE49-F238E27FC236}">
                <a16:creationId xmlns:a16="http://schemas.microsoft.com/office/drawing/2014/main" id="{0A185967-FEC1-4328-9EFE-250E63A5AD0F}"/>
              </a:ext>
            </a:extLst>
          </p:cNvPr>
          <p:cNvSpPr txBox="1"/>
          <p:nvPr/>
        </p:nvSpPr>
        <p:spPr>
          <a:xfrm>
            <a:off x="609600" y="2184616"/>
            <a:ext cx="5272236" cy="2597570"/>
          </a:xfrm>
          <a:prstGeom prst="rect">
            <a:avLst/>
          </a:prstGeom>
          <a:solidFill>
            <a:srgbClr val="747480">
              <a:alpha val="21000"/>
            </a:srgbClr>
          </a:solidFill>
          <a:ln w="0" cap="flat">
            <a:noFill/>
            <a:prstDash val="solid"/>
            <a:miter/>
          </a:ln>
        </p:spPr>
        <p:txBody>
          <a:bodyPr lIns="73025" tIns="73025" rIns="73025" bIns="73025" rtlCol="0" anchor="t"/>
          <a:lstStyle>
            <a:defPPr>
              <a:defRPr lang="en-US"/>
            </a:defPPr>
            <a:lvl1pPr algn="ctr">
              <a:defRPr sz="1100"/>
            </a:lvl1pPr>
          </a:lstStyle>
          <a:p>
            <a:pPr marL="216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Businesses must ensure that the rights of weaker parties, such as consumers can be fulfilled also on-chain</a:t>
            </a:r>
          </a:p>
          <a:p>
            <a:pPr marL="216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Consumers in good faith relying on a previous transaction on-chain should be protected against off-chain terms between businesses </a:t>
            </a:r>
          </a:p>
          <a:p>
            <a:pPr marL="432000" indent="-216000" algn="l">
              <a:spcBef>
                <a:spcPts val="300"/>
              </a:spcBef>
              <a:spcAft>
                <a:spcPts val="300"/>
              </a:spcAft>
              <a:buClr>
                <a:schemeClr val="tx2"/>
              </a:buClr>
              <a:buFont typeface="EYInterstate Light" panose="02000506000000020004" pitchFamily="2" charset="0"/>
              <a:buChar char="•"/>
            </a:pPr>
            <a:r>
              <a:rPr lang="en-IN" sz="1400" dirty="0">
                <a:solidFill>
                  <a:schemeClr val="bg1"/>
                </a:solidFill>
              </a:rPr>
              <a:t>in the sense that any dealings between them on-chain are not binding or not binding on the same conditions as coded into the Smart Contract. </a:t>
            </a:r>
          </a:p>
        </p:txBody>
      </p:sp>
      <p:grpSp>
        <p:nvGrpSpPr>
          <p:cNvPr id="240" name="Group 239">
            <a:extLst>
              <a:ext uri="{FF2B5EF4-FFF2-40B4-BE49-F238E27FC236}">
                <a16:creationId xmlns:a16="http://schemas.microsoft.com/office/drawing/2014/main" id="{77661ED1-AA2D-4A3C-9D6E-BFB808E56202}"/>
              </a:ext>
            </a:extLst>
          </p:cNvPr>
          <p:cNvGrpSpPr/>
          <p:nvPr/>
        </p:nvGrpSpPr>
        <p:grpSpPr>
          <a:xfrm>
            <a:off x="7129386" y="2199829"/>
            <a:ext cx="3046337" cy="3029371"/>
            <a:chOff x="7129387" y="2271837"/>
            <a:chExt cx="2537599" cy="2523467"/>
          </a:xfrm>
        </p:grpSpPr>
        <p:grpSp>
          <p:nvGrpSpPr>
            <p:cNvPr id="285" name="Group 284">
              <a:extLst>
                <a:ext uri="{FF2B5EF4-FFF2-40B4-BE49-F238E27FC236}">
                  <a16:creationId xmlns:a16="http://schemas.microsoft.com/office/drawing/2014/main" id="{2744701E-BC72-464D-8E73-6EE8C56DC3A8}"/>
                </a:ext>
              </a:extLst>
            </p:cNvPr>
            <p:cNvGrpSpPr/>
            <p:nvPr/>
          </p:nvGrpSpPr>
          <p:grpSpPr>
            <a:xfrm>
              <a:off x="7129387" y="2271837"/>
              <a:ext cx="2537599" cy="2523467"/>
              <a:chOff x="8587298" y="2727960"/>
              <a:chExt cx="5865457" cy="5832794"/>
            </a:xfrm>
          </p:grpSpPr>
          <p:sp>
            <p:nvSpPr>
              <p:cNvPr id="330" name="Freeform: Shape 329">
                <a:extLst>
                  <a:ext uri="{FF2B5EF4-FFF2-40B4-BE49-F238E27FC236}">
                    <a16:creationId xmlns:a16="http://schemas.microsoft.com/office/drawing/2014/main" id="{4C1F4DDD-613F-42D4-A183-59C671B72EA2}"/>
                  </a:ext>
                </a:extLst>
              </p:cNvPr>
              <p:cNvSpPr/>
              <p:nvPr/>
            </p:nvSpPr>
            <p:spPr>
              <a:xfrm>
                <a:off x="9178723" y="6495330"/>
                <a:ext cx="135642" cy="54263"/>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331" name="Freeform: Shape 330">
                <a:extLst>
                  <a:ext uri="{FF2B5EF4-FFF2-40B4-BE49-F238E27FC236}">
                    <a16:creationId xmlns:a16="http://schemas.microsoft.com/office/drawing/2014/main" id="{CC6BFB6D-C9DB-43E7-BE83-BA5F3681B3F9}"/>
                  </a:ext>
                </a:extLst>
              </p:cNvPr>
              <p:cNvSpPr/>
              <p:nvPr/>
            </p:nvSpPr>
            <p:spPr>
              <a:xfrm>
                <a:off x="9030593" y="5944055"/>
                <a:ext cx="135642" cy="2713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332" name="Freeform: Shape 331">
                <a:extLst>
                  <a:ext uri="{FF2B5EF4-FFF2-40B4-BE49-F238E27FC236}">
                    <a16:creationId xmlns:a16="http://schemas.microsoft.com/office/drawing/2014/main" id="{37F0E59D-C981-4312-85E9-27D6849858D0}"/>
                  </a:ext>
                </a:extLst>
              </p:cNvPr>
              <p:cNvSpPr/>
              <p:nvPr/>
            </p:nvSpPr>
            <p:spPr>
              <a:xfrm>
                <a:off x="10490151" y="3323370"/>
                <a:ext cx="81395" cy="135642"/>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333" name="Freeform: Shape 332">
                <a:extLst>
                  <a:ext uri="{FF2B5EF4-FFF2-40B4-BE49-F238E27FC236}">
                    <a16:creationId xmlns:a16="http://schemas.microsoft.com/office/drawing/2014/main" id="{C5B80B06-CB6E-4E46-BB2F-B55174E1E130}"/>
                  </a:ext>
                </a:extLst>
              </p:cNvPr>
              <p:cNvSpPr/>
              <p:nvPr/>
            </p:nvSpPr>
            <p:spPr>
              <a:xfrm>
                <a:off x="9113598" y="6315458"/>
                <a:ext cx="135642" cy="54263"/>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334" name="Freeform: Shape 333">
                <a:extLst>
                  <a:ext uri="{FF2B5EF4-FFF2-40B4-BE49-F238E27FC236}">
                    <a16:creationId xmlns:a16="http://schemas.microsoft.com/office/drawing/2014/main" id="{521219F1-F2E5-440B-9011-D235E553262D}"/>
                  </a:ext>
                </a:extLst>
              </p:cNvPr>
              <p:cNvSpPr/>
              <p:nvPr/>
            </p:nvSpPr>
            <p:spPr>
              <a:xfrm>
                <a:off x="9012964" y="5754962"/>
                <a:ext cx="135642" cy="2713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335" name="Freeform: Shape 334">
                <a:extLst>
                  <a:ext uri="{FF2B5EF4-FFF2-40B4-BE49-F238E27FC236}">
                    <a16:creationId xmlns:a16="http://schemas.microsoft.com/office/drawing/2014/main" id="{E48F8CD7-8588-4669-B7C4-8A35336FACC9}"/>
                  </a:ext>
                </a:extLst>
              </p:cNvPr>
              <p:cNvSpPr/>
              <p:nvPr/>
            </p:nvSpPr>
            <p:spPr>
              <a:xfrm>
                <a:off x="9097328" y="4960347"/>
                <a:ext cx="135642" cy="54263"/>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336" name="Freeform: Shape 335">
                <a:extLst>
                  <a:ext uri="{FF2B5EF4-FFF2-40B4-BE49-F238E27FC236}">
                    <a16:creationId xmlns:a16="http://schemas.microsoft.com/office/drawing/2014/main" id="{B2AEDE01-54E4-4C82-B54A-3F5FBB932E81}"/>
                  </a:ext>
                </a:extLst>
              </p:cNvPr>
              <p:cNvSpPr/>
              <p:nvPr/>
            </p:nvSpPr>
            <p:spPr>
              <a:xfrm>
                <a:off x="9010792" y="5559633"/>
                <a:ext cx="135642" cy="2713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337" name="Freeform: Shape 336">
                <a:extLst>
                  <a:ext uri="{FF2B5EF4-FFF2-40B4-BE49-F238E27FC236}">
                    <a16:creationId xmlns:a16="http://schemas.microsoft.com/office/drawing/2014/main" id="{4051E13A-3D62-4F05-9669-7CB65381827A}"/>
                  </a:ext>
                </a:extLst>
              </p:cNvPr>
              <p:cNvSpPr/>
              <p:nvPr/>
            </p:nvSpPr>
            <p:spPr>
              <a:xfrm>
                <a:off x="9157827" y="4767456"/>
                <a:ext cx="135642" cy="54263"/>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338" name="Freeform: Shape 337">
                <a:extLst>
                  <a:ext uri="{FF2B5EF4-FFF2-40B4-BE49-F238E27FC236}">
                    <a16:creationId xmlns:a16="http://schemas.microsoft.com/office/drawing/2014/main" id="{84B40C0C-C657-4B15-A1D9-E6BD2926CD63}"/>
                  </a:ext>
                </a:extLst>
              </p:cNvPr>
              <p:cNvSpPr/>
              <p:nvPr/>
            </p:nvSpPr>
            <p:spPr>
              <a:xfrm>
                <a:off x="9023545" y="5357787"/>
                <a:ext cx="135642" cy="2713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339" name="Freeform: Shape 338">
                <a:extLst>
                  <a:ext uri="{FF2B5EF4-FFF2-40B4-BE49-F238E27FC236}">
                    <a16:creationId xmlns:a16="http://schemas.microsoft.com/office/drawing/2014/main" id="{2F9E9C47-4114-4DEC-8243-FF447561F538}"/>
                  </a:ext>
                </a:extLst>
              </p:cNvPr>
              <p:cNvSpPr/>
              <p:nvPr/>
            </p:nvSpPr>
            <p:spPr>
              <a:xfrm>
                <a:off x="9052567" y="5157582"/>
                <a:ext cx="135642" cy="2713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340" name="Freeform: Shape 339">
                <a:extLst>
                  <a:ext uri="{FF2B5EF4-FFF2-40B4-BE49-F238E27FC236}">
                    <a16:creationId xmlns:a16="http://schemas.microsoft.com/office/drawing/2014/main" id="{88DECEAD-C452-4D67-909B-0E586D037A87}"/>
                  </a:ext>
                </a:extLst>
              </p:cNvPr>
              <p:cNvSpPr/>
              <p:nvPr/>
            </p:nvSpPr>
            <p:spPr>
              <a:xfrm>
                <a:off x="10020537" y="7543335"/>
                <a:ext cx="108526" cy="135642"/>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341" name="Freeform: Shape 340">
                <a:extLst>
                  <a:ext uri="{FF2B5EF4-FFF2-40B4-BE49-F238E27FC236}">
                    <a16:creationId xmlns:a16="http://schemas.microsoft.com/office/drawing/2014/main" id="{95C84816-37B9-4F76-90DF-FF152EBBBF25}"/>
                  </a:ext>
                </a:extLst>
              </p:cNvPr>
              <p:cNvSpPr/>
              <p:nvPr/>
            </p:nvSpPr>
            <p:spPr>
              <a:xfrm>
                <a:off x="9863999" y="7422868"/>
                <a:ext cx="108526" cy="108526"/>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342" name="Freeform: Shape 341">
                <a:extLst>
                  <a:ext uri="{FF2B5EF4-FFF2-40B4-BE49-F238E27FC236}">
                    <a16:creationId xmlns:a16="http://schemas.microsoft.com/office/drawing/2014/main" id="{DA6F428C-2200-4EC9-850C-A9C2FFC3BBC5}"/>
                  </a:ext>
                </a:extLst>
              </p:cNvPr>
              <p:cNvSpPr/>
              <p:nvPr/>
            </p:nvSpPr>
            <p:spPr>
              <a:xfrm>
                <a:off x="10186577" y="7652111"/>
                <a:ext cx="81395" cy="135642"/>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343" name="Freeform: Shape 342">
                <a:extLst>
                  <a:ext uri="{FF2B5EF4-FFF2-40B4-BE49-F238E27FC236}">
                    <a16:creationId xmlns:a16="http://schemas.microsoft.com/office/drawing/2014/main" id="{BFC70B5D-F914-40F8-9636-FEBBA2D072AD}"/>
                  </a:ext>
                </a:extLst>
              </p:cNvPr>
              <p:cNvSpPr/>
              <p:nvPr/>
            </p:nvSpPr>
            <p:spPr>
              <a:xfrm>
                <a:off x="9258742" y="6669763"/>
                <a:ext cx="135642" cy="81395"/>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344" name="Freeform: Shape 343">
                <a:extLst>
                  <a:ext uri="{FF2B5EF4-FFF2-40B4-BE49-F238E27FC236}">
                    <a16:creationId xmlns:a16="http://schemas.microsoft.com/office/drawing/2014/main" id="{790D41CB-21A2-4E27-B237-AF378D928F28}"/>
                  </a:ext>
                </a:extLst>
              </p:cNvPr>
              <p:cNvSpPr/>
              <p:nvPr/>
            </p:nvSpPr>
            <p:spPr>
              <a:xfrm>
                <a:off x="10361557" y="7748150"/>
                <a:ext cx="81395" cy="135642"/>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345" name="Freeform: Shape 344">
                <a:extLst>
                  <a:ext uri="{FF2B5EF4-FFF2-40B4-BE49-F238E27FC236}">
                    <a16:creationId xmlns:a16="http://schemas.microsoft.com/office/drawing/2014/main" id="{82D9F8A0-88AE-40BB-9B3E-664EACA83B8D}"/>
                  </a:ext>
                </a:extLst>
              </p:cNvPr>
              <p:cNvSpPr/>
              <p:nvPr/>
            </p:nvSpPr>
            <p:spPr>
              <a:xfrm>
                <a:off x="9718042" y="7291023"/>
                <a:ext cx="108526" cy="108526"/>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424BB5FF-7E28-4C36-AC76-6B7D35C99540}"/>
                  </a:ext>
                </a:extLst>
              </p:cNvPr>
              <p:cNvSpPr/>
              <p:nvPr/>
            </p:nvSpPr>
            <p:spPr>
              <a:xfrm>
                <a:off x="9353437" y="6837147"/>
                <a:ext cx="135642" cy="81395"/>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5978FA31-53D6-44A5-8558-D8AE111FCB10}"/>
                  </a:ext>
                </a:extLst>
              </p:cNvPr>
              <p:cNvSpPr/>
              <p:nvPr/>
            </p:nvSpPr>
            <p:spPr>
              <a:xfrm>
                <a:off x="9462214" y="6997217"/>
                <a:ext cx="135642" cy="81395"/>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348" name="Freeform: Shape 347">
                <a:extLst>
                  <a:ext uri="{FF2B5EF4-FFF2-40B4-BE49-F238E27FC236}">
                    <a16:creationId xmlns:a16="http://schemas.microsoft.com/office/drawing/2014/main" id="{1F6F9106-9FCE-4BE3-830B-563FAF64D8C0}"/>
                  </a:ext>
                </a:extLst>
              </p:cNvPr>
              <p:cNvSpPr/>
              <p:nvPr/>
            </p:nvSpPr>
            <p:spPr>
              <a:xfrm>
                <a:off x="9584025" y="7148864"/>
                <a:ext cx="108526" cy="108526"/>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349" name="Freeform: Shape 348">
                <a:extLst>
                  <a:ext uri="{FF2B5EF4-FFF2-40B4-BE49-F238E27FC236}">
                    <a16:creationId xmlns:a16="http://schemas.microsoft.com/office/drawing/2014/main" id="{0D44B473-13CA-4F36-AFBB-5BDCE4E2F75A}"/>
                  </a:ext>
                </a:extLst>
              </p:cNvPr>
              <p:cNvSpPr/>
              <p:nvPr/>
            </p:nvSpPr>
            <p:spPr>
              <a:xfrm>
                <a:off x="9063961" y="6131522"/>
                <a:ext cx="135642" cy="2713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350" name="Freeform: Shape 349">
                <a:extLst>
                  <a:ext uri="{FF2B5EF4-FFF2-40B4-BE49-F238E27FC236}">
                    <a16:creationId xmlns:a16="http://schemas.microsoft.com/office/drawing/2014/main" id="{3E04713B-11B1-4DC7-8ED7-E296ABFD11A7}"/>
                  </a:ext>
                </a:extLst>
              </p:cNvPr>
              <p:cNvSpPr/>
              <p:nvPr/>
            </p:nvSpPr>
            <p:spPr>
              <a:xfrm>
                <a:off x="13333577" y="3953852"/>
                <a:ext cx="108526" cy="108526"/>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351" name="Freeform: Shape 350">
                <a:extLst>
                  <a:ext uri="{FF2B5EF4-FFF2-40B4-BE49-F238E27FC236}">
                    <a16:creationId xmlns:a16="http://schemas.microsoft.com/office/drawing/2014/main" id="{BFA5B625-608F-4079-B10C-3F86BE905461}"/>
                  </a:ext>
                </a:extLst>
              </p:cNvPr>
              <p:cNvSpPr/>
              <p:nvPr/>
            </p:nvSpPr>
            <p:spPr>
              <a:xfrm>
                <a:off x="13658312" y="4450864"/>
                <a:ext cx="135642" cy="81395"/>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352" name="Freeform: Shape 351">
                <a:extLst>
                  <a:ext uri="{FF2B5EF4-FFF2-40B4-BE49-F238E27FC236}">
                    <a16:creationId xmlns:a16="http://schemas.microsoft.com/office/drawing/2014/main" id="{02730746-817A-4EF0-BE5E-87CC7B0A63FE}"/>
                  </a:ext>
                </a:extLst>
              </p:cNvPr>
              <p:cNvSpPr/>
              <p:nvPr/>
            </p:nvSpPr>
            <p:spPr>
              <a:xfrm>
                <a:off x="13740785" y="4633173"/>
                <a:ext cx="135642" cy="54263"/>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353" name="Freeform: Shape 352">
                <a:extLst>
                  <a:ext uri="{FF2B5EF4-FFF2-40B4-BE49-F238E27FC236}">
                    <a16:creationId xmlns:a16="http://schemas.microsoft.com/office/drawing/2014/main" id="{56FB5D2E-F87B-4FEF-93CB-F484B52FDADB}"/>
                  </a:ext>
                </a:extLst>
              </p:cNvPr>
              <p:cNvSpPr/>
              <p:nvPr/>
            </p:nvSpPr>
            <p:spPr>
              <a:xfrm>
                <a:off x="13454028" y="4110390"/>
                <a:ext cx="135642" cy="108526"/>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354" name="Freeform: Shape 353">
                <a:extLst>
                  <a:ext uri="{FF2B5EF4-FFF2-40B4-BE49-F238E27FC236}">
                    <a16:creationId xmlns:a16="http://schemas.microsoft.com/office/drawing/2014/main" id="{46CB6B49-3BB0-44FA-8940-4C11C20BE855}"/>
                  </a:ext>
                </a:extLst>
              </p:cNvPr>
              <p:cNvSpPr/>
              <p:nvPr/>
            </p:nvSpPr>
            <p:spPr>
              <a:xfrm>
                <a:off x="13809161" y="4821719"/>
                <a:ext cx="135642" cy="54263"/>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355" name="Freeform: Shape 354">
                <a:extLst>
                  <a:ext uri="{FF2B5EF4-FFF2-40B4-BE49-F238E27FC236}">
                    <a16:creationId xmlns:a16="http://schemas.microsoft.com/office/drawing/2014/main" id="{1A11A244-1E62-4A2A-9E62-D95F5DEC4526}"/>
                  </a:ext>
                </a:extLst>
              </p:cNvPr>
              <p:cNvSpPr/>
              <p:nvPr/>
            </p:nvSpPr>
            <p:spPr>
              <a:xfrm>
                <a:off x="13863143" y="5015970"/>
                <a:ext cx="135642" cy="54263"/>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356" name="Freeform: Shape 355">
                <a:extLst>
                  <a:ext uri="{FF2B5EF4-FFF2-40B4-BE49-F238E27FC236}">
                    <a16:creationId xmlns:a16="http://schemas.microsoft.com/office/drawing/2014/main" id="{DF61B1DD-03D0-42DF-A294-5D7B7D05B11A}"/>
                  </a:ext>
                </a:extLst>
              </p:cNvPr>
              <p:cNvSpPr/>
              <p:nvPr/>
            </p:nvSpPr>
            <p:spPr>
              <a:xfrm>
                <a:off x="13936114" y="5616866"/>
                <a:ext cx="135642" cy="2713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357" name="Freeform: Shape 356">
                <a:extLst>
                  <a:ext uri="{FF2B5EF4-FFF2-40B4-BE49-F238E27FC236}">
                    <a16:creationId xmlns:a16="http://schemas.microsoft.com/office/drawing/2014/main" id="{37490309-AD37-459F-A0EB-F7B5591FAECF}"/>
                  </a:ext>
                </a:extLst>
              </p:cNvPr>
              <p:cNvSpPr/>
              <p:nvPr/>
            </p:nvSpPr>
            <p:spPr>
              <a:xfrm>
                <a:off x="13926627" y="5414489"/>
                <a:ext cx="135642" cy="2713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358" name="Freeform: Shape 357">
                <a:extLst>
                  <a:ext uri="{FF2B5EF4-FFF2-40B4-BE49-F238E27FC236}">
                    <a16:creationId xmlns:a16="http://schemas.microsoft.com/office/drawing/2014/main" id="{2AC4E1D0-56B7-4591-9460-E0CBC9C67258}"/>
                  </a:ext>
                </a:extLst>
              </p:cNvPr>
              <p:cNvSpPr/>
              <p:nvPr/>
            </p:nvSpPr>
            <p:spPr>
              <a:xfrm>
                <a:off x="13902481" y="5214002"/>
                <a:ext cx="135642" cy="2713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359" name="Freeform: Shape 358">
                <a:extLst>
                  <a:ext uri="{FF2B5EF4-FFF2-40B4-BE49-F238E27FC236}">
                    <a16:creationId xmlns:a16="http://schemas.microsoft.com/office/drawing/2014/main" id="{F533FA88-A5A0-432A-928D-EA4D427DE924}"/>
                  </a:ext>
                </a:extLst>
              </p:cNvPr>
              <p:cNvSpPr/>
              <p:nvPr/>
            </p:nvSpPr>
            <p:spPr>
              <a:xfrm>
                <a:off x="10137737" y="3518965"/>
                <a:ext cx="81395" cy="135642"/>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360" name="Freeform: Shape 359">
                <a:extLst>
                  <a:ext uri="{FF2B5EF4-FFF2-40B4-BE49-F238E27FC236}">
                    <a16:creationId xmlns:a16="http://schemas.microsoft.com/office/drawing/2014/main" id="{B65D566D-8631-4BE3-A385-DD4FD50EA484}"/>
                  </a:ext>
                </a:extLst>
              </p:cNvPr>
              <p:cNvSpPr/>
              <p:nvPr/>
            </p:nvSpPr>
            <p:spPr>
              <a:xfrm>
                <a:off x="9429393" y="4227309"/>
                <a:ext cx="135642" cy="81395"/>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361" name="Freeform: Shape 360">
                <a:extLst>
                  <a:ext uri="{FF2B5EF4-FFF2-40B4-BE49-F238E27FC236}">
                    <a16:creationId xmlns:a16="http://schemas.microsoft.com/office/drawing/2014/main" id="{7086F2C8-A120-4387-868D-659F8E12F988}"/>
                  </a:ext>
                </a:extLst>
              </p:cNvPr>
              <p:cNvSpPr/>
              <p:nvPr/>
            </p:nvSpPr>
            <p:spPr>
              <a:xfrm>
                <a:off x="9547672" y="4063722"/>
                <a:ext cx="108526" cy="108526"/>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362" name="Freeform: Shape 361">
                <a:extLst>
                  <a:ext uri="{FF2B5EF4-FFF2-40B4-BE49-F238E27FC236}">
                    <a16:creationId xmlns:a16="http://schemas.microsoft.com/office/drawing/2014/main" id="{18E1DBFF-DE98-43B2-9CCD-55AC638597E5}"/>
                  </a:ext>
                </a:extLst>
              </p:cNvPr>
              <p:cNvSpPr/>
              <p:nvPr/>
            </p:nvSpPr>
            <p:spPr>
              <a:xfrm>
                <a:off x="9324399" y="4399585"/>
                <a:ext cx="135642" cy="81395"/>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363" name="Freeform: Shape 362">
                <a:extLst>
                  <a:ext uri="{FF2B5EF4-FFF2-40B4-BE49-F238E27FC236}">
                    <a16:creationId xmlns:a16="http://schemas.microsoft.com/office/drawing/2014/main" id="{238796EF-B361-40BA-B847-43749446AEE1}"/>
                  </a:ext>
                </a:extLst>
              </p:cNvPr>
              <p:cNvSpPr/>
              <p:nvPr/>
            </p:nvSpPr>
            <p:spPr>
              <a:xfrm>
                <a:off x="9678438" y="3910185"/>
                <a:ext cx="108526" cy="108526"/>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364" name="Freeform: Shape 363">
                <a:extLst>
                  <a:ext uri="{FF2B5EF4-FFF2-40B4-BE49-F238E27FC236}">
                    <a16:creationId xmlns:a16="http://schemas.microsoft.com/office/drawing/2014/main" id="{FB09A901-4977-4887-8C88-83AFE1A85333}"/>
                  </a:ext>
                </a:extLst>
              </p:cNvPr>
              <p:cNvSpPr/>
              <p:nvPr/>
            </p:nvSpPr>
            <p:spPr>
              <a:xfrm>
                <a:off x="9820863" y="3767744"/>
                <a:ext cx="108526" cy="108526"/>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365" name="Freeform: Shape 364">
                <a:extLst>
                  <a:ext uri="{FF2B5EF4-FFF2-40B4-BE49-F238E27FC236}">
                    <a16:creationId xmlns:a16="http://schemas.microsoft.com/office/drawing/2014/main" id="{3A6C9318-3747-486C-B73B-FBB8FAC3C6BF}"/>
                  </a:ext>
                </a:extLst>
              </p:cNvPr>
              <p:cNvSpPr/>
              <p:nvPr/>
            </p:nvSpPr>
            <p:spPr>
              <a:xfrm>
                <a:off x="13201998" y="3807895"/>
                <a:ext cx="108526" cy="108526"/>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366" name="Freeform: Shape 365">
                <a:extLst>
                  <a:ext uri="{FF2B5EF4-FFF2-40B4-BE49-F238E27FC236}">
                    <a16:creationId xmlns:a16="http://schemas.microsoft.com/office/drawing/2014/main" id="{E353010F-CBF5-4052-A595-9A33F45E6A56}"/>
                  </a:ext>
                </a:extLst>
              </p:cNvPr>
              <p:cNvSpPr/>
              <p:nvPr/>
            </p:nvSpPr>
            <p:spPr>
              <a:xfrm>
                <a:off x="10309732" y="3414252"/>
                <a:ext cx="81395" cy="135642"/>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367" name="Freeform: Shape 366">
                <a:extLst>
                  <a:ext uri="{FF2B5EF4-FFF2-40B4-BE49-F238E27FC236}">
                    <a16:creationId xmlns:a16="http://schemas.microsoft.com/office/drawing/2014/main" id="{EEE77AD3-8B43-4E29-BE76-79345EB63415}"/>
                  </a:ext>
                </a:extLst>
              </p:cNvPr>
              <p:cNvSpPr/>
              <p:nvPr/>
            </p:nvSpPr>
            <p:spPr>
              <a:xfrm>
                <a:off x="9233783" y="4580270"/>
                <a:ext cx="135642" cy="81395"/>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368" name="Freeform: Shape 367">
                <a:extLst>
                  <a:ext uri="{FF2B5EF4-FFF2-40B4-BE49-F238E27FC236}">
                    <a16:creationId xmlns:a16="http://schemas.microsoft.com/office/drawing/2014/main" id="{D7E1E232-682D-4495-9AD4-F35953D66451}"/>
                  </a:ext>
                </a:extLst>
              </p:cNvPr>
              <p:cNvSpPr/>
              <p:nvPr/>
            </p:nvSpPr>
            <p:spPr>
              <a:xfrm>
                <a:off x="9974151" y="3636712"/>
                <a:ext cx="108526" cy="108526"/>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369" name="Freeform: Shape 368">
                <a:extLst>
                  <a:ext uri="{FF2B5EF4-FFF2-40B4-BE49-F238E27FC236}">
                    <a16:creationId xmlns:a16="http://schemas.microsoft.com/office/drawing/2014/main" id="{27003917-A3D0-4AF3-96A8-2DF63EB36095}"/>
                  </a:ext>
                </a:extLst>
              </p:cNvPr>
              <p:cNvSpPr/>
              <p:nvPr/>
            </p:nvSpPr>
            <p:spPr>
              <a:xfrm>
                <a:off x="13562554" y="4276415"/>
                <a:ext cx="135642" cy="81395"/>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370" name="Freeform: Shape 369">
                <a:extLst>
                  <a:ext uri="{FF2B5EF4-FFF2-40B4-BE49-F238E27FC236}">
                    <a16:creationId xmlns:a16="http://schemas.microsoft.com/office/drawing/2014/main" id="{EEE58F5C-1698-4319-A706-9292E4750E4E}"/>
                  </a:ext>
                </a:extLst>
              </p:cNvPr>
              <p:cNvSpPr/>
              <p:nvPr/>
            </p:nvSpPr>
            <p:spPr>
              <a:xfrm>
                <a:off x="13059573" y="3673612"/>
                <a:ext cx="108526" cy="108526"/>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371" name="Freeform: Shape 370">
                <a:extLst>
                  <a:ext uri="{FF2B5EF4-FFF2-40B4-BE49-F238E27FC236}">
                    <a16:creationId xmlns:a16="http://schemas.microsoft.com/office/drawing/2014/main" id="{43486E3B-2817-4BF2-9639-4639E392D43D}"/>
                  </a:ext>
                </a:extLst>
              </p:cNvPr>
              <p:cNvSpPr/>
              <p:nvPr/>
            </p:nvSpPr>
            <p:spPr>
              <a:xfrm>
                <a:off x="12928259" y="7576421"/>
                <a:ext cx="81395" cy="135642"/>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372" name="Freeform: Shape 371">
                <a:extLst>
                  <a:ext uri="{FF2B5EF4-FFF2-40B4-BE49-F238E27FC236}">
                    <a16:creationId xmlns:a16="http://schemas.microsoft.com/office/drawing/2014/main" id="{4C1509B3-4006-4231-A5C3-C3FB66AAE526}"/>
                  </a:ext>
                </a:extLst>
              </p:cNvPr>
              <p:cNvSpPr/>
              <p:nvPr/>
            </p:nvSpPr>
            <p:spPr>
              <a:xfrm>
                <a:off x="12907911" y="3551801"/>
                <a:ext cx="81395" cy="135642"/>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373" name="Freeform: Shape 372">
                <a:extLst>
                  <a:ext uri="{FF2B5EF4-FFF2-40B4-BE49-F238E27FC236}">
                    <a16:creationId xmlns:a16="http://schemas.microsoft.com/office/drawing/2014/main" id="{91039057-3A1C-42D9-AC4D-AEF7C9A47F68}"/>
                  </a:ext>
                </a:extLst>
              </p:cNvPr>
              <p:cNvSpPr/>
              <p:nvPr/>
            </p:nvSpPr>
            <p:spPr>
              <a:xfrm>
                <a:off x="13078562" y="7459220"/>
                <a:ext cx="108526" cy="108526"/>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374" name="Freeform: Shape 373">
                <a:extLst>
                  <a:ext uri="{FF2B5EF4-FFF2-40B4-BE49-F238E27FC236}">
                    <a16:creationId xmlns:a16="http://schemas.microsoft.com/office/drawing/2014/main" id="{92CEA6F0-B557-4D7A-BED7-F5C34CBE681A}"/>
                  </a:ext>
                </a:extLst>
              </p:cNvPr>
              <p:cNvSpPr/>
              <p:nvPr/>
            </p:nvSpPr>
            <p:spPr>
              <a:xfrm>
                <a:off x="12769283" y="7681149"/>
                <a:ext cx="81395" cy="135642"/>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375" name="Freeform: Shape 374">
                <a:extLst>
                  <a:ext uri="{FF2B5EF4-FFF2-40B4-BE49-F238E27FC236}">
                    <a16:creationId xmlns:a16="http://schemas.microsoft.com/office/drawing/2014/main" id="{8D0ECEA1-89E9-4629-BB63-47B1285F6700}"/>
                  </a:ext>
                </a:extLst>
              </p:cNvPr>
              <p:cNvSpPr/>
              <p:nvPr/>
            </p:nvSpPr>
            <p:spPr>
              <a:xfrm>
                <a:off x="12602446" y="7773109"/>
                <a:ext cx="81395" cy="135642"/>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376" name="Freeform: Shape 375">
                <a:extLst>
                  <a:ext uri="{FF2B5EF4-FFF2-40B4-BE49-F238E27FC236}">
                    <a16:creationId xmlns:a16="http://schemas.microsoft.com/office/drawing/2014/main" id="{B299F6E4-6AB7-4389-83FF-0CAB9A8A7B73}"/>
                  </a:ext>
                </a:extLst>
              </p:cNvPr>
              <p:cNvSpPr/>
              <p:nvPr/>
            </p:nvSpPr>
            <p:spPr>
              <a:xfrm>
                <a:off x="13219643" y="7330361"/>
                <a:ext cx="108526" cy="108526"/>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377" name="Freeform: Shape 376">
                <a:extLst>
                  <a:ext uri="{FF2B5EF4-FFF2-40B4-BE49-F238E27FC236}">
                    <a16:creationId xmlns:a16="http://schemas.microsoft.com/office/drawing/2014/main" id="{DC52DEE3-15FA-4BDA-8E49-3F21F53D08DA}"/>
                  </a:ext>
                </a:extLst>
              </p:cNvPr>
              <p:cNvSpPr/>
              <p:nvPr/>
            </p:nvSpPr>
            <p:spPr>
              <a:xfrm>
                <a:off x="12579378" y="3348064"/>
                <a:ext cx="81395" cy="135642"/>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378" name="Freeform: Shape 377">
                <a:extLst>
                  <a:ext uri="{FF2B5EF4-FFF2-40B4-BE49-F238E27FC236}">
                    <a16:creationId xmlns:a16="http://schemas.microsoft.com/office/drawing/2014/main" id="{2796ED24-52C7-4358-87D5-56D2A80A2DD6}"/>
                  </a:ext>
                </a:extLst>
              </p:cNvPr>
              <p:cNvSpPr/>
              <p:nvPr/>
            </p:nvSpPr>
            <p:spPr>
              <a:xfrm>
                <a:off x="12747591" y="3443009"/>
                <a:ext cx="81395" cy="135642"/>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379" name="Freeform: Shape 378">
                <a:extLst>
                  <a:ext uri="{FF2B5EF4-FFF2-40B4-BE49-F238E27FC236}">
                    <a16:creationId xmlns:a16="http://schemas.microsoft.com/office/drawing/2014/main" id="{692AAFB8-98B2-4D97-96A7-8979729F761C}"/>
                  </a:ext>
                </a:extLst>
              </p:cNvPr>
              <p:cNvSpPr/>
              <p:nvPr/>
            </p:nvSpPr>
            <p:spPr>
              <a:xfrm>
                <a:off x="13669987" y="6718321"/>
                <a:ext cx="135642" cy="81395"/>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380" name="Freeform: Shape 379">
                <a:extLst>
                  <a:ext uri="{FF2B5EF4-FFF2-40B4-BE49-F238E27FC236}">
                    <a16:creationId xmlns:a16="http://schemas.microsoft.com/office/drawing/2014/main" id="{450A7D08-1B2B-4AB5-8FF3-2FFA2DA20C8B}"/>
                  </a:ext>
                </a:extLst>
              </p:cNvPr>
              <p:cNvSpPr/>
              <p:nvPr/>
            </p:nvSpPr>
            <p:spPr>
              <a:xfrm>
                <a:off x="13817554" y="6367267"/>
                <a:ext cx="135642" cy="54263"/>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381" name="Freeform: Shape 380">
                <a:extLst>
                  <a:ext uri="{FF2B5EF4-FFF2-40B4-BE49-F238E27FC236}">
                    <a16:creationId xmlns:a16="http://schemas.microsoft.com/office/drawing/2014/main" id="{5BBE698C-578B-4FBE-BDB6-C30D8C45D6E8}"/>
                  </a:ext>
                </a:extLst>
              </p:cNvPr>
              <p:cNvSpPr/>
              <p:nvPr/>
            </p:nvSpPr>
            <p:spPr>
              <a:xfrm>
                <a:off x="13906825" y="5997505"/>
                <a:ext cx="135642" cy="2713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382" name="Freeform: Shape 381">
                <a:extLst>
                  <a:ext uri="{FF2B5EF4-FFF2-40B4-BE49-F238E27FC236}">
                    <a16:creationId xmlns:a16="http://schemas.microsoft.com/office/drawing/2014/main" id="{9D574CBE-4271-4DB3-AB0A-88E4EE0B278F}"/>
                  </a:ext>
                </a:extLst>
              </p:cNvPr>
              <p:cNvSpPr/>
              <p:nvPr/>
            </p:nvSpPr>
            <p:spPr>
              <a:xfrm>
                <a:off x="13869379" y="6183879"/>
                <a:ext cx="135642" cy="54263"/>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383" name="Freeform: Shape 382">
                <a:extLst>
                  <a:ext uri="{FF2B5EF4-FFF2-40B4-BE49-F238E27FC236}">
                    <a16:creationId xmlns:a16="http://schemas.microsoft.com/office/drawing/2014/main" id="{48F71D17-4546-438C-9DAB-E8D86DDEE14B}"/>
                  </a:ext>
                </a:extLst>
              </p:cNvPr>
              <p:cNvSpPr/>
              <p:nvPr/>
            </p:nvSpPr>
            <p:spPr>
              <a:xfrm>
                <a:off x="13928784" y="5808413"/>
                <a:ext cx="135642" cy="2713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384" name="Freeform: Shape 383">
                <a:extLst>
                  <a:ext uri="{FF2B5EF4-FFF2-40B4-BE49-F238E27FC236}">
                    <a16:creationId xmlns:a16="http://schemas.microsoft.com/office/drawing/2014/main" id="{A6F5ADCC-E9B9-4475-B6E5-FCF688400163}"/>
                  </a:ext>
                </a:extLst>
              </p:cNvPr>
              <p:cNvSpPr/>
              <p:nvPr/>
            </p:nvSpPr>
            <p:spPr>
              <a:xfrm>
                <a:off x="12429091" y="7851519"/>
                <a:ext cx="54263" cy="135642"/>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385" name="Freeform: Shape 384">
                <a:extLst>
                  <a:ext uri="{FF2B5EF4-FFF2-40B4-BE49-F238E27FC236}">
                    <a16:creationId xmlns:a16="http://schemas.microsoft.com/office/drawing/2014/main" id="{D95DED1B-4FC2-4426-9323-BD31A2AD71DD}"/>
                  </a:ext>
                </a:extLst>
              </p:cNvPr>
              <p:cNvSpPr/>
              <p:nvPr/>
            </p:nvSpPr>
            <p:spPr>
              <a:xfrm>
                <a:off x="13468953" y="7042244"/>
                <a:ext cx="135642" cy="108526"/>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386" name="Freeform: Shape 385">
                <a:extLst>
                  <a:ext uri="{FF2B5EF4-FFF2-40B4-BE49-F238E27FC236}">
                    <a16:creationId xmlns:a16="http://schemas.microsoft.com/office/drawing/2014/main" id="{D1A4B28D-6B41-4FA4-A6DD-2F1C0E6FE289}"/>
                  </a:ext>
                </a:extLst>
              </p:cNvPr>
              <p:cNvSpPr/>
              <p:nvPr/>
            </p:nvSpPr>
            <p:spPr>
              <a:xfrm>
                <a:off x="13750819" y="6545514"/>
                <a:ext cx="135642" cy="54263"/>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387" name="Freeform: Shape 386">
                <a:extLst>
                  <a:ext uri="{FF2B5EF4-FFF2-40B4-BE49-F238E27FC236}">
                    <a16:creationId xmlns:a16="http://schemas.microsoft.com/office/drawing/2014/main" id="{1D9A1E3E-AD89-4E61-9506-B8001E0E4DE5}"/>
                  </a:ext>
                </a:extLst>
              </p:cNvPr>
              <p:cNvSpPr/>
              <p:nvPr/>
            </p:nvSpPr>
            <p:spPr>
              <a:xfrm>
                <a:off x="13575839" y="6884362"/>
                <a:ext cx="135642" cy="81395"/>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388" name="Freeform: Shape 387">
                <a:extLst>
                  <a:ext uri="{FF2B5EF4-FFF2-40B4-BE49-F238E27FC236}">
                    <a16:creationId xmlns:a16="http://schemas.microsoft.com/office/drawing/2014/main" id="{E94E9F05-33DE-4D5C-A15F-CF105BEC3CBE}"/>
                  </a:ext>
                </a:extLst>
              </p:cNvPr>
              <p:cNvSpPr/>
              <p:nvPr/>
            </p:nvSpPr>
            <p:spPr>
              <a:xfrm>
                <a:off x="13349846" y="7191186"/>
                <a:ext cx="108526" cy="108526"/>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389" name="Freeform: Shape 388">
                <a:extLst>
                  <a:ext uri="{FF2B5EF4-FFF2-40B4-BE49-F238E27FC236}">
                    <a16:creationId xmlns:a16="http://schemas.microsoft.com/office/drawing/2014/main" id="{0F880B22-6997-4074-9D24-03623FEDBE3B}"/>
                  </a:ext>
                </a:extLst>
              </p:cNvPr>
              <p:cNvSpPr/>
              <p:nvPr/>
            </p:nvSpPr>
            <p:spPr>
              <a:xfrm>
                <a:off x="10927476" y="7952981"/>
                <a:ext cx="54263" cy="135642"/>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390" name="Freeform: Shape 389">
                <a:extLst>
                  <a:ext uri="{FF2B5EF4-FFF2-40B4-BE49-F238E27FC236}">
                    <a16:creationId xmlns:a16="http://schemas.microsoft.com/office/drawing/2014/main" id="{D7741BF4-A7C8-42E6-A04E-0B1DA46C980E}"/>
                  </a:ext>
                </a:extLst>
              </p:cNvPr>
              <p:cNvSpPr/>
              <p:nvPr/>
            </p:nvSpPr>
            <p:spPr>
              <a:xfrm>
                <a:off x="11125790" y="7992319"/>
                <a:ext cx="27132" cy="135642"/>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391" name="Freeform: Shape 390">
                <a:extLst>
                  <a:ext uri="{FF2B5EF4-FFF2-40B4-BE49-F238E27FC236}">
                    <a16:creationId xmlns:a16="http://schemas.microsoft.com/office/drawing/2014/main" id="{8BD3944B-7EB2-421D-AB53-99111A037C7E}"/>
                  </a:ext>
                </a:extLst>
              </p:cNvPr>
              <p:cNvSpPr/>
              <p:nvPr/>
            </p:nvSpPr>
            <p:spPr>
              <a:xfrm>
                <a:off x="11266856" y="3113382"/>
                <a:ext cx="27132" cy="135642"/>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392" name="Freeform: Shape 391">
                <a:extLst>
                  <a:ext uri="{FF2B5EF4-FFF2-40B4-BE49-F238E27FC236}">
                    <a16:creationId xmlns:a16="http://schemas.microsoft.com/office/drawing/2014/main" id="{3ED7A732-6F24-4593-8757-3328EF86DC24}"/>
                  </a:ext>
                </a:extLst>
              </p:cNvPr>
              <p:cNvSpPr/>
              <p:nvPr/>
            </p:nvSpPr>
            <p:spPr>
              <a:xfrm>
                <a:off x="11326542" y="8016465"/>
                <a:ext cx="27132" cy="135642"/>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393" name="Freeform: Shape 392">
                <a:extLst>
                  <a:ext uri="{FF2B5EF4-FFF2-40B4-BE49-F238E27FC236}">
                    <a16:creationId xmlns:a16="http://schemas.microsoft.com/office/drawing/2014/main" id="{28580C0D-11F4-4FC1-89D7-A8C10078581B}"/>
                  </a:ext>
                </a:extLst>
              </p:cNvPr>
              <p:cNvSpPr/>
              <p:nvPr/>
            </p:nvSpPr>
            <p:spPr>
              <a:xfrm>
                <a:off x="11066651" y="3142155"/>
                <a:ext cx="27132" cy="135642"/>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394" name="Freeform: Shape 393">
                <a:extLst>
                  <a:ext uri="{FF2B5EF4-FFF2-40B4-BE49-F238E27FC236}">
                    <a16:creationId xmlns:a16="http://schemas.microsoft.com/office/drawing/2014/main" id="{CF8B79AB-50F3-439C-B18F-707996450AC5}"/>
                  </a:ext>
                </a:extLst>
              </p:cNvPr>
              <p:cNvSpPr/>
              <p:nvPr/>
            </p:nvSpPr>
            <p:spPr>
              <a:xfrm>
                <a:off x="11468702" y="3100363"/>
                <a:ext cx="27132" cy="135642"/>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395" name="Freeform: Shape 394">
                <a:extLst>
                  <a:ext uri="{FF2B5EF4-FFF2-40B4-BE49-F238E27FC236}">
                    <a16:creationId xmlns:a16="http://schemas.microsoft.com/office/drawing/2014/main" id="{6F20FF20-8AA0-4D94-B013-E5707C721019}"/>
                  </a:ext>
                </a:extLst>
              </p:cNvPr>
              <p:cNvSpPr/>
              <p:nvPr/>
            </p:nvSpPr>
            <p:spPr>
              <a:xfrm>
                <a:off x="10676806" y="3247680"/>
                <a:ext cx="54263" cy="135642"/>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396" name="Freeform: Shape 395">
                <a:extLst>
                  <a:ext uri="{FF2B5EF4-FFF2-40B4-BE49-F238E27FC236}">
                    <a16:creationId xmlns:a16="http://schemas.microsoft.com/office/drawing/2014/main" id="{C19E183D-79AF-48E0-8630-E6B42BFE4C7F}"/>
                  </a:ext>
                </a:extLst>
              </p:cNvPr>
              <p:cNvSpPr/>
              <p:nvPr/>
            </p:nvSpPr>
            <p:spPr>
              <a:xfrm>
                <a:off x="10733226" y="7899265"/>
                <a:ext cx="54263" cy="135642"/>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397" name="Freeform: Shape 396">
                <a:extLst>
                  <a:ext uri="{FF2B5EF4-FFF2-40B4-BE49-F238E27FC236}">
                    <a16:creationId xmlns:a16="http://schemas.microsoft.com/office/drawing/2014/main" id="{F2DE7894-1F86-4C3B-A874-C2457DA3FDAD}"/>
                  </a:ext>
                </a:extLst>
              </p:cNvPr>
              <p:cNvSpPr/>
              <p:nvPr/>
            </p:nvSpPr>
            <p:spPr>
              <a:xfrm>
                <a:off x="10869697" y="3187181"/>
                <a:ext cx="54263" cy="135642"/>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398" name="Freeform: Shape 397">
                <a:extLst>
                  <a:ext uri="{FF2B5EF4-FFF2-40B4-BE49-F238E27FC236}">
                    <a16:creationId xmlns:a16="http://schemas.microsoft.com/office/drawing/2014/main" id="{91AEA01C-7870-4B7C-B50D-81ADD5E10130}"/>
                  </a:ext>
                </a:extLst>
              </p:cNvPr>
              <p:cNvSpPr/>
              <p:nvPr/>
            </p:nvSpPr>
            <p:spPr>
              <a:xfrm>
                <a:off x="10544133" y="7830623"/>
                <a:ext cx="54263" cy="135642"/>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399" name="Freeform: Shape 398">
                <a:extLst>
                  <a:ext uri="{FF2B5EF4-FFF2-40B4-BE49-F238E27FC236}">
                    <a16:creationId xmlns:a16="http://schemas.microsoft.com/office/drawing/2014/main" id="{7BA30FEA-CF77-4708-902F-497FB657EA04}"/>
                  </a:ext>
                </a:extLst>
              </p:cNvPr>
              <p:cNvSpPr/>
              <p:nvPr/>
            </p:nvSpPr>
            <p:spPr>
              <a:xfrm>
                <a:off x="11528654" y="8025405"/>
                <a:ext cx="27132" cy="135642"/>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400" name="Freeform: Shape 399">
                <a:extLst>
                  <a:ext uri="{FF2B5EF4-FFF2-40B4-BE49-F238E27FC236}">
                    <a16:creationId xmlns:a16="http://schemas.microsoft.com/office/drawing/2014/main" id="{4955C62B-5619-4FAA-ACBC-EA8AFC919D7A}"/>
                  </a:ext>
                </a:extLst>
              </p:cNvPr>
              <p:cNvSpPr/>
              <p:nvPr/>
            </p:nvSpPr>
            <p:spPr>
              <a:xfrm>
                <a:off x="12040325" y="3153267"/>
                <a:ext cx="27132" cy="135642"/>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401" name="Freeform: Shape 400">
                <a:extLst>
                  <a:ext uri="{FF2B5EF4-FFF2-40B4-BE49-F238E27FC236}">
                    <a16:creationId xmlns:a16="http://schemas.microsoft.com/office/drawing/2014/main" id="{00E1A5B7-CBEA-4D44-874F-C6323372882D}"/>
                  </a:ext>
                </a:extLst>
              </p:cNvPr>
              <p:cNvSpPr/>
              <p:nvPr/>
            </p:nvSpPr>
            <p:spPr>
              <a:xfrm>
                <a:off x="12066362" y="7965453"/>
                <a:ext cx="27132" cy="135642"/>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402" name="Freeform: Shape 401">
                <a:extLst>
                  <a:ext uri="{FF2B5EF4-FFF2-40B4-BE49-F238E27FC236}">
                    <a16:creationId xmlns:a16="http://schemas.microsoft.com/office/drawing/2014/main" id="{F33472AE-B179-4641-B6CD-4E4099F72FED}"/>
                  </a:ext>
                </a:extLst>
              </p:cNvPr>
              <p:cNvSpPr/>
              <p:nvPr/>
            </p:nvSpPr>
            <p:spPr>
              <a:xfrm>
                <a:off x="12224792" y="3202638"/>
                <a:ext cx="54263" cy="135642"/>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403" name="Freeform: Shape 402">
                <a:extLst>
                  <a:ext uri="{FF2B5EF4-FFF2-40B4-BE49-F238E27FC236}">
                    <a16:creationId xmlns:a16="http://schemas.microsoft.com/office/drawing/2014/main" id="{6E1C153E-35BD-4585-8BBD-09E7DEB839F8}"/>
                  </a:ext>
                </a:extLst>
              </p:cNvPr>
              <p:cNvSpPr/>
              <p:nvPr/>
            </p:nvSpPr>
            <p:spPr>
              <a:xfrm>
                <a:off x="12250032" y="7915816"/>
                <a:ext cx="54263" cy="135642"/>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404" name="Freeform: Shape 403">
                <a:extLst>
                  <a:ext uri="{FF2B5EF4-FFF2-40B4-BE49-F238E27FC236}">
                    <a16:creationId xmlns:a16="http://schemas.microsoft.com/office/drawing/2014/main" id="{83AE68ED-23CE-4C2B-A1C7-03AF54E95886}"/>
                  </a:ext>
                </a:extLst>
              </p:cNvPr>
              <p:cNvSpPr/>
              <p:nvPr/>
            </p:nvSpPr>
            <p:spPr>
              <a:xfrm>
                <a:off x="12404663" y="3267748"/>
                <a:ext cx="54263" cy="135642"/>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405" name="Freeform: Shape 404">
                <a:extLst>
                  <a:ext uri="{FF2B5EF4-FFF2-40B4-BE49-F238E27FC236}">
                    <a16:creationId xmlns:a16="http://schemas.microsoft.com/office/drawing/2014/main" id="{36D81F40-9A3B-4356-8705-B2D64ACD27D8}"/>
                  </a:ext>
                </a:extLst>
              </p:cNvPr>
              <p:cNvSpPr/>
              <p:nvPr/>
            </p:nvSpPr>
            <p:spPr>
              <a:xfrm>
                <a:off x="11879442" y="8000461"/>
                <a:ext cx="27132" cy="135642"/>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406" name="Freeform: Shape 405">
                <a:extLst>
                  <a:ext uri="{FF2B5EF4-FFF2-40B4-BE49-F238E27FC236}">
                    <a16:creationId xmlns:a16="http://schemas.microsoft.com/office/drawing/2014/main" id="{4B196F19-52C9-406F-83AB-0B955DBB4BA9}"/>
                  </a:ext>
                </a:extLst>
              </p:cNvPr>
              <p:cNvSpPr/>
              <p:nvPr/>
            </p:nvSpPr>
            <p:spPr>
              <a:xfrm>
                <a:off x="11690349" y="8020263"/>
                <a:ext cx="27132" cy="135642"/>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407" name="Freeform: Shape 406">
                <a:extLst>
                  <a:ext uri="{FF2B5EF4-FFF2-40B4-BE49-F238E27FC236}">
                    <a16:creationId xmlns:a16="http://schemas.microsoft.com/office/drawing/2014/main" id="{3390D830-6D02-4E5C-9B88-13DB32CB0A22}"/>
                  </a:ext>
                </a:extLst>
              </p:cNvPr>
              <p:cNvSpPr/>
              <p:nvPr/>
            </p:nvSpPr>
            <p:spPr>
              <a:xfrm>
                <a:off x="11664030" y="3102536"/>
                <a:ext cx="27132" cy="135642"/>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408" name="Freeform: Shape 407">
                <a:extLst>
                  <a:ext uri="{FF2B5EF4-FFF2-40B4-BE49-F238E27FC236}">
                    <a16:creationId xmlns:a16="http://schemas.microsoft.com/office/drawing/2014/main" id="{BD93F08E-A29F-411B-B65D-070F1F22B390}"/>
                  </a:ext>
                </a:extLst>
              </p:cNvPr>
              <p:cNvSpPr/>
              <p:nvPr/>
            </p:nvSpPr>
            <p:spPr>
              <a:xfrm>
                <a:off x="11853139" y="3119899"/>
                <a:ext cx="27132" cy="135642"/>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409" name="Freeform: Shape 408">
                <a:extLst>
                  <a:ext uri="{FF2B5EF4-FFF2-40B4-BE49-F238E27FC236}">
                    <a16:creationId xmlns:a16="http://schemas.microsoft.com/office/drawing/2014/main" id="{A2612C18-5DE5-4A5D-943D-DBEE8CF7865C}"/>
                  </a:ext>
                </a:extLst>
              </p:cNvPr>
              <p:cNvSpPr/>
              <p:nvPr/>
            </p:nvSpPr>
            <p:spPr>
              <a:xfrm>
                <a:off x="9455712" y="3545284"/>
                <a:ext cx="4177922" cy="4177907"/>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0" name="Freeform: Shape 409">
                <a:extLst>
                  <a:ext uri="{FF2B5EF4-FFF2-40B4-BE49-F238E27FC236}">
                    <a16:creationId xmlns:a16="http://schemas.microsoft.com/office/drawing/2014/main" id="{E9462D55-149C-4DCA-90CE-0EC1E80D434F}"/>
                  </a:ext>
                </a:extLst>
              </p:cNvPr>
              <p:cNvSpPr/>
              <p:nvPr/>
            </p:nvSpPr>
            <p:spPr>
              <a:xfrm>
                <a:off x="11551722" y="3480174"/>
                <a:ext cx="1519244" cy="73249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1" name="Freeform: Shape 410">
                <a:extLst>
                  <a:ext uri="{FF2B5EF4-FFF2-40B4-BE49-F238E27FC236}">
                    <a16:creationId xmlns:a16="http://schemas.microsoft.com/office/drawing/2014/main" id="{DA408A4E-D8E5-4EB7-B61B-3CA26732F55B}"/>
                  </a:ext>
                </a:extLst>
              </p:cNvPr>
              <p:cNvSpPr/>
              <p:nvPr/>
            </p:nvSpPr>
            <p:spPr>
              <a:xfrm>
                <a:off x="9390868" y="5641028"/>
                <a:ext cx="488322" cy="1193681"/>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2" name="Freeform: Shape 411">
                <a:extLst>
                  <a:ext uri="{FF2B5EF4-FFF2-40B4-BE49-F238E27FC236}">
                    <a16:creationId xmlns:a16="http://schemas.microsoft.com/office/drawing/2014/main" id="{6AC69FD7-D0EF-4E94-9EA1-1394ED91ED1F}"/>
                  </a:ext>
                </a:extLst>
              </p:cNvPr>
              <p:cNvSpPr/>
              <p:nvPr/>
            </p:nvSpPr>
            <p:spPr>
              <a:xfrm>
                <a:off x="10711252" y="7488790"/>
                <a:ext cx="813885" cy="298416"/>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413" name="Group 412">
                <a:extLst>
                  <a:ext uri="{FF2B5EF4-FFF2-40B4-BE49-F238E27FC236}">
                    <a16:creationId xmlns:a16="http://schemas.microsoft.com/office/drawing/2014/main" id="{01945117-D589-4336-A9C3-1D93E234B321}"/>
                  </a:ext>
                </a:extLst>
              </p:cNvPr>
              <p:cNvGrpSpPr/>
              <p:nvPr/>
            </p:nvGrpSpPr>
            <p:grpSpPr>
              <a:xfrm>
                <a:off x="8587298" y="2727960"/>
                <a:ext cx="5865457" cy="5832794"/>
                <a:chOff x="8587298" y="2727960"/>
                <a:chExt cx="5865457" cy="5832794"/>
              </a:xfrm>
            </p:grpSpPr>
            <p:sp>
              <p:nvSpPr>
                <p:cNvPr id="416" name="Freeform: Shape 415">
                  <a:extLst>
                    <a:ext uri="{FF2B5EF4-FFF2-40B4-BE49-F238E27FC236}">
                      <a16:creationId xmlns:a16="http://schemas.microsoft.com/office/drawing/2014/main" id="{BAF38FFA-CB1E-4507-93E4-66FAEF9B1DAE}"/>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7" name="Freeform: Shape 416">
                  <a:extLst>
                    <a:ext uri="{FF2B5EF4-FFF2-40B4-BE49-F238E27FC236}">
                      <a16:creationId xmlns:a16="http://schemas.microsoft.com/office/drawing/2014/main" id="{C5E40EAD-A678-4FDC-8CCF-5B2CF6A3B8CA}"/>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8" name="Freeform: Shape 417">
                  <a:extLst>
                    <a:ext uri="{FF2B5EF4-FFF2-40B4-BE49-F238E27FC236}">
                      <a16:creationId xmlns:a16="http://schemas.microsoft.com/office/drawing/2014/main" id="{84A2D0FE-6FA9-4E77-89F5-E8823176DAFF}"/>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414" name="Freeform: Shape 413">
                <a:extLst>
                  <a:ext uri="{FF2B5EF4-FFF2-40B4-BE49-F238E27FC236}">
                    <a16:creationId xmlns:a16="http://schemas.microsoft.com/office/drawing/2014/main" id="{4DC64828-7F1C-4C1A-B0EB-2D03083F031F}"/>
                  </a:ext>
                </a:extLst>
              </p:cNvPr>
              <p:cNvSpPr/>
              <p:nvPr/>
            </p:nvSpPr>
            <p:spPr>
              <a:xfrm>
                <a:off x="9727810" y="3817116"/>
                <a:ext cx="3635337" cy="363532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dirty="0">
                  <a:solidFill>
                    <a:srgbClr val="FFFFFF"/>
                  </a:solidFill>
                </a:endParaRPr>
              </a:p>
            </p:txBody>
          </p:sp>
          <p:sp>
            <p:nvSpPr>
              <p:cNvPr id="415" name="Freeform: Shape 414">
                <a:extLst>
                  <a:ext uri="{FF2B5EF4-FFF2-40B4-BE49-F238E27FC236}">
                    <a16:creationId xmlns:a16="http://schemas.microsoft.com/office/drawing/2014/main" id="{94A2EEFE-2C6D-4805-B9F1-EBF1EF8CB7A4}"/>
                  </a:ext>
                </a:extLst>
              </p:cNvPr>
              <p:cNvSpPr/>
              <p:nvPr/>
            </p:nvSpPr>
            <p:spPr>
              <a:xfrm>
                <a:off x="8950292" y="3039598"/>
                <a:ext cx="5181697" cy="5181698"/>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grpSp>
        <p:grpSp>
          <p:nvGrpSpPr>
            <p:cNvPr id="286" name="Group 37">
              <a:extLst>
                <a:ext uri="{FF2B5EF4-FFF2-40B4-BE49-F238E27FC236}">
                  <a16:creationId xmlns:a16="http://schemas.microsoft.com/office/drawing/2014/main" id="{B5C0ED2E-54F3-4572-9910-E543BDBAC7FD}"/>
                </a:ext>
              </a:extLst>
            </p:cNvPr>
            <p:cNvGrpSpPr>
              <a:grpSpLocks noChangeAspect="1"/>
            </p:cNvGrpSpPr>
            <p:nvPr/>
          </p:nvGrpSpPr>
          <p:grpSpPr bwMode="auto">
            <a:xfrm>
              <a:off x="7795773" y="2993792"/>
              <a:ext cx="1245823" cy="1175184"/>
              <a:chOff x="528" y="843"/>
              <a:chExt cx="776" cy="732"/>
            </a:xfrm>
            <a:solidFill>
              <a:schemeClr val="bg1"/>
            </a:solidFill>
          </p:grpSpPr>
          <p:sp>
            <p:nvSpPr>
              <p:cNvPr id="317" name="Freeform 38">
                <a:extLst>
                  <a:ext uri="{FF2B5EF4-FFF2-40B4-BE49-F238E27FC236}">
                    <a16:creationId xmlns:a16="http://schemas.microsoft.com/office/drawing/2014/main" id="{DF9A71F9-6E80-4367-B06B-345683F999A6}"/>
                  </a:ext>
                </a:extLst>
              </p:cNvPr>
              <p:cNvSpPr>
                <a:spLocks noEditPoints="1"/>
              </p:cNvSpPr>
              <p:nvPr/>
            </p:nvSpPr>
            <p:spPr bwMode="auto">
              <a:xfrm>
                <a:off x="714" y="1467"/>
                <a:ext cx="404" cy="108"/>
              </a:xfrm>
              <a:custGeom>
                <a:avLst/>
                <a:gdLst>
                  <a:gd name="T0" fmla="*/ 404 w 404"/>
                  <a:gd name="T1" fmla="*/ 108 h 108"/>
                  <a:gd name="T2" fmla="*/ 0 w 404"/>
                  <a:gd name="T3" fmla="*/ 108 h 108"/>
                  <a:gd name="T4" fmla="*/ 0 w 404"/>
                  <a:gd name="T5" fmla="*/ 84 h 108"/>
                  <a:gd name="T6" fmla="*/ 0 w 404"/>
                  <a:gd name="T7" fmla="*/ 84 h 108"/>
                  <a:gd name="T8" fmla="*/ 2 w 404"/>
                  <a:gd name="T9" fmla="*/ 68 h 108"/>
                  <a:gd name="T10" fmla="*/ 8 w 404"/>
                  <a:gd name="T11" fmla="*/ 52 h 108"/>
                  <a:gd name="T12" fmla="*/ 16 w 404"/>
                  <a:gd name="T13" fmla="*/ 38 h 108"/>
                  <a:gd name="T14" fmla="*/ 26 w 404"/>
                  <a:gd name="T15" fmla="*/ 24 h 108"/>
                  <a:gd name="T16" fmla="*/ 38 w 404"/>
                  <a:gd name="T17" fmla="*/ 14 h 108"/>
                  <a:gd name="T18" fmla="*/ 52 w 404"/>
                  <a:gd name="T19" fmla="*/ 6 h 108"/>
                  <a:gd name="T20" fmla="*/ 68 w 404"/>
                  <a:gd name="T21" fmla="*/ 2 h 108"/>
                  <a:gd name="T22" fmla="*/ 86 w 404"/>
                  <a:gd name="T23" fmla="*/ 0 h 108"/>
                  <a:gd name="T24" fmla="*/ 320 w 404"/>
                  <a:gd name="T25" fmla="*/ 0 h 108"/>
                  <a:gd name="T26" fmla="*/ 320 w 404"/>
                  <a:gd name="T27" fmla="*/ 0 h 108"/>
                  <a:gd name="T28" fmla="*/ 336 w 404"/>
                  <a:gd name="T29" fmla="*/ 2 h 108"/>
                  <a:gd name="T30" fmla="*/ 352 w 404"/>
                  <a:gd name="T31" fmla="*/ 6 h 108"/>
                  <a:gd name="T32" fmla="*/ 366 w 404"/>
                  <a:gd name="T33" fmla="*/ 14 h 108"/>
                  <a:gd name="T34" fmla="*/ 380 w 404"/>
                  <a:gd name="T35" fmla="*/ 24 h 108"/>
                  <a:gd name="T36" fmla="*/ 390 w 404"/>
                  <a:gd name="T37" fmla="*/ 38 h 108"/>
                  <a:gd name="T38" fmla="*/ 398 w 404"/>
                  <a:gd name="T39" fmla="*/ 52 h 108"/>
                  <a:gd name="T40" fmla="*/ 402 w 404"/>
                  <a:gd name="T41" fmla="*/ 68 h 108"/>
                  <a:gd name="T42" fmla="*/ 404 w 404"/>
                  <a:gd name="T43" fmla="*/ 84 h 108"/>
                  <a:gd name="T44" fmla="*/ 404 w 404"/>
                  <a:gd name="T45" fmla="*/ 108 h 108"/>
                  <a:gd name="T46" fmla="*/ 18 w 404"/>
                  <a:gd name="T47" fmla="*/ 90 h 108"/>
                  <a:gd name="T48" fmla="*/ 386 w 404"/>
                  <a:gd name="T49" fmla="*/ 90 h 108"/>
                  <a:gd name="T50" fmla="*/ 386 w 404"/>
                  <a:gd name="T51" fmla="*/ 84 h 108"/>
                  <a:gd name="T52" fmla="*/ 386 w 404"/>
                  <a:gd name="T53" fmla="*/ 84 h 108"/>
                  <a:gd name="T54" fmla="*/ 384 w 404"/>
                  <a:gd name="T55" fmla="*/ 70 h 108"/>
                  <a:gd name="T56" fmla="*/ 380 w 404"/>
                  <a:gd name="T57" fmla="*/ 58 h 108"/>
                  <a:gd name="T58" fmla="*/ 374 w 404"/>
                  <a:gd name="T59" fmla="*/ 48 h 108"/>
                  <a:gd name="T60" fmla="*/ 366 w 404"/>
                  <a:gd name="T61" fmla="*/ 38 h 108"/>
                  <a:gd name="T62" fmla="*/ 356 w 404"/>
                  <a:gd name="T63" fmla="*/ 30 h 108"/>
                  <a:gd name="T64" fmla="*/ 346 w 404"/>
                  <a:gd name="T65" fmla="*/ 24 h 108"/>
                  <a:gd name="T66" fmla="*/ 334 w 404"/>
                  <a:gd name="T67" fmla="*/ 20 h 108"/>
                  <a:gd name="T68" fmla="*/ 320 w 404"/>
                  <a:gd name="T69" fmla="*/ 18 h 108"/>
                  <a:gd name="T70" fmla="*/ 86 w 404"/>
                  <a:gd name="T71" fmla="*/ 18 h 108"/>
                  <a:gd name="T72" fmla="*/ 86 w 404"/>
                  <a:gd name="T73" fmla="*/ 18 h 108"/>
                  <a:gd name="T74" fmla="*/ 72 w 404"/>
                  <a:gd name="T75" fmla="*/ 20 h 108"/>
                  <a:gd name="T76" fmla="*/ 60 w 404"/>
                  <a:gd name="T77" fmla="*/ 24 h 108"/>
                  <a:gd name="T78" fmla="*/ 48 w 404"/>
                  <a:gd name="T79" fmla="*/ 30 h 108"/>
                  <a:gd name="T80" fmla="*/ 38 w 404"/>
                  <a:gd name="T81" fmla="*/ 38 h 108"/>
                  <a:gd name="T82" fmla="*/ 30 w 404"/>
                  <a:gd name="T83" fmla="*/ 48 h 108"/>
                  <a:gd name="T84" fmla="*/ 24 w 404"/>
                  <a:gd name="T85" fmla="*/ 58 h 108"/>
                  <a:gd name="T86" fmla="*/ 20 w 404"/>
                  <a:gd name="T87" fmla="*/ 70 h 108"/>
                  <a:gd name="T88" fmla="*/ 18 w 404"/>
                  <a:gd name="T89" fmla="*/ 84 h 108"/>
                  <a:gd name="T90" fmla="*/ 18 w 404"/>
                  <a:gd name="T91" fmla="*/ 9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108">
                    <a:moveTo>
                      <a:pt x="404" y="108"/>
                    </a:moveTo>
                    <a:lnTo>
                      <a:pt x="0" y="108"/>
                    </a:lnTo>
                    <a:lnTo>
                      <a:pt x="0" y="84"/>
                    </a:lnTo>
                    <a:lnTo>
                      <a:pt x="0" y="84"/>
                    </a:lnTo>
                    <a:lnTo>
                      <a:pt x="2" y="68"/>
                    </a:lnTo>
                    <a:lnTo>
                      <a:pt x="8" y="52"/>
                    </a:lnTo>
                    <a:lnTo>
                      <a:pt x="16" y="38"/>
                    </a:lnTo>
                    <a:lnTo>
                      <a:pt x="26" y="24"/>
                    </a:lnTo>
                    <a:lnTo>
                      <a:pt x="38" y="14"/>
                    </a:lnTo>
                    <a:lnTo>
                      <a:pt x="52" y="6"/>
                    </a:lnTo>
                    <a:lnTo>
                      <a:pt x="68" y="2"/>
                    </a:lnTo>
                    <a:lnTo>
                      <a:pt x="86" y="0"/>
                    </a:lnTo>
                    <a:lnTo>
                      <a:pt x="320" y="0"/>
                    </a:lnTo>
                    <a:lnTo>
                      <a:pt x="320" y="0"/>
                    </a:lnTo>
                    <a:lnTo>
                      <a:pt x="336" y="2"/>
                    </a:lnTo>
                    <a:lnTo>
                      <a:pt x="352" y="6"/>
                    </a:lnTo>
                    <a:lnTo>
                      <a:pt x="366" y="14"/>
                    </a:lnTo>
                    <a:lnTo>
                      <a:pt x="380" y="24"/>
                    </a:lnTo>
                    <a:lnTo>
                      <a:pt x="390" y="38"/>
                    </a:lnTo>
                    <a:lnTo>
                      <a:pt x="398" y="52"/>
                    </a:lnTo>
                    <a:lnTo>
                      <a:pt x="402" y="68"/>
                    </a:lnTo>
                    <a:lnTo>
                      <a:pt x="404" y="84"/>
                    </a:lnTo>
                    <a:lnTo>
                      <a:pt x="404" y="108"/>
                    </a:lnTo>
                    <a:close/>
                    <a:moveTo>
                      <a:pt x="18" y="90"/>
                    </a:moveTo>
                    <a:lnTo>
                      <a:pt x="386" y="90"/>
                    </a:lnTo>
                    <a:lnTo>
                      <a:pt x="386" y="84"/>
                    </a:lnTo>
                    <a:lnTo>
                      <a:pt x="386" y="84"/>
                    </a:lnTo>
                    <a:lnTo>
                      <a:pt x="384" y="70"/>
                    </a:lnTo>
                    <a:lnTo>
                      <a:pt x="380" y="58"/>
                    </a:lnTo>
                    <a:lnTo>
                      <a:pt x="374" y="48"/>
                    </a:lnTo>
                    <a:lnTo>
                      <a:pt x="366" y="38"/>
                    </a:lnTo>
                    <a:lnTo>
                      <a:pt x="356" y="30"/>
                    </a:lnTo>
                    <a:lnTo>
                      <a:pt x="346" y="24"/>
                    </a:lnTo>
                    <a:lnTo>
                      <a:pt x="334" y="20"/>
                    </a:lnTo>
                    <a:lnTo>
                      <a:pt x="320" y="18"/>
                    </a:lnTo>
                    <a:lnTo>
                      <a:pt x="86" y="18"/>
                    </a:lnTo>
                    <a:lnTo>
                      <a:pt x="86" y="18"/>
                    </a:lnTo>
                    <a:lnTo>
                      <a:pt x="72" y="20"/>
                    </a:lnTo>
                    <a:lnTo>
                      <a:pt x="60" y="24"/>
                    </a:lnTo>
                    <a:lnTo>
                      <a:pt x="48" y="30"/>
                    </a:lnTo>
                    <a:lnTo>
                      <a:pt x="38" y="38"/>
                    </a:lnTo>
                    <a:lnTo>
                      <a:pt x="30" y="48"/>
                    </a:lnTo>
                    <a:lnTo>
                      <a:pt x="24" y="58"/>
                    </a:lnTo>
                    <a:lnTo>
                      <a:pt x="20" y="70"/>
                    </a:lnTo>
                    <a:lnTo>
                      <a:pt x="18" y="84"/>
                    </a:lnTo>
                    <a:lnTo>
                      <a:pt x="1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39">
                <a:extLst>
                  <a:ext uri="{FF2B5EF4-FFF2-40B4-BE49-F238E27FC236}">
                    <a16:creationId xmlns:a16="http://schemas.microsoft.com/office/drawing/2014/main" id="{F9EE210F-5A79-42D7-955A-70B2BF97D84E}"/>
                  </a:ext>
                </a:extLst>
              </p:cNvPr>
              <p:cNvSpPr>
                <a:spLocks noEditPoints="1"/>
              </p:cNvSpPr>
              <p:nvPr/>
            </p:nvSpPr>
            <p:spPr bwMode="auto">
              <a:xfrm>
                <a:off x="846" y="1421"/>
                <a:ext cx="142" cy="64"/>
              </a:xfrm>
              <a:custGeom>
                <a:avLst/>
                <a:gdLst>
                  <a:gd name="T0" fmla="*/ 142 w 142"/>
                  <a:gd name="T1" fmla="*/ 64 h 64"/>
                  <a:gd name="T2" fmla="*/ 0 w 142"/>
                  <a:gd name="T3" fmla="*/ 64 h 64"/>
                  <a:gd name="T4" fmla="*/ 0 w 142"/>
                  <a:gd name="T5" fmla="*/ 0 h 64"/>
                  <a:gd name="T6" fmla="*/ 142 w 142"/>
                  <a:gd name="T7" fmla="*/ 0 h 64"/>
                  <a:gd name="T8" fmla="*/ 142 w 142"/>
                  <a:gd name="T9" fmla="*/ 64 h 64"/>
                  <a:gd name="T10" fmla="*/ 18 w 142"/>
                  <a:gd name="T11" fmla="*/ 46 h 64"/>
                  <a:gd name="T12" fmla="*/ 124 w 142"/>
                  <a:gd name="T13" fmla="*/ 46 h 64"/>
                  <a:gd name="T14" fmla="*/ 124 w 142"/>
                  <a:gd name="T15" fmla="*/ 18 h 64"/>
                  <a:gd name="T16" fmla="*/ 18 w 142"/>
                  <a:gd name="T17" fmla="*/ 18 h 64"/>
                  <a:gd name="T18" fmla="*/ 18 w 14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4">
                    <a:moveTo>
                      <a:pt x="142" y="64"/>
                    </a:moveTo>
                    <a:lnTo>
                      <a:pt x="0" y="64"/>
                    </a:lnTo>
                    <a:lnTo>
                      <a:pt x="0" y="0"/>
                    </a:lnTo>
                    <a:lnTo>
                      <a:pt x="142" y="0"/>
                    </a:lnTo>
                    <a:lnTo>
                      <a:pt x="142" y="64"/>
                    </a:lnTo>
                    <a:close/>
                    <a:moveTo>
                      <a:pt x="18" y="46"/>
                    </a:moveTo>
                    <a:lnTo>
                      <a:pt x="124" y="46"/>
                    </a:lnTo>
                    <a:lnTo>
                      <a:pt x="124"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40">
                <a:extLst>
                  <a:ext uri="{FF2B5EF4-FFF2-40B4-BE49-F238E27FC236}">
                    <a16:creationId xmlns:a16="http://schemas.microsoft.com/office/drawing/2014/main" id="{9A3785DD-368F-4B30-B66A-FB3BC1E3D834}"/>
                  </a:ext>
                </a:extLst>
              </p:cNvPr>
              <p:cNvSpPr>
                <a:spLocks noEditPoints="1"/>
              </p:cNvSpPr>
              <p:nvPr/>
            </p:nvSpPr>
            <p:spPr bwMode="auto">
              <a:xfrm>
                <a:off x="878" y="1015"/>
                <a:ext cx="76" cy="424"/>
              </a:xfrm>
              <a:custGeom>
                <a:avLst/>
                <a:gdLst>
                  <a:gd name="T0" fmla="*/ 76 w 76"/>
                  <a:gd name="T1" fmla="*/ 424 h 424"/>
                  <a:gd name="T2" fmla="*/ 0 w 76"/>
                  <a:gd name="T3" fmla="*/ 424 h 424"/>
                  <a:gd name="T4" fmla="*/ 0 w 76"/>
                  <a:gd name="T5" fmla="*/ 0 h 424"/>
                  <a:gd name="T6" fmla="*/ 12 w 76"/>
                  <a:gd name="T7" fmla="*/ 6 h 424"/>
                  <a:gd name="T8" fmla="*/ 12 w 76"/>
                  <a:gd name="T9" fmla="*/ 6 h 424"/>
                  <a:gd name="T10" fmla="*/ 26 w 76"/>
                  <a:gd name="T11" fmla="*/ 10 h 424"/>
                  <a:gd name="T12" fmla="*/ 38 w 76"/>
                  <a:gd name="T13" fmla="*/ 12 h 424"/>
                  <a:gd name="T14" fmla="*/ 52 w 76"/>
                  <a:gd name="T15" fmla="*/ 10 h 424"/>
                  <a:gd name="T16" fmla="*/ 64 w 76"/>
                  <a:gd name="T17" fmla="*/ 6 h 424"/>
                  <a:gd name="T18" fmla="*/ 76 w 76"/>
                  <a:gd name="T19" fmla="*/ 0 h 424"/>
                  <a:gd name="T20" fmla="*/ 76 w 76"/>
                  <a:gd name="T21" fmla="*/ 424 h 424"/>
                  <a:gd name="T22" fmla="*/ 18 w 76"/>
                  <a:gd name="T23" fmla="*/ 406 h 424"/>
                  <a:gd name="T24" fmla="*/ 58 w 76"/>
                  <a:gd name="T25" fmla="*/ 406 h 424"/>
                  <a:gd name="T26" fmla="*/ 58 w 76"/>
                  <a:gd name="T27" fmla="*/ 28 h 424"/>
                  <a:gd name="T28" fmla="*/ 58 w 76"/>
                  <a:gd name="T29" fmla="*/ 28 h 424"/>
                  <a:gd name="T30" fmla="*/ 48 w 76"/>
                  <a:gd name="T31" fmla="*/ 30 h 424"/>
                  <a:gd name="T32" fmla="*/ 38 w 76"/>
                  <a:gd name="T33" fmla="*/ 30 h 424"/>
                  <a:gd name="T34" fmla="*/ 28 w 76"/>
                  <a:gd name="T35" fmla="*/ 30 h 424"/>
                  <a:gd name="T36" fmla="*/ 18 w 76"/>
                  <a:gd name="T37" fmla="*/ 28 h 424"/>
                  <a:gd name="T38" fmla="*/ 18 w 76"/>
                  <a:gd name="T3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424">
                    <a:moveTo>
                      <a:pt x="76" y="424"/>
                    </a:moveTo>
                    <a:lnTo>
                      <a:pt x="0" y="424"/>
                    </a:lnTo>
                    <a:lnTo>
                      <a:pt x="0" y="0"/>
                    </a:lnTo>
                    <a:lnTo>
                      <a:pt x="12" y="6"/>
                    </a:lnTo>
                    <a:lnTo>
                      <a:pt x="12" y="6"/>
                    </a:lnTo>
                    <a:lnTo>
                      <a:pt x="26" y="10"/>
                    </a:lnTo>
                    <a:lnTo>
                      <a:pt x="38" y="12"/>
                    </a:lnTo>
                    <a:lnTo>
                      <a:pt x="52" y="10"/>
                    </a:lnTo>
                    <a:lnTo>
                      <a:pt x="64" y="6"/>
                    </a:lnTo>
                    <a:lnTo>
                      <a:pt x="76" y="0"/>
                    </a:lnTo>
                    <a:lnTo>
                      <a:pt x="76" y="424"/>
                    </a:lnTo>
                    <a:close/>
                    <a:moveTo>
                      <a:pt x="18" y="406"/>
                    </a:moveTo>
                    <a:lnTo>
                      <a:pt x="58" y="406"/>
                    </a:lnTo>
                    <a:lnTo>
                      <a:pt x="58" y="28"/>
                    </a:lnTo>
                    <a:lnTo>
                      <a:pt x="58" y="28"/>
                    </a:lnTo>
                    <a:lnTo>
                      <a:pt x="48" y="30"/>
                    </a:lnTo>
                    <a:lnTo>
                      <a:pt x="38" y="30"/>
                    </a:lnTo>
                    <a:lnTo>
                      <a:pt x="28" y="30"/>
                    </a:lnTo>
                    <a:lnTo>
                      <a:pt x="18" y="28"/>
                    </a:lnTo>
                    <a:lnTo>
                      <a:pt x="1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41">
                <a:extLst>
                  <a:ext uri="{FF2B5EF4-FFF2-40B4-BE49-F238E27FC236}">
                    <a16:creationId xmlns:a16="http://schemas.microsoft.com/office/drawing/2014/main" id="{2D68E40C-3943-4936-9AFE-395631D66FF6}"/>
                  </a:ext>
                </a:extLst>
              </p:cNvPr>
              <p:cNvSpPr>
                <a:spLocks noEditPoints="1"/>
              </p:cNvSpPr>
              <p:nvPr/>
            </p:nvSpPr>
            <p:spPr bwMode="auto">
              <a:xfrm>
                <a:off x="964" y="929"/>
                <a:ext cx="280" cy="76"/>
              </a:xfrm>
              <a:custGeom>
                <a:avLst/>
                <a:gdLst>
                  <a:gd name="T0" fmla="*/ 240 w 280"/>
                  <a:gd name="T1" fmla="*/ 76 h 76"/>
                  <a:gd name="T2" fmla="*/ 0 w 280"/>
                  <a:gd name="T3" fmla="*/ 76 h 76"/>
                  <a:gd name="T4" fmla="*/ 6 w 280"/>
                  <a:gd name="T5" fmla="*/ 64 h 76"/>
                  <a:gd name="T6" fmla="*/ 6 w 280"/>
                  <a:gd name="T7" fmla="*/ 64 h 76"/>
                  <a:gd name="T8" fmla="*/ 12 w 280"/>
                  <a:gd name="T9" fmla="*/ 50 h 76"/>
                  <a:gd name="T10" fmla="*/ 12 w 280"/>
                  <a:gd name="T11" fmla="*/ 38 h 76"/>
                  <a:gd name="T12" fmla="*/ 12 w 280"/>
                  <a:gd name="T13" fmla="*/ 38 h 76"/>
                  <a:gd name="T14" fmla="*/ 12 w 280"/>
                  <a:gd name="T15" fmla="*/ 24 h 76"/>
                  <a:gd name="T16" fmla="*/ 6 w 280"/>
                  <a:gd name="T17" fmla="*/ 12 h 76"/>
                  <a:gd name="T18" fmla="*/ 0 w 280"/>
                  <a:gd name="T19" fmla="*/ 0 h 76"/>
                  <a:gd name="T20" fmla="*/ 240 w 280"/>
                  <a:gd name="T21" fmla="*/ 0 h 76"/>
                  <a:gd name="T22" fmla="*/ 240 w 280"/>
                  <a:gd name="T23" fmla="*/ 0 h 76"/>
                  <a:gd name="T24" fmla="*/ 248 w 280"/>
                  <a:gd name="T25" fmla="*/ 0 h 76"/>
                  <a:gd name="T26" fmla="*/ 256 w 280"/>
                  <a:gd name="T27" fmla="*/ 2 h 76"/>
                  <a:gd name="T28" fmla="*/ 262 w 280"/>
                  <a:gd name="T29" fmla="*/ 6 h 76"/>
                  <a:gd name="T30" fmla="*/ 268 w 280"/>
                  <a:gd name="T31" fmla="*/ 10 h 76"/>
                  <a:gd name="T32" fmla="*/ 272 w 280"/>
                  <a:gd name="T33" fmla="*/ 16 h 76"/>
                  <a:gd name="T34" fmla="*/ 276 w 280"/>
                  <a:gd name="T35" fmla="*/ 24 h 76"/>
                  <a:gd name="T36" fmla="*/ 278 w 280"/>
                  <a:gd name="T37" fmla="*/ 30 h 76"/>
                  <a:gd name="T38" fmla="*/ 280 w 280"/>
                  <a:gd name="T39" fmla="*/ 38 h 76"/>
                  <a:gd name="T40" fmla="*/ 280 w 280"/>
                  <a:gd name="T41" fmla="*/ 38 h 76"/>
                  <a:gd name="T42" fmla="*/ 278 w 280"/>
                  <a:gd name="T43" fmla="*/ 46 h 76"/>
                  <a:gd name="T44" fmla="*/ 276 w 280"/>
                  <a:gd name="T45" fmla="*/ 52 h 76"/>
                  <a:gd name="T46" fmla="*/ 272 w 280"/>
                  <a:gd name="T47" fmla="*/ 60 h 76"/>
                  <a:gd name="T48" fmla="*/ 268 w 280"/>
                  <a:gd name="T49" fmla="*/ 64 h 76"/>
                  <a:gd name="T50" fmla="*/ 262 w 280"/>
                  <a:gd name="T51" fmla="*/ 70 h 76"/>
                  <a:gd name="T52" fmla="*/ 256 w 280"/>
                  <a:gd name="T53" fmla="*/ 74 h 76"/>
                  <a:gd name="T54" fmla="*/ 248 w 280"/>
                  <a:gd name="T55" fmla="*/ 76 h 76"/>
                  <a:gd name="T56" fmla="*/ 240 w 280"/>
                  <a:gd name="T57" fmla="*/ 76 h 76"/>
                  <a:gd name="T58" fmla="*/ 240 w 280"/>
                  <a:gd name="T59" fmla="*/ 76 h 76"/>
                  <a:gd name="T60" fmla="*/ 28 w 280"/>
                  <a:gd name="T61" fmla="*/ 58 h 76"/>
                  <a:gd name="T62" fmla="*/ 240 w 280"/>
                  <a:gd name="T63" fmla="*/ 58 h 76"/>
                  <a:gd name="T64" fmla="*/ 240 w 280"/>
                  <a:gd name="T65" fmla="*/ 58 h 76"/>
                  <a:gd name="T66" fmla="*/ 248 w 280"/>
                  <a:gd name="T67" fmla="*/ 56 h 76"/>
                  <a:gd name="T68" fmla="*/ 256 w 280"/>
                  <a:gd name="T69" fmla="*/ 52 h 76"/>
                  <a:gd name="T70" fmla="*/ 260 w 280"/>
                  <a:gd name="T71" fmla="*/ 46 h 76"/>
                  <a:gd name="T72" fmla="*/ 262 w 280"/>
                  <a:gd name="T73" fmla="*/ 38 h 76"/>
                  <a:gd name="T74" fmla="*/ 262 w 280"/>
                  <a:gd name="T75" fmla="*/ 38 h 76"/>
                  <a:gd name="T76" fmla="*/ 260 w 280"/>
                  <a:gd name="T77" fmla="*/ 30 h 76"/>
                  <a:gd name="T78" fmla="*/ 256 w 280"/>
                  <a:gd name="T79" fmla="*/ 24 h 76"/>
                  <a:gd name="T80" fmla="*/ 248 w 280"/>
                  <a:gd name="T81" fmla="*/ 20 h 76"/>
                  <a:gd name="T82" fmla="*/ 240 w 280"/>
                  <a:gd name="T83" fmla="*/ 18 h 76"/>
                  <a:gd name="T84" fmla="*/ 28 w 280"/>
                  <a:gd name="T85" fmla="*/ 18 h 76"/>
                  <a:gd name="T86" fmla="*/ 28 w 280"/>
                  <a:gd name="T87" fmla="*/ 18 h 76"/>
                  <a:gd name="T88" fmla="*/ 30 w 280"/>
                  <a:gd name="T89" fmla="*/ 28 h 76"/>
                  <a:gd name="T90" fmla="*/ 30 w 280"/>
                  <a:gd name="T91" fmla="*/ 38 h 76"/>
                  <a:gd name="T92" fmla="*/ 30 w 280"/>
                  <a:gd name="T93" fmla="*/ 38 h 76"/>
                  <a:gd name="T94" fmla="*/ 30 w 280"/>
                  <a:gd name="T95" fmla="*/ 48 h 76"/>
                  <a:gd name="T96" fmla="*/ 28 w 280"/>
                  <a:gd name="T97" fmla="*/ 58 h 76"/>
                  <a:gd name="T98" fmla="*/ 28 w 280"/>
                  <a:gd name="T9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76">
                    <a:moveTo>
                      <a:pt x="240" y="76"/>
                    </a:moveTo>
                    <a:lnTo>
                      <a:pt x="0" y="76"/>
                    </a:lnTo>
                    <a:lnTo>
                      <a:pt x="6" y="64"/>
                    </a:lnTo>
                    <a:lnTo>
                      <a:pt x="6" y="64"/>
                    </a:lnTo>
                    <a:lnTo>
                      <a:pt x="12" y="50"/>
                    </a:lnTo>
                    <a:lnTo>
                      <a:pt x="12" y="38"/>
                    </a:lnTo>
                    <a:lnTo>
                      <a:pt x="12" y="38"/>
                    </a:lnTo>
                    <a:lnTo>
                      <a:pt x="12" y="24"/>
                    </a:lnTo>
                    <a:lnTo>
                      <a:pt x="6" y="12"/>
                    </a:lnTo>
                    <a:lnTo>
                      <a:pt x="0" y="0"/>
                    </a:lnTo>
                    <a:lnTo>
                      <a:pt x="240" y="0"/>
                    </a:lnTo>
                    <a:lnTo>
                      <a:pt x="240" y="0"/>
                    </a:lnTo>
                    <a:lnTo>
                      <a:pt x="248" y="0"/>
                    </a:lnTo>
                    <a:lnTo>
                      <a:pt x="256" y="2"/>
                    </a:lnTo>
                    <a:lnTo>
                      <a:pt x="262" y="6"/>
                    </a:lnTo>
                    <a:lnTo>
                      <a:pt x="268" y="10"/>
                    </a:lnTo>
                    <a:lnTo>
                      <a:pt x="272" y="16"/>
                    </a:lnTo>
                    <a:lnTo>
                      <a:pt x="276" y="24"/>
                    </a:lnTo>
                    <a:lnTo>
                      <a:pt x="278" y="30"/>
                    </a:lnTo>
                    <a:lnTo>
                      <a:pt x="280" y="38"/>
                    </a:lnTo>
                    <a:lnTo>
                      <a:pt x="280" y="38"/>
                    </a:lnTo>
                    <a:lnTo>
                      <a:pt x="278" y="46"/>
                    </a:lnTo>
                    <a:lnTo>
                      <a:pt x="276" y="52"/>
                    </a:lnTo>
                    <a:lnTo>
                      <a:pt x="272" y="60"/>
                    </a:lnTo>
                    <a:lnTo>
                      <a:pt x="268" y="64"/>
                    </a:lnTo>
                    <a:lnTo>
                      <a:pt x="262" y="70"/>
                    </a:lnTo>
                    <a:lnTo>
                      <a:pt x="256" y="74"/>
                    </a:lnTo>
                    <a:lnTo>
                      <a:pt x="248" y="76"/>
                    </a:lnTo>
                    <a:lnTo>
                      <a:pt x="240" y="76"/>
                    </a:lnTo>
                    <a:lnTo>
                      <a:pt x="240" y="76"/>
                    </a:lnTo>
                    <a:close/>
                    <a:moveTo>
                      <a:pt x="28" y="58"/>
                    </a:moveTo>
                    <a:lnTo>
                      <a:pt x="240" y="58"/>
                    </a:lnTo>
                    <a:lnTo>
                      <a:pt x="240" y="58"/>
                    </a:lnTo>
                    <a:lnTo>
                      <a:pt x="248" y="56"/>
                    </a:lnTo>
                    <a:lnTo>
                      <a:pt x="256" y="52"/>
                    </a:lnTo>
                    <a:lnTo>
                      <a:pt x="260" y="46"/>
                    </a:lnTo>
                    <a:lnTo>
                      <a:pt x="262" y="38"/>
                    </a:lnTo>
                    <a:lnTo>
                      <a:pt x="262" y="38"/>
                    </a:lnTo>
                    <a:lnTo>
                      <a:pt x="260" y="30"/>
                    </a:lnTo>
                    <a:lnTo>
                      <a:pt x="256" y="24"/>
                    </a:lnTo>
                    <a:lnTo>
                      <a:pt x="248" y="20"/>
                    </a:lnTo>
                    <a:lnTo>
                      <a:pt x="240" y="18"/>
                    </a:lnTo>
                    <a:lnTo>
                      <a:pt x="28" y="18"/>
                    </a:lnTo>
                    <a:lnTo>
                      <a:pt x="28" y="18"/>
                    </a:lnTo>
                    <a:lnTo>
                      <a:pt x="30" y="28"/>
                    </a:lnTo>
                    <a:lnTo>
                      <a:pt x="30" y="38"/>
                    </a:lnTo>
                    <a:lnTo>
                      <a:pt x="30" y="38"/>
                    </a:lnTo>
                    <a:lnTo>
                      <a:pt x="30" y="48"/>
                    </a:lnTo>
                    <a:lnTo>
                      <a:pt x="28" y="58"/>
                    </a:lnTo>
                    <a:lnTo>
                      <a:pt x="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1" name="Freeform 42">
                <a:extLst>
                  <a:ext uri="{FF2B5EF4-FFF2-40B4-BE49-F238E27FC236}">
                    <a16:creationId xmlns:a16="http://schemas.microsoft.com/office/drawing/2014/main" id="{16572AD0-AEB2-4015-9CB5-4D2BD1E15FA1}"/>
                  </a:ext>
                </a:extLst>
              </p:cNvPr>
              <p:cNvSpPr>
                <a:spLocks noEditPoints="1"/>
              </p:cNvSpPr>
              <p:nvPr/>
            </p:nvSpPr>
            <p:spPr bwMode="auto">
              <a:xfrm>
                <a:off x="590" y="929"/>
                <a:ext cx="278" cy="76"/>
              </a:xfrm>
              <a:custGeom>
                <a:avLst/>
                <a:gdLst>
                  <a:gd name="T0" fmla="*/ 278 w 278"/>
                  <a:gd name="T1" fmla="*/ 76 h 76"/>
                  <a:gd name="T2" fmla="*/ 38 w 278"/>
                  <a:gd name="T3" fmla="*/ 76 h 76"/>
                  <a:gd name="T4" fmla="*/ 38 w 278"/>
                  <a:gd name="T5" fmla="*/ 76 h 76"/>
                  <a:gd name="T6" fmla="*/ 30 w 278"/>
                  <a:gd name="T7" fmla="*/ 76 h 76"/>
                  <a:gd name="T8" fmla="*/ 22 w 278"/>
                  <a:gd name="T9" fmla="*/ 74 h 76"/>
                  <a:gd name="T10" fmla="*/ 16 w 278"/>
                  <a:gd name="T11" fmla="*/ 70 h 76"/>
                  <a:gd name="T12" fmla="*/ 10 w 278"/>
                  <a:gd name="T13" fmla="*/ 64 h 76"/>
                  <a:gd name="T14" fmla="*/ 6 w 278"/>
                  <a:gd name="T15" fmla="*/ 60 h 76"/>
                  <a:gd name="T16" fmla="*/ 2 w 278"/>
                  <a:gd name="T17" fmla="*/ 52 h 76"/>
                  <a:gd name="T18" fmla="*/ 0 w 278"/>
                  <a:gd name="T19" fmla="*/ 46 h 76"/>
                  <a:gd name="T20" fmla="*/ 0 w 278"/>
                  <a:gd name="T21" fmla="*/ 38 h 76"/>
                  <a:gd name="T22" fmla="*/ 0 w 278"/>
                  <a:gd name="T23" fmla="*/ 38 h 76"/>
                  <a:gd name="T24" fmla="*/ 0 w 278"/>
                  <a:gd name="T25" fmla="*/ 30 h 76"/>
                  <a:gd name="T26" fmla="*/ 2 w 278"/>
                  <a:gd name="T27" fmla="*/ 24 h 76"/>
                  <a:gd name="T28" fmla="*/ 6 w 278"/>
                  <a:gd name="T29" fmla="*/ 16 h 76"/>
                  <a:gd name="T30" fmla="*/ 10 w 278"/>
                  <a:gd name="T31" fmla="*/ 10 h 76"/>
                  <a:gd name="T32" fmla="*/ 16 w 278"/>
                  <a:gd name="T33" fmla="*/ 6 h 76"/>
                  <a:gd name="T34" fmla="*/ 22 w 278"/>
                  <a:gd name="T35" fmla="*/ 2 h 76"/>
                  <a:gd name="T36" fmla="*/ 30 w 278"/>
                  <a:gd name="T37" fmla="*/ 0 h 76"/>
                  <a:gd name="T38" fmla="*/ 38 w 278"/>
                  <a:gd name="T39" fmla="*/ 0 h 76"/>
                  <a:gd name="T40" fmla="*/ 278 w 278"/>
                  <a:gd name="T41" fmla="*/ 0 h 76"/>
                  <a:gd name="T42" fmla="*/ 272 w 278"/>
                  <a:gd name="T43" fmla="*/ 12 h 76"/>
                  <a:gd name="T44" fmla="*/ 272 w 278"/>
                  <a:gd name="T45" fmla="*/ 12 h 76"/>
                  <a:gd name="T46" fmla="*/ 268 w 278"/>
                  <a:gd name="T47" fmla="*/ 24 h 76"/>
                  <a:gd name="T48" fmla="*/ 266 w 278"/>
                  <a:gd name="T49" fmla="*/ 38 h 76"/>
                  <a:gd name="T50" fmla="*/ 266 w 278"/>
                  <a:gd name="T51" fmla="*/ 38 h 76"/>
                  <a:gd name="T52" fmla="*/ 268 w 278"/>
                  <a:gd name="T53" fmla="*/ 50 h 76"/>
                  <a:gd name="T54" fmla="*/ 272 w 278"/>
                  <a:gd name="T55" fmla="*/ 64 h 76"/>
                  <a:gd name="T56" fmla="*/ 278 w 278"/>
                  <a:gd name="T57" fmla="*/ 76 h 76"/>
                  <a:gd name="T58" fmla="*/ 38 w 278"/>
                  <a:gd name="T59" fmla="*/ 18 h 76"/>
                  <a:gd name="T60" fmla="*/ 38 w 278"/>
                  <a:gd name="T61" fmla="*/ 18 h 76"/>
                  <a:gd name="T62" fmla="*/ 30 w 278"/>
                  <a:gd name="T63" fmla="*/ 20 h 76"/>
                  <a:gd name="T64" fmla="*/ 24 w 278"/>
                  <a:gd name="T65" fmla="*/ 24 h 76"/>
                  <a:gd name="T66" fmla="*/ 20 w 278"/>
                  <a:gd name="T67" fmla="*/ 30 h 76"/>
                  <a:gd name="T68" fmla="*/ 18 w 278"/>
                  <a:gd name="T69" fmla="*/ 38 h 76"/>
                  <a:gd name="T70" fmla="*/ 18 w 278"/>
                  <a:gd name="T71" fmla="*/ 38 h 76"/>
                  <a:gd name="T72" fmla="*/ 20 w 278"/>
                  <a:gd name="T73" fmla="*/ 46 h 76"/>
                  <a:gd name="T74" fmla="*/ 24 w 278"/>
                  <a:gd name="T75" fmla="*/ 52 h 76"/>
                  <a:gd name="T76" fmla="*/ 30 w 278"/>
                  <a:gd name="T77" fmla="*/ 56 h 76"/>
                  <a:gd name="T78" fmla="*/ 38 w 278"/>
                  <a:gd name="T79" fmla="*/ 58 h 76"/>
                  <a:gd name="T80" fmla="*/ 252 w 278"/>
                  <a:gd name="T81" fmla="*/ 58 h 76"/>
                  <a:gd name="T82" fmla="*/ 252 w 278"/>
                  <a:gd name="T83" fmla="*/ 58 h 76"/>
                  <a:gd name="T84" fmla="*/ 250 w 278"/>
                  <a:gd name="T85" fmla="*/ 48 h 76"/>
                  <a:gd name="T86" fmla="*/ 248 w 278"/>
                  <a:gd name="T87" fmla="*/ 38 h 76"/>
                  <a:gd name="T88" fmla="*/ 248 w 278"/>
                  <a:gd name="T89" fmla="*/ 38 h 76"/>
                  <a:gd name="T90" fmla="*/ 250 w 278"/>
                  <a:gd name="T91" fmla="*/ 28 h 76"/>
                  <a:gd name="T92" fmla="*/ 252 w 278"/>
                  <a:gd name="T93" fmla="*/ 18 h 76"/>
                  <a:gd name="T94" fmla="*/ 38 w 278"/>
                  <a:gd name="T95"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8" h="76">
                    <a:moveTo>
                      <a:pt x="278" y="76"/>
                    </a:moveTo>
                    <a:lnTo>
                      <a:pt x="38" y="76"/>
                    </a:lnTo>
                    <a:lnTo>
                      <a:pt x="38" y="76"/>
                    </a:lnTo>
                    <a:lnTo>
                      <a:pt x="30" y="76"/>
                    </a:lnTo>
                    <a:lnTo>
                      <a:pt x="22" y="74"/>
                    </a:lnTo>
                    <a:lnTo>
                      <a:pt x="16" y="70"/>
                    </a:lnTo>
                    <a:lnTo>
                      <a:pt x="10" y="64"/>
                    </a:lnTo>
                    <a:lnTo>
                      <a:pt x="6" y="60"/>
                    </a:lnTo>
                    <a:lnTo>
                      <a:pt x="2" y="52"/>
                    </a:lnTo>
                    <a:lnTo>
                      <a:pt x="0" y="46"/>
                    </a:lnTo>
                    <a:lnTo>
                      <a:pt x="0" y="38"/>
                    </a:lnTo>
                    <a:lnTo>
                      <a:pt x="0" y="38"/>
                    </a:lnTo>
                    <a:lnTo>
                      <a:pt x="0" y="30"/>
                    </a:lnTo>
                    <a:lnTo>
                      <a:pt x="2" y="24"/>
                    </a:lnTo>
                    <a:lnTo>
                      <a:pt x="6" y="16"/>
                    </a:lnTo>
                    <a:lnTo>
                      <a:pt x="10" y="10"/>
                    </a:lnTo>
                    <a:lnTo>
                      <a:pt x="16" y="6"/>
                    </a:lnTo>
                    <a:lnTo>
                      <a:pt x="22" y="2"/>
                    </a:lnTo>
                    <a:lnTo>
                      <a:pt x="30" y="0"/>
                    </a:lnTo>
                    <a:lnTo>
                      <a:pt x="38" y="0"/>
                    </a:lnTo>
                    <a:lnTo>
                      <a:pt x="278" y="0"/>
                    </a:lnTo>
                    <a:lnTo>
                      <a:pt x="272" y="12"/>
                    </a:lnTo>
                    <a:lnTo>
                      <a:pt x="272" y="12"/>
                    </a:lnTo>
                    <a:lnTo>
                      <a:pt x="268" y="24"/>
                    </a:lnTo>
                    <a:lnTo>
                      <a:pt x="266" y="38"/>
                    </a:lnTo>
                    <a:lnTo>
                      <a:pt x="266" y="38"/>
                    </a:lnTo>
                    <a:lnTo>
                      <a:pt x="268" y="50"/>
                    </a:lnTo>
                    <a:lnTo>
                      <a:pt x="272" y="64"/>
                    </a:lnTo>
                    <a:lnTo>
                      <a:pt x="278" y="76"/>
                    </a:lnTo>
                    <a:close/>
                    <a:moveTo>
                      <a:pt x="38" y="18"/>
                    </a:moveTo>
                    <a:lnTo>
                      <a:pt x="38" y="18"/>
                    </a:lnTo>
                    <a:lnTo>
                      <a:pt x="30" y="20"/>
                    </a:lnTo>
                    <a:lnTo>
                      <a:pt x="24" y="24"/>
                    </a:lnTo>
                    <a:lnTo>
                      <a:pt x="20" y="30"/>
                    </a:lnTo>
                    <a:lnTo>
                      <a:pt x="18" y="38"/>
                    </a:lnTo>
                    <a:lnTo>
                      <a:pt x="18" y="38"/>
                    </a:lnTo>
                    <a:lnTo>
                      <a:pt x="20" y="46"/>
                    </a:lnTo>
                    <a:lnTo>
                      <a:pt x="24" y="52"/>
                    </a:lnTo>
                    <a:lnTo>
                      <a:pt x="30" y="56"/>
                    </a:lnTo>
                    <a:lnTo>
                      <a:pt x="38" y="58"/>
                    </a:lnTo>
                    <a:lnTo>
                      <a:pt x="252" y="58"/>
                    </a:lnTo>
                    <a:lnTo>
                      <a:pt x="252" y="58"/>
                    </a:lnTo>
                    <a:lnTo>
                      <a:pt x="250" y="48"/>
                    </a:lnTo>
                    <a:lnTo>
                      <a:pt x="248" y="38"/>
                    </a:lnTo>
                    <a:lnTo>
                      <a:pt x="248" y="38"/>
                    </a:lnTo>
                    <a:lnTo>
                      <a:pt x="250" y="28"/>
                    </a:lnTo>
                    <a:lnTo>
                      <a:pt x="252" y="18"/>
                    </a:lnTo>
                    <a:lnTo>
                      <a:pt x="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2" name="Freeform 43">
                <a:extLst>
                  <a:ext uri="{FF2B5EF4-FFF2-40B4-BE49-F238E27FC236}">
                    <a16:creationId xmlns:a16="http://schemas.microsoft.com/office/drawing/2014/main" id="{08D16694-995A-4924-863B-3EB02D013E98}"/>
                  </a:ext>
                </a:extLst>
              </p:cNvPr>
              <p:cNvSpPr>
                <a:spLocks/>
              </p:cNvSpPr>
              <p:nvPr/>
            </p:nvSpPr>
            <p:spPr bwMode="auto">
              <a:xfrm>
                <a:off x="842" y="889"/>
                <a:ext cx="148" cy="60"/>
              </a:xfrm>
              <a:custGeom>
                <a:avLst/>
                <a:gdLst>
                  <a:gd name="T0" fmla="*/ 16 w 148"/>
                  <a:gd name="T1" fmla="*/ 60 h 60"/>
                  <a:gd name="T2" fmla="*/ 0 w 148"/>
                  <a:gd name="T3" fmla="*/ 52 h 60"/>
                  <a:gd name="T4" fmla="*/ 4 w 148"/>
                  <a:gd name="T5" fmla="*/ 44 h 60"/>
                  <a:gd name="T6" fmla="*/ 4 w 148"/>
                  <a:gd name="T7" fmla="*/ 44 h 60"/>
                  <a:gd name="T8" fmla="*/ 10 w 148"/>
                  <a:gd name="T9" fmla="*/ 36 h 60"/>
                  <a:gd name="T10" fmla="*/ 16 w 148"/>
                  <a:gd name="T11" fmla="*/ 26 h 60"/>
                  <a:gd name="T12" fmla="*/ 24 w 148"/>
                  <a:gd name="T13" fmla="*/ 18 h 60"/>
                  <a:gd name="T14" fmla="*/ 32 w 148"/>
                  <a:gd name="T15" fmla="*/ 12 h 60"/>
                  <a:gd name="T16" fmla="*/ 42 w 148"/>
                  <a:gd name="T17" fmla="*/ 6 h 60"/>
                  <a:gd name="T18" fmla="*/ 52 w 148"/>
                  <a:gd name="T19" fmla="*/ 2 h 60"/>
                  <a:gd name="T20" fmla="*/ 64 w 148"/>
                  <a:gd name="T21" fmla="*/ 0 h 60"/>
                  <a:gd name="T22" fmla="*/ 74 w 148"/>
                  <a:gd name="T23" fmla="*/ 0 h 60"/>
                  <a:gd name="T24" fmla="*/ 74 w 148"/>
                  <a:gd name="T25" fmla="*/ 0 h 60"/>
                  <a:gd name="T26" fmla="*/ 86 w 148"/>
                  <a:gd name="T27" fmla="*/ 0 h 60"/>
                  <a:gd name="T28" fmla="*/ 96 w 148"/>
                  <a:gd name="T29" fmla="*/ 2 h 60"/>
                  <a:gd name="T30" fmla="*/ 106 w 148"/>
                  <a:gd name="T31" fmla="*/ 6 h 60"/>
                  <a:gd name="T32" fmla="*/ 116 w 148"/>
                  <a:gd name="T33" fmla="*/ 12 h 60"/>
                  <a:gd name="T34" fmla="*/ 126 w 148"/>
                  <a:gd name="T35" fmla="*/ 18 h 60"/>
                  <a:gd name="T36" fmla="*/ 132 w 148"/>
                  <a:gd name="T37" fmla="*/ 26 h 60"/>
                  <a:gd name="T38" fmla="*/ 140 w 148"/>
                  <a:gd name="T39" fmla="*/ 36 h 60"/>
                  <a:gd name="T40" fmla="*/ 146 w 148"/>
                  <a:gd name="T41" fmla="*/ 44 h 60"/>
                  <a:gd name="T42" fmla="*/ 148 w 148"/>
                  <a:gd name="T43" fmla="*/ 52 h 60"/>
                  <a:gd name="T44" fmla="*/ 132 w 148"/>
                  <a:gd name="T45" fmla="*/ 60 h 60"/>
                  <a:gd name="T46" fmla="*/ 128 w 148"/>
                  <a:gd name="T47" fmla="*/ 52 h 60"/>
                  <a:gd name="T48" fmla="*/ 128 w 148"/>
                  <a:gd name="T49" fmla="*/ 52 h 60"/>
                  <a:gd name="T50" fmla="*/ 124 w 148"/>
                  <a:gd name="T51" fmla="*/ 44 h 60"/>
                  <a:gd name="T52" fmla="*/ 120 w 148"/>
                  <a:gd name="T53" fmla="*/ 38 h 60"/>
                  <a:gd name="T54" fmla="*/ 106 w 148"/>
                  <a:gd name="T55" fmla="*/ 28 h 60"/>
                  <a:gd name="T56" fmla="*/ 92 w 148"/>
                  <a:gd name="T57" fmla="*/ 20 h 60"/>
                  <a:gd name="T58" fmla="*/ 84 w 148"/>
                  <a:gd name="T59" fmla="*/ 18 h 60"/>
                  <a:gd name="T60" fmla="*/ 74 w 148"/>
                  <a:gd name="T61" fmla="*/ 18 h 60"/>
                  <a:gd name="T62" fmla="*/ 74 w 148"/>
                  <a:gd name="T63" fmla="*/ 18 h 60"/>
                  <a:gd name="T64" fmla="*/ 66 w 148"/>
                  <a:gd name="T65" fmla="*/ 18 h 60"/>
                  <a:gd name="T66" fmla="*/ 58 w 148"/>
                  <a:gd name="T67" fmla="*/ 20 h 60"/>
                  <a:gd name="T68" fmla="*/ 42 w 148"/>
                  <a:gd name="T69" fmla="*/ 28 h 60"/>
                  <a:gd name="T70" fmla="*/ 30 w 148"/>
                  <a:gd name="T71" fmla="*/ 38 h 60"/>
                  <a:gd name="T72" fmla="*/ 24 w 148"/>
                  <a:gd name="T73" fmla="*/ 44 h 60"/>
                  <a:gd name="T74" fmla="*/ 20 w 148"/>
                  <a:gd name="T75" fmla="*/ 52 h 60"/>
                  <a:gd name="T76" fmla="*/ 16 w 148"/>
                  <a:gd name="T7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60">
                    <a:moveTo>
                      <a:pt x="16" y="60"/>
                    </a:moveTo>
                    <a:lnTo>
                      <a:pt x="0" y="52"/>
                    </a:lnTo>
                    <a:lnTo>
                      <a:pt x="4" y="44"/>
                    </a:lnTo>
                    <a:lnTo>
                      <a:pt x="4" y="44"/>
                    </a:lnTo>
                    <a:lnTo>
                      <a:pt x="10" y="36"/>
                    </a:lnTo>
                    <a:lnTo>
                      <a:pt x="16" y="26"/>
                    </a:lnTo>
                    <a:lnTo>
                      <a:pt x="24" y="18"/>
                    </a:lnTo>
                    <a:lnTo>
                      <a:pt x="32" y="12"/>
                    </a:lnTo>
                    <a:lnTo>
                      <a:pt x="42" y="6"/>
                    </a:lnTo>
                    <a:lnTo>
                      <a:pt x="52" y="2"/>
                    </a:lnTo>
                    <a:lnTo>
                      <a:pt x="64" y="0"/>
                    </a:lnTo>
                    <a:lnTo>
                      <a:pt x="74" y="0"/>
                    </a:lnTo>
                    <a:lnTo>
                      <a:pt x="74" y="0"/>
                    </a:lnTo>
                    <a:lnTo>
                      <a:pt x="86" y="0"/>
                    </a:lnTo>
                    <a:lnTo>
                      <a:pt x="96" y="2"/>
                    </a:lnTo>
                    <a:lnTo>
                      <a:pt x="106" y="6"/>
                    </a:lnTo>
                    <a:lnTo>
                      <a:pt x="116" y="12"/>
                    </a:lnTo>
                    <a:lnTo>
                      <a:pt x="126" y="18"/>
                    </a:lnTo>
                    <a:lnTo>
                      <a:pt x="132" y="26"/>
                    </a:lnTo>
                    <a:lnTo>
                      <a:pt x="140" y="36"/>
                    </a:lnTo>
                    <a:lnTo>
                      <a:pt x="146" y="44"/>
                    </a:lnTo>
                    <a:lnTo>
                      <a:pt x="148" y="52"/>
                    </a:lnTo>
                    <a:lnTo>
                      <a:pt x="132" y="60"/>
                    </a:lnTo>
                    <a:lnTo>
                      <a:pt x="128" y="52"/>
                    </a:lnTo>
                    <a:lnTo>
                      <a:pt x="128" y="52"/>
                    </a:lnTo>
                    <a:lnTo>
                      <a:pt x="124" y="44"/>
                    </a:lnTo>
                    <a:lnTo>
                      <a:pt x="120" y="38"/>
                    </a:lnTo>
                    <a:lnTo>
                      <a:pt x="106" y="28"/>
                    </a:lnTo>
                    <a:lnTo>
                      <a:pt x="92" y="20"/>
                    </a:lnTo>
                    <a:lnTo>
                      <a:pt x="84" y="18"/>
                    </a:lnTo>
                    <a:lnTo>
                      <a:pt x="74" y="18"/>
                    </a:lnTo>
                    <a:lnTo>
                      <a:pt x="74" y="18"/>
                    </a:lnTo>
                    <a:lnTo>
                      <a:pt x="66" y="18"/>
                    </a:lnTo>
                    <a:lnTo>
                      <a:pt x="58" y="20"/>
                    </a:lnTo>
                    <a:lnTo>
                      <a:pt x="42" y="28"/>
                    </a:lnTo>
                    <a:lnTo>
                      <a:pt x="30" y="38"/>
                    </a:lnTo>
                    <a:lnTo>
                      <a:pt x="24" y="44"/>
                    </a:lnTo>
                    <a:lnTo>
                      <a:pt x="20" y="52"/>
                    </a:lnTo>
                    <a:lnTo>
                      <a:pt x="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44">
                <a:extLst>
                  <a:ext uri="{FF2B5EF4-FFF2-40B4-BE49-F238E27FC236}">
                    <a16:creationId xmlns:a16="http://schemas.microsoft.com/office/drawing/2014/main" id="{50FCB019-3FAD-49ED-9A43-3691C87A1693}"/>
                  </a:ext>
                </a:extLst>
              </p:cNvPr>
              <p:cNvSpPr>
                <a:spLocks/>
              </p:cNvSpPr>
              <p:nvPr/>
            </p:nvSpPr>
            <p:spPr bwMode="auto">
              <a:xfrm>
                <a:off x="934" y="985"/>
                <a:ext cx="56" cy="56"/>
              </a:xfrm>
              <a:custGeom>
                <a:avLst/>
                <a:gdLst>
                  <a:gd name="T0" fmla="*/ 8 w 56"/>
                  <a:gd name="T1" fmla="*/ 56 h 56"/>
                  <a:gd name="T2" fmla="*/ 0 w 56"/>
                  <a:gd name="T3" fmla="*/ 40 h 56"/>
                  <a:gd name="T4" fmla="*/ 8 w 56"/>
                  <a:gd name="T5" fmla="*/ 36 h 56"/>
                  <a:gd name="T6" fmla="*/ 8 w 56"/>
                  <a:gd name="T7" fmla="*/ 36 h 56"/>
                  <a:gd name="T8" fmla="*/ 16 w 56"/>
                  <a:gd name="T9" fmla="*/ 32 h 56"/>
                  <a:gd name="T10" fmla="*/ 24 w 56"/>
                  <a:gd name="T11" fmla="*/ 24 h 56"/>
                  <a:gd name="T12" fmla="*/ 32 w 56"/>
                  <a:gd name="T13" fmla="*/ 16 h 56"/>
                  <a:gd name="T14" fmla="*/ 36 w 56"/>
                  <a:gd name="T15" fmla="*/ 8 h 56"/>
                  <a:gd name="T16" fmla="*/ 40 w 56"/>
                  <a:gd name="T17" fmla="*/ 0 h 56"/>
                  <a:gd name="T18" fmla="*/ 56 w 56"/>
                  <a:gd name="T19" fmla="*/ 6 h 56"/>
                  <a:gd name="T20" fmla="*/ 54 w 56"/>
                  <a:gd name="T21" fmla="*/ 16 h 56"/>
                  <a:gd name="T22" fmla="*/ 54 w 56"/>
                  <a:gd name="T23" fmla="*/ 16 h 56"/>
                  <a:gd name="T24" fmla="*/ 46 w 56"/>
                  <a:gd name="T25" fmla="*/ 26 h 56"/>
                  <a:gd name="T26" fmla="*/ 38 w 56"/>
                  <a:gd name="T27" fmla="*/ 38 h 56"/>
                  <a:gd name="T28" fmla="*/ 28 w 56"/>
                  <a:gd name="T29" fmla="*/ 46 h 56"/>
                  <a:gd name="T30" fmla="*/ 16 w 56"/>
                  <a:gd name="T31" fmla="*/ 52 h 56"/>
                  <a:gd name="T32" fmla="*/ 8 w 56"/>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8" y="56"/>
                    </a:moveTo>
                    <a:lnTo>
                      <a:pt x="0" y="40"/>
                    </a:lnTo>
                    <a:lnTo>
                      <a:pt x="8" y="36"/>
                    </a:lnTo>
                    <a:lnTo>
                      <a:pt x="8" y="36"/>
                    </a:lnTo>
                    <a:lnTo>
                      <a:pt x="16" y="32"/>
                    </a:lnTo>
                    <a:lnTo>
                      <a:pt x="24" y="24"/>
                    </a:lnTo>
                    <a:lnTo>
                      <a:pt x="32" y="16"/>
                    </a:lnTo>
                    <a:lnTo>
                      <a:pt x="36" y="8"/>
                    </a:lnTo>
                    <a:lnTo>
                      <a:pt x="40" y="0"/>
                    </a:lnTo>
                    <a:lnTo>
                      <a:pt x="56" y="6"/>
                    </a:lnTo>
                    <a:lnTo>
                      <a:pt x="54" y="16"/>
                    </a:lnTo>
                    <a:lnTo>
                      <a:pt x="54" y="16"/>
                    </a:lnTo>
                    <a:lnTo>
                      <a:pt x="46" y="26"/>
                    </a:lnTo>
                    <a:lnTo>
                      <a:pt x="38" y="38"/>
                    </a:lnTo>
                    <a:lnTo>
                      <a:pt x="28" y="46"/>
                    </a:lnTo>
                    <a:lnTo>
                      <a:pt x="16" y="52"/>
                    </a:lnTo>
                    <a:lnTo>
                      <a:pt x="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45">
                <a:extLst>
                  <a:ext uri="{FF2B5EF4-FFF2-40B4-BE49-F238E27FC236}">
                    <a16:creationId xmlns:a16="http://schemas.microsoft.com/office/drawing/2014/main" id="{9E18EA9A-E36F-4E95-B309-CFF05B28625F}"/>
                  </a:ext>
                </a:extLst>
              </p:cNvPr>
              <p:cNvSpPr>
                <a:spLocks/>
              </p:cNvSpPr>
              <p:nvPr/>
            </p:nvSpPr>
            <p:spPr bwMode="auto">
              <a:xfrm>
                <a:off x="842" y="985"/>
                <a:ext cx="58" cy="56"/>
              </a:xfrm>
              <a:custGeom>
                <a:avLst/>
                <a:gdLst>
                  <a:gd name="T0" fmla="*/ 50 w 58"/>
                  <a:gd name="T1" fmla="*/ 56 h 56"/>
                  <a:gd name="T2" fmla="*/ 42 w 58"/>
                  <a:gd name="T3" fmla="*/ 52 h 56"/>
                  <a:gd name="T4" fmla="*/ 42 w 58"/>
                  <a:gd name="T5" fmla="*/ 52 h 56"/>
                  <a:gd name="T6" fmla="*/ 30 w 58"/>
                  <a:gd name="T7" fmla="*/ 46 h 56"/>
                  <a:gd name="T8" fmla="*/ 20 w 58"/>
                  <a:gd name="T9" fmla="*/ 38 h 56"/>
                  <a:gd name="T10" fmla="*/ 10 w 58"/>
                  <a:gd name="T11" fmla="*/ 26 h 56"/>
                  <a:gd name="T12" fmla="*/ 4 w 58"/>
                  <a:gd name="T13" fmla="*/ 16 h 56"/>
                  <a:gd name="T14" fmla="*/ 0 w 58"/>
                  <a:gd name="T15" fmla="*/ 6 h 56"/>
                  <a:gd name="T16" fmla="*/ 16 w 58"/>
                  <a:gd name="T17" fmla="*/ 0 h 56"/>
                  <a:gd name="T18" fmla="*/ 20 w 58"/>
                  <a:gd name="T19" fmla="*/ 8 h 56"/>
                  <a:gd name="T20" fmla="*/ 20 w 58"/>
                  <a:gd name="T21" fmla="*/ 8 h 56"/>
                  <a:gd name="T22" fmla="*/ 26 w 58"/>
                  <a:gd name="T23" fmla="*/ 16 h 56"/>
                  <a:gd name="T24" fmla="*/ 32 w 58"/>
                  <a:gd name="T25" fmla="*/ 24 h 56"/>
                  <a:gd name="T26" fmla="*/ 40 w 58"/>
                  <a:gd name="T27" fmla="*/ 32 h 56"/>
                  <a:gd name="T28" fmla="*/ 48 w 58"/>
                  <a:gd name="T29" fmla="*/ 36 h 56"/>
                  <a:gd name="T30" fmla="*/ 58 w 58"/>
                  <a:gd name="T31" fmla="*/ 40 h 56"/>
                  <a:gd name="T32" fmla="*/ 50 w 58"/>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6">
                    <a:moveTo>
                      <a:pt x="50" y="56"/>
                    </a:moveTo>
                    <a:lnTo>
                      <a:pt x="42" y="52"/>
                    </a:lnTo>
                    <a:lnTo>
                      <a:pt x="42" y="52"/>
                    </a:lnTo>
                    <a:lnTo>
                      <a:pt x="30" y="46"/>
                    </a:lnTo>
                    <a:lnTo>
                      <a:pt x="20" y="38"/>
                    </a:lnTo>
                    <a:lnTo>
                      <a:pt x="10" y="26"/>
                    </a:lnTo>
                    <a:lnTo>
                      <a:pt x="4" y="16"/>
                    </a:lnTo>
                    <a:lnTo>
                      <a:pt x="0" y="6"/>
                    </a:lnTo>
                    <a:lnTo>
                      <a:pt x="16" y="0"/>
                    </a:lnTo>
                    <a:lnTo>
                      <a:pt x="20" y="8"/>
                    </a:lnTo>
                    <a:lnTo>
                      <a:pt x="20" y="8"/>
                    </a:lnTo>
                    <a:lnTo>
                      <a:pt x="26" y="16"/>
                    </a:lnTo>
                    <a:lnTo>
                      <a:pt x="32" y="24"/>
                    </a:lnTo>
                    <a:lnTo>
                      <a:pt x="40" y="32"/>
                    </a:lnTo>
                    <a:lnTo>
                      <a:pt x="48" y="36"/>
                    </a:lnTo>
                    <a:lnTo>
                      <a:pt x="58" y="40"/>
                    </a:lnTo>
                    <a:lnTo>
                      <a:pt x="5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46">
                <a:extLst>
                  <a:ext uri="{FF2B5EF4-FFF2-40B4-BE49-F238E27FC236}">
                    <a16:creationId xmlns:a16="http://schemas.microsoft.com/office/drawing/2014/main" id="{13955BD6-E33B-4EC8-AB47-325267C1EFC1}"/>
                  </a:ext>
                </a:extLst>
              </p:cNvPr>
              <p:cNvSpPr>
                <a:spLocks noEditPoints="1"/>
              </p:cNvSpPr>
              <p:nvPr/>
            </p:nvSpPr>
            <p:spPr bwMode="auto">
              <a:xfrm>
                <a:off x="576" y="993"/>
                <a:ext cx="154" cy="228"/>
              </a:xfrm>
              <a:custGeom>
                <a:avLst/>
                <a:gdLst>
                  <a:gd name="T0" fmla="*/ 146 w 154"/>
                  <a:gd name="T1" fmla="*/ 228 h 228"/>
                  <a:gd name="T2" fmla="*/ 8 w 154"/>
                  <a:gd name="T3" fmla="*/ 228 h 228"/>
                  <a:gd name="T4" fmla="*/ 0 w 154"/>
                  <a:gd name="T5" fmla="*/ 216 h 228"/>
                  <a:gd name="T6" fmla="*/ 68 w 154"/>
                  <a:gd name="T7" fmla="*/ 0 h 228"/>
                  <a:gd name="T8" fmla="*/ 86 w 154"/>
                  <a:gd name="T9" fmla="*/ 0 h 228"/>
                  <a:gd name="T10" fmla="*/ 154 w 154"/>
                  <a:gd name="T11" fmla="*/ 216 h 228"/>
                  <a:gd name="T12" fmla="*/ 146 w 154"/>
                  <a:gd name="T13" fmla="*/ 228 h 228"/>
                  <a:gd name="T14" fmla="*/ 20 w 154"/>
                  <a:gd name="T15" fmla="*/ 210 h 228"/>
                  <a:gd name="T16" fmla="*/ 134 w 154"/>
                  <a:gd name="T17" fmla="*/ 210 h 228"/>
                  <a:gd name="T18" fmla="*/ 76 w 154"/>
                  <a:gd name="T19" fmla="*/ 32 h 228"/>
                  <a:gd name="T20" fmla="*/ 20 w 154"/>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28">
                    <a:moveTo>
                      <a:pt x="146" y="228"/>
                    </a:moveTo>
                    <a:lnTo>
                      <a:pt x="8" y="228"/>
                    </a:lnTo>
                    <a:lnTo>
                      <a:pt x="0" y="216"/>
                    </a:lnTo>
                    <a:lnTo>
                      <a:pt x="68" y="0"/>
                    </a:lnTo>
                    <a:lnTo>
                      <a:pt x="86" y="0"/>
                    </a:lnTo>
                    <a:lnTo>
                      <a:pt x="154" y="216"/>
                    </a:lnTo>
                    <a:lnTo>
                      <a:pt x="146" y="228"/>
                    </a:lnTo>
                    <a:close/>
                    <a:moveTo>
                      <a:pt x="20" y="210"/>
                    </a:moveTo>
                    <a:lnTo>
                      <a:pt x="134" y="210"/>
                    </a:lnTo>
                    <a:lnTo>
                      <a:pt x="76" y="32"/>
                    </a:lnTo>
                    <a:lnTo>
                      <a:pt x="2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6" name="Freeform 47">
                <a:extLst>
                  <a:ext uri="{FF2B5EF4-FFF2-40B4-BE49-F238E27FC236}">
                    <a16:creationId xmlns:a16="http://schemas.microsoft.com/office/drawing/2014/main" id="{7748F18C-CEF6-4B7B-BF05-5EDF951111AA}"/>
                  </a:ext>
                </a:extLst>
              </p:cNvPr>
              <p:cNvSpPr>
                <a:spLocks noEditPoints="1"/>
              </p:cNvSpPr>
              <p:nvPr/>
            </p:nvSpPr>
            <p:spPr bwMode="auto">
              <a:xfrm>
                <a:off x="1102" y="993"/>
                <a:ext cx="156" cy="228"/>
              </a:xfrm>
              <a:custGeom>
                <a:avLst/>
                <a:gdLst>
                  <a:gd name="T0" fmla="*/ 146 w 156"/>
                  <a:gd name="T1" fmla="*/ 228 h 228"/>
                  <a:gd name="T2" fmla="*/ 10 w 156"/>
                  <a:gd name="T3" fmla="*/ 228 h 228"/>
                  <a:gd name="T4" fmla="*/ 0 w 156"/>
                  <a:gd name="T5" fmla="*/ 216 h 228"/>
                  <a:gd name="T6" fmla="*/ 70 w 156"/>
                  <a:gd name="T7" fmla="*/ 0 h 228"/>
                  <a:gd name="T8" fmla="*/ 86 w 156"/>
                  <a:gd name="T9" fmla="*/ 0 h 228"/>
                  <a:gd name="T10" fmla="*/ 156 w 156"/>
                  <a:gd name="T11" fmla="*/ 216 h 228"/>
                  <a:gd name="T12" fmla="*/ 146 w 156"/>
                  <a:gd name="T13" fmla="*/ 228 h 228"/>
                  <a:gd name="T14" fmla="*/ 22 w 156"/>
                  <a:gd name="T15" fmla="*/ 210 h 228"/>
                  <a:gd name="T16" fmla="*/ 134 w 156"/>
                  <a:gd name="T17" fmla="*/ 210 h 228"/>
                  <a:gd name="T18" fmla="*/ 78 w 156"/>
                  <a:gd name="T19" fmla="*/ 32 h 228"/>
                  <a:gd name="T20" fmla="*/ 22 w 156"/>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28">
                    <a:moveTo>
                      <a:pt x="146" y="228"/>
                    </a:moveTo>
                    <a:lnTo>
                      <a:pt x="10" y="228"/>
                    </a:lnTo>
                    <a:lnTo>
                      <a:pt x="0" y="216"/>
                    </a:lnTo>
                    <a:lnTo>
                      <a:pt x="70" y="0"/>
                    </a:lnTo>
                    <a:lnTo>
                      <a:pt x="86" y="0"/>
                    </a:lnTo>
                    <a:lnTo>
                      <a:pt x="156" y="216"/>
                    </a:lnTo>
                    <a:lnTo>
                      <a:pt x="146" y="228"/>
                    </a:lnTo>
                    <a:close/>
                    <a:moveTo>
                      <a:pt x="22" y="210"/>
                    </a:moveTo>
                    <a:lnTo>
                      <a:pt x="134" y="210"/>
                    </a:lnTo>
                    <a:lnTo>
                      <a:pt x="78" y="32"/>
                    </a:lnTo>
                    <a:lnTo>
                      <a:pt x="22"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7" name="Freeform 48">
                <a:extLst>
                  <a:ext uri="{FF2B5EF4-FFF2-40B4-BE49-F238E27FC236}">
                    <a16:creationId xmlns:a16="http://schemas.microsoft.com/office/drawing/2014/main" id="{7BF41B90-7220-44D6-9D87-C0669781ECB9}"/>
                  </a:ext>
                </a:extLst>
              </p:cNvPr>
              <p:cNvSpPr>
                <a:spLocks noEditPoints="1"/>
              </p:cNvSpPr>
              <p:nvPr/>
            </p:nvSpPr>
            <p:spPr bwMode="auto">
              <a:xfrm>
                <a:off x="528" y="1203"/>
                <a:ext cx="250" cy="134"/>
              </a:xfrm>
              <a:custGeom>
                <a:avLst/>
                <a:gdLst>
                  <a:gd name="T0" fmla="*/ 124 w 250"/>
                  <a:gd name="T1" fmla="*/ 134 h 134"/>
                  <a:gd name="T2" fmla="*/ 124 w 250"/>
                  <a:gd name="T3" fmla="*/ 134 h 134"/>
                  <a:gd name="T4" fmla="*/ 112 w 250"/>
                  <a:gd name="T5" fmla="*/ 134 h 134"/>
                  <a:gd name="T6" fmla="*/ 100 w 250"/>
                  <a:gd name="T7" fmla="*/ 132 h 134"/>
                  <a:gd name="T8" fmla="*/ 88 w 250"/>
                  <a:gd name="T9" fmla="*/ 128 h 134"/>
                  <a:gd name="T10" fmla="*/ 76 w 250"/>
                  <a:gd name="T11" fmla="*/ 124 h 134"/>
                  <a:gd name="T12" fmla="*/ 56 w 250"/>
                  <a:gd name="T13" fmla="*/ 114 h 134"/>
                  <a:gd name="T14" fmla="*/ 36 w 250"/>
                  <a:gd name="T15" fmla="*/ 98 h 134"/>
                  <a:gd name="T16" fmla="*/ 22 w 250"/>
                  <a:gd name="T17" fmla="*/ 80 h 134"/>
                  <a:gd name="T18" fmla="*/ 10 w 250"/>
                  <a:gd name="T19" fmla="*/ 58 h 134"/>
                  <a:gd name="T20" fmla="*/ 6 w 250"/>
                  <a:gd name="T21" fmla="*/ 46 h 134"/>
                  <a:gd name="T22" fmla="*/ 2 w 250"/>
                  <a:gd name="T23" fmla="*/ 34 h 134"/>
                  <a:gd name="T24" fmla="*/ 0 w 250"/>
                  <a:gd name="T25" fmla="*/ 22 h 134"/>
                  <a:gd name="T26" fmla="*/ 0 w 250"/>
                  <a:gd name="T27" fmla="*/ 10 h 134"/>
                  <a:gd name="T28" fmla="*/ 0 w 250"/>
                  <a:gd name="T29" fmla="*/ 0 h 134"/>
                  <a:gd name="T30" fmla="*/ 250 w 250"/>
                  <a:gd name="T31" fmla="*/ 0 h 134"/>
                  <a:gd name="T32" fmla="*/ 250 w 250"/>
                  <a:gd name="T33" fmla="*/ 10 h 134"/>
                  <a:gd name="T34" fmla="*/ 250 w 250"/>
                  <a:gd name="T35" fmla="*/ 10 h 134"/>
                  <a:gd name="T36" fmla="*/ 250 w 250"/>
                  <a:gd name="T37" fmla="*/ 22 h 134"/>
                  <a:gd name="T38" fmla="*/ 248 w 250"/>
                  <a:gd name="T39" fmla="*/ 34 h 134"/>
                  <a:gd name="T40" fmla="*/ 244 w 250"/>
                  <a:gd name="T41" fmla="*/ 46 h 134"/>
                  <a:gd name="T42" fmla="*/ 240 w 250"/>
                  <a:gd name="T43" fmla="*/ 58 h 134"/>
                  <a:gd name="T44" fmla="*/ 228 w 250"/>
                  <a:gd name="T45" fmla="*/ 80 h 134"/>
                  <a:gd name="T46" fmla="*/ 214 w 250"/>
                  <a:gd name="T47" fmla="*/ 98 h 134"/>
                  <a:gd name="T48" fmla="*/ 194 w 250"/>
                  <a:gd name="T49" fmla="*/ 114 h 134"/>
                  <a:gd name="T50" fmla="*/ 174 w 250"/>
                  <a:gd name="T51" fmla="*/ 124 h 134"/>
                  <a:gd name="T52" fmla="*/ 162 w 250"/>
                  <a:gd name="T53" fmla="*/ 128 h 134"/>
                  <a:gd name="T54" fmla="*/ 150 w 250"/>
                  <a:gd name="T55" fmla="*/ 132 h 134"/>
                  <a:gd name="T56" fmla="*/ 138 w 250"/>
                  <a:gd name="T57" fmla="*/ 134 h 134"/>
                  <a:gd name="T58" fmla="*/ 124 w 250"/>
                  <a:gd name="T59" fmla="*/ 134 h 134"/>
                  <a:gd name="T60" fmla="*/ 124 w 250"/>
                  <a:gd name="T61" fmla="*/ 134 h 134"/>
                  <a:gd name="T62" fmla="*/ 18 w 250"/>
                  <a:gd name="T63" fmla="*/ 18 h 134"/>
                  <a:gd name="T64" fmla="*/ 18 w 250"/>
                  <a:gd name="T65" fmla="*/ 18 h 134"/>
                  <a:gd name="T66" fmla="*/ 22 w 250"/>
                  <a:gd name="T67" fmla="*/ 38 h 134"/>
                  <a:gd name="T68" fmla="*/ 30 w 250"/>
                  <a:gd name="T69" fmla="*/ 56 h 134"/>
                  <a:gd name="T70" fmla="*/ 40 w 250"/>
                  <a:gd name="T71" fmla="*/ 74 h 134"/>
                  <a:gd name="T72" fmla="*/ 52 w 250"/>
                  <a:gd name="T73" fmla="*/ 88 h 134"/>
                  <a:gd name="T74" fmla="*/ 68 w 250"/>
                  <a:gd name="T75" fmla="*/ 100 h 134"/>
                  <a:gd name="T76" fmla="*/ 86 w 250"/>
                  <a:gd name="T77" fmla="*/ 108 h 134"/>
                  <a:gd name="T78" fmla="*/ 104 w 250"/>
                  <a:gd name="T79" fmla="*/ 114 h 134"/>
                  <a:gd name="T80" fmla="*/ 124 w 250"/>
                  <a:gd name="T81" fmla="*/ 116 h 134"/>
                  <a:gd name="T82" fmla="*/ 124 w 250"/>
                  <a:gd name="T83" fmla="*/ 116 h 134"/>
                  <a:gd name="T84" fmla="*/ 146 w 250"/>
                  <a:gd name="T85" fmla="*/ 114 h 134"/>
                  <a:gd name="T86" fmla="*/ 164 w 250"/>
                  <a:gd name="T87" fmla="*/ 108 h 134"/>
                  <a:gd name="T88" fmla="*/ 182 w 250"/>
                  <a:gd name="T89" fmla="*/ 100 h 134"/>
                  <a:gd name="T90" fmla="*/ 198 w 250"/>
                  <a:gd name="T91" fmla="*/ 88 h 134"/>
                  <a:gd name="T92" fmla="*/ 210 w 250"/>
                  <a:gd name="T93" fmla="*/ 74 h 134"/>
                  <a:gd name="T94" fmla="*/ 220 w 250"/>
                  <a:gd name="T95" fmla="*/ 56 h 134"/>
                  <a:gd name="T96" fmla="*/ 228 w 250"/>
                  <a:gd name="T97" fmla="*/ 38 h 134"/>
                  <a:gd name="T98" fmla="*/ 232 w 250"/>
                  <a:gd name="T99" fmla="*/ 18 h 134"/>
                  <a:gd name="T100" fmla="*/ 18 w 250"/>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134">
                    <a:moveTo>
                      <a:pt x="124" y="134"/>
                    </a:moveTo>
                    <a:lnTo>
                      <a:pt x="124" y="134"/>
                    </a:lnTo>
                    <a:lnTo>
                      <a:pt x="112" y="134"/>
                    </a:lnTo>
                    <a:lnTo>
                      <a:pt x="100" y="132"/>
                    </a:lnTo>
                    <a:lnTo>
                      <a:pt x="88" y="128"/>
                    </a:lnTo>
                    <a:lnTo>
                      <a:pt x="76" y="124"/>
                    </a:lnTo>
                    <a:lnTo>
                      <a:pt x="56" y="114"/>
                    </a:lnTo>
                    <a:lnTo>
                      <a:pt x="36" y="98"/>
                    </a:lnTo>
                    <a:lnTo>
                      <a:pt x="22" y="80"/>
                    </a:lnTo>
                    <a:lnTo>
                      <a:pt x="10" y="58"/>
                    </a:lnTo>
                    <a:lnTo>
                      <a:pt x="6" y="46"/>
                    </a:lnTo>
                    <a:lnTo>
                      <a:pt x="2" y="34"/>
                    </a:lnTo>
                    <a:lnTo>
                      <a:pt x="0" y="22"/>
                    </a:lnTo>
                    <a:lnTo>
                      <a:pt x="0" y="10"/>
                    </a:lnTo>
                    <a:lnTo>
                      <a:pt x="0" y="0"/>
                    </a:lnTo>
                    <a:lnTo>
                      <a:pt x="250" y="0"/>
                    </a:lnTo>
                    <a:lnTo>
                      <a:pt x="250" y="10"/>
                    </a:lnTo>
                    <a:lnTo>
                      <a:pt x="250" y="10"/>
                    </a:lnTo>
                    <a:lnTo>
                      <a:pt x="250" y="22"/>
                    </a:lnTo>
                    <a:lnTo>
                      <a:pt x="248" y="34"/>
                    </a:lnTo>
                    <a:lnTo>
                      <a:pt x="244" y="46"/>
                    </a:lnTo>
                    <a:lnTo>
                      <a:pt x="240" y="58"/>
                    </a:lnTo>
                    <a:lnTo>
                      <a:pt x="228" y="80"/>
                    </a:lnTo>
                    <a:lnTo>
                      <a:pt x="214" y="98"/>
                    </a:lnTo>
                    <a:lnTo>
                      <a:pt x="194" y="114"/>
                    </a:lnTo>
                    <a:lnTo>
                      <a:pt x="174" y="124"/>
                    </a:lnTo>
                    <a:lnTo>
                      <a:pt x="162" y="128"/>
                    </a:lnTo>
                    <a:lnTo>
                      <a:pt x="150" y="132"/>
                    </a:lnTo>
                    <a:lnTo>
                      <a:pt x="138" y="134"/>
                    </a:lnTo>
                    <a:lnTo>
                      <a:pt x="124" y="134"/>
                    </a:lnTo>
                    <a:lnTo>
                      <a:pt x="124" y="134"/>
                    </a:lnTo>
                    <a:close/>
                    <a:moveTo>
                      <a:pt x="18" y="18"/>
                    </a:moveTo>
                    <a:lnTo>
                      <a:pt x="18" y="18"/>
                    </a:lnTo>
                    <a:lnTo>
                      <a:pt x="22" y="38"/>
                    </a:lnTo>
                    <a:lnTo>
                      <a:pt x="30" y="56"/>
                    </a:lnTo>
                    <a:lnTo>
                      <a:pt x="40" y="74"/>
                    </a:lnTo>
                    <a:lnTo>
                      <a:pt x="52" y="88"/>
                    </a:lnTo>
                    <a:lnTo>
                      <a:pt x="68" y="100"/>
                    </a:lnTo>
                    <a:lnTo>
                      <a:pt x="86" y="108"/>
                    </a:lnTo>
                    <a:lnTo>
                      <a:pt x="104" y="114"/>
                    </a:lnTo>
                    <a:lnTo>
                      <a:pt x="124" y="116"/>
                    </a:lnTo>
                    <a:lnTo>
                      <a:pt x="124" y="116"/>
                    </a:lnTo>
                    <a:lnTo>
                      <a:pt x="146" y="114"/>
                    </a:lnTo>
                    <a:lnTo>
                      <a:pt x="164" y="108"/>
                    </a:lnTo>
                    <a:lnTo>
                      <a:pt x="182" y="100"/>
                    </a:lnTo>
                    <a:lnTo>
                      <a:pt x="198" y="88"/>
                    </a:lnTo>
                    <a:lnTo>
                      <a:pt x="210" y="74"/>
                    </a:lnTo>
                    <a:lnTo>
                      <a:pt x="220" y="56"/>
                    </a:lnTo>
                    <a:lnTo>
                      <a:pt x="228" y="38"/>
                    </a:lnTo>
                    <a:lnTo>
                      <a:pt x="232"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8" name="Freeform 49">
                <a:extLst>
                  <a:ext uri="{FF2B5EF4-FFF2-40B4-BE49-F238E27FC236}">
                    <a16:creationId xmlns:a16="http://schemas.microsoft.com/office/drawing/2014/main" id="{4FFD0141-97D2-4B3D-9EF5-F913239C1F23}"/>
                  </a:ext>
                </a:extLst>
              </p:cNvPr>
              <p:cNvSpPr>
                <a:spLocks noEditPoints="1"/>
              </p:cNvSpPr>
              <p:nvPr/>
            </p:nvSpPr>
            <p:spPr bwMode="auto">
              <a:xfrm>
                <a:off x="1056" y="1203"/>
                <a:ext cx="248" cy="134"/>
              </a:xfrm>
              <a:custGeom>
                <a:avLst/>
                <a:gdLst>
                  <a:gd name="T0" fmla="*/ 124 w 248"/>
                  <a:gd name="T1" fmla="*/ 134 h 134"/>
                  <a:gd name="T2" fmla="*/ 124 w 248"/>
                  <a:gd name="T3" fmla="*/ 134 h 134"/>
                  <a:gd name="T4" fmla="*/ 112 w 248"/>
                  <a:gd name="T5" fmla="*/ 134 h 134"/>
                  <a:gd name="T6" fmla="*/ 98 w 248"/>
                  <a:gd name="T7" fmla="*/ 132 h 134"/>
                  <a:gd name="T8" fmla="*/ 86 w 248"/>
                  <a:gd name="T9" fmla="*/ 128 h 134"/>
                  <a:gd name="T10" fmla="*/ 76 w 248"/>
                  <a:gd name="T11" fmla="*/ 124 h 134"/>
                  <a:gd name="T12" fmla="*/ 54 w 248"/>
                  <a:gd name="T13" fmla="*/ 114 h 134"/>
                  <a:gd name="T14" fmla="*/ 36 w 248"/>
                  <a:gd name="T15" fmla="*/ 98 h 134"/>
                  <a:gd name="T16" fmla="*/ 20 w 248"/>
                  <a:gd name="T17" fmla="*/ 80 h 134"/>
                  <a:gd name="T18" fmla="*/ 8 w 248"/>
                  <a:gd name="T19" fmla="*/ 58 h 134"/>
                  <a:gd name="T20" fmla="*/ 4 w 248"/>
                  <a:gd name="T21" fmla="*/ 46 h 134"/>
                  <a:gd name="T22" fmla="*/ 2 w 248"/>
                  <a:gd name="T23" fmla="*/ 34 h 134"/>
                  <a:gd name="T24" fmla="*/ 0 w 248"/>
                  <a:gd name="T25" fmla="*/ 22 h 134"/>
                  <a:gd name="T26" fmla="*/ 0 w 248"/>
                  <a:gd name="T27" fmla="*/ 10 h 134"/>
                  <a:gd name="T28" fmla="*/ 0 w 248"/>
                  <a:gd name="T29" fmla="*/ 0 h 134"/>
                  <a:gd name="T30" fmla="*/ 248 w 248"/>
                  <a:gd name="T31" fmla="*/ 0 h 134"/>
                  <a:gd name="T32" fmla="*/ 248 w 248"/>
                  <a:gd name="T33" fmla="*/ 10 h 134"/>
                  <a:gd name="T34" fmla="*/ 248 w 248"/>
                  <a:gd name="T35" fmla="*/ 10 h 134"/>
                  <a:gd name="T36" fmla="*/ 248 w 248"/>
                  <a:gd name="T37" fmla="*/ 22 h 134"/>
                  <a:gd name="T38" fmla="*/ 246 w 248"/>
                  <a:gd name="T39" fmla="*/ 34 h 134"/>
                  <a:gd name="T40" fmla="*/ 244 w 248"/>
                  <a:gd name="T41" fmla="*/ 46 h 134"/>
                  <a:gd name="T42" fmla="*/ 240 w 248"/>
                  <a:gd name="T43" fmla="*/ 58 h 134"/>
                  <a:gd name="T44" fmla="*/ 228 w 248"/>
                  <a:gd name="T45" fmla="*/ 80 h 134"/>
                  <a:gd name="T46" fmla="*/ 212 w 248"/>
                  <a:gd name="T47" fmla="*/ 98 h 134"/>
                  <a:gd name="T48" fmla="*/ 194 w 248"/>
                  <a:gd name="T49" fmla="*/ 114 h 134"/>
                  <a:gd name="T50" fmla="*/ 172 w 248"/>
                  <a:gd name="T51" fmla="*/ 124 h 134"/>
                  <a:gd name="T52" fmla="*/ 162 w 248"/>
                  <a:gd name="T53" fmla="*/ 128 h 134"/>
                  <a:gd name="T54" fmla="*/ 150 w 248"/>
                  <a:gd name="T55" fmla="*/ 132 h 134"/>
                  <a:gd name="T56" fmla="*/ 136 w 248"/>
                  <a:gd name="T57" fmla="*/ 134 h 134"/>
                  <a:gd name="T58" fmla="*/ 124 w 248"/>
                  <a:gd name="T59" fmla="*/ 134 h 134"/>
                  <a:gd name="T60" fmla="*/ 124 w 248"/>
                  <a:gd name="T61" fmla="*/ 134 h 134"/>
                  <a:gd name="T62" fmla="*/ 18 w 248"/>
                  <a:gd name="T63" fmla="*/ 18 h 134"/>
                  <a:gd name="T64" fmla="*/ 18 w 248"/>
                  <a:gd name="T65" fmla="*/ 18 h 134"/>
                  <a:gd name="T66" fmla="*/ 22 w 248"/>
                  <a:gd name="T67" fmla="*/ 38 h 134"/>
                  <a:gd name="T68" fmla="*/ 28 w 248"/>
                  <a:gd name="T69" fmla="*/ 56 h 134"/>
                  <a:gd name="T70" fmla="*/ 38 w 248"/>
                  <a:gd name="T71" fmla="*/ 74 h 134"/>
                  <a:gd name="T72" fmla="*/ 52 w 248"/>
                  <a:gd name="T73" fmla="*/ 88 h 134"/>
                  <a:gd name="T74" fmla="*/ 66 w 248"/>
                  <a:gd name="T75" fmla="*/ 100 h 134"/>
                  <a:gd name="T76" fmla="*/ 84 w 248"/>
                  <a:gd name="T77" fmla="*/ 108 h 134"/>
                  <a:gd name="T78" fmla="*/ 104 w 248"/>
                  <a:gd name="T79" fmla="*/ 114 h 134"/>
                  <a:gd name="T80" fmla="*/ 124 w 248"/>
                  <a:gd name="T81" fmla="*/ 116 h 134"/>
                  <a:gd name="T82" fmla="*/ 124 w 248"/>
                  <a:gd name="T83" fmla="*/ 116 h 134"/>
                  <a:gd name="T84" fmla="*/ 144 w 248"/>
                  <a:gd name="T85" fmla="*/ 114 h 134"/>
                  <a:gd name="T86" fmla="*/ 164 w 248"/>
                  <a:gd name="T87" fmla="*/ 108 h 134"/>
                  <a:gd name="T88" fmla="*/ 182 w 248"/>
                  <a:gd name="T89" fmla="*/ 100 h 134"/>
                  <a:gd name="T90" fmla="*/ 196 w 248"/>
                  <a:gd name="T91" fmla="*/ 88 h 134"/>
                  <a:gd name="T92" fmla="*/ 210 w 248"/>
                  <a:gd name="T93" fmla="*/ 74 h 134"/>
                  <a:gd name="T94" fmla="*/ 220 w 248"/>
                  <a:gd name="T95" fmla="*/ 56 h 134"/>
                  <a:gd name="T96" fmla="*/ 226 w 248"/>
                  <a:gd name="T97" fmla="*/ 38 h 134"/>
                  <a:gd name="T98" fmla="*/ 230 w 248"/>
                  <a:gd name="T99" fmla="*/ 18 h 134"/>
                  <a:gd name="T100" fmla="*/ 18 w 248"/>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34">
                    <a:moveTo>
                      <a:pt x="124" y="134"/>
                    </a:moveTo>
                    <a:lnTo>
                      <a:pt x="124" y="134"/>
                    </a:lnTo>
                    <a:lnTo>
                      <a:pt x="112" y="134"/>
                    </a:lnTo>
                    <a:lnTo>
                      <a:pt x="98" y="132"/>
                    </a:lnTo>
                    <a:lnTo>
                      <a:pt x="86" y="128"/>
                    </a:lnTo>
                    <a:lnTo>
                      <a:pt x="76" y="124"/>
                    </a:lnTo>
                    <a:lnTo>
                      <a:pt x="54" y="114"/>
                    </a:lnTo>
                    <a:lnTo>
                      <a:pt x="36" y="98"/>
                    </a:lnTo>
                    <a:lnTo>
                      <a:pt x="20" y="80"/>
                    </a:lnTo>
                    <a:lnTo>
                      <a:pt x="8" y="58"/>
                    </a:lnTo>
                    <a:lnTo>
                      <a:pt x="4" y="46"/>
                    </a:lnTo>
                    <a:lnTo>
                      <a:pt x="2" y="34"/>
                    </a:lnTo>
                    <a:lnTo>
                      <a:pt x="0" y="22"/>
                    </a:lnTo>
                    <a:lnTo>
                      <a:pt x="0" y="10"/>
                    </a:lnTo>
                    <a:lnTo>
                      <a:pt x="0" y="0"/>
                    </a:lnTo>
                    <a:lnTo>
                      <a:pt x="248" y="0"/>
                    </a:lnTo>
                    <a:lnTo>
                      <a:pt x="248" y="10"/>
                    </a:lnTo>
                    <a:lnTo>
                      <a:pt x="248" y="10"/>
                    </a:lnTo>
                    <a:lnTo>
                      <a:pt x="248" y="22"/>
                    </a:lnTo>
                    <a:lnTo>
                      <a:pt x="246" y="34"/>
                    </a:lnTo>
                    <a:lnTo>
                      <a:pt x="244" y="46"/>
                    </a:lnTo>
                    <a:lnTo>
                      <a:pt x="240" y="58"/>
                    </a:lnTo>
                    <a:lnTo>
                      <a:pt x="228" y="80"/>
                    </a:lnTo>
                    <a:lnTo>
                      <a:pt x="212" y="98"/>
                    </a:lnTo>
                    <a:lnTo>
                      <a:pt x="194" y="114"/>
                    </a:lnTo>
                    <a:lnTo>
                      <a:pt x="172" y="124"/>
                    </a:lnTo>
                    <a:lnTo>
                      <a:pt x="162" y="128"/>
                    </a:lnTo>
                    <a:lnTo>
                      <a:pt x="150" y="132"/>
                    </a:lnTo>
                    <a:lnTo>
                      <a:pt x="136" y="134"/>
                    </a:lnTo>
                    <a:lnTo>
                      <a:pt x="124" y="134"/>
                    </a:lnTo>
                    <a:lnTo>
                      <a:pt x="124" y="134"/>
                    </a:lnTo>
                    <a:close/>
                    <a:moveTo>
                      <a:pt x="18" y="18"/>
                    </a:moveTo>
                    <a:lnTo>
                      <a:pt x="18" y="18"/>
                    </a:lnTo>
                    <a:lnTo>
                      <a:pt x="22" y="38"/>
                    </a:lnTo>
                    <a:lnTo>
                      <a:pt x="28" y="56"/>
                    </a:lnTo>
                    <a:lnTo>
                      <a:pt x="38" y="74"/>
                    </a:lnTo>
                    <a:lnTo>
                      <a:pt x="52" y="88"/>
                    </a:lnTo>
                    <a:lnTo>
                      <a:pt x="66" y="100"/>
                    </a:lnTo>
                    <a:lnTo>
                      <a:pt x="84" y="108"/>
                    </a:lnTo>
                    <a:lnTo>
                      <a:pt x="104" y="114"/>
                    </a:lnTo>
                    <a:lnTo>
                      <a:pt x="124" y="116"/>
                    </a:lnTo>
                    <a:lnTo>
                      <a:pt x="124" y="116"/>
                    </a:lnTo>
                    <a:lnTo>
                      <a:pt x="144" y="114"/>
                    </a:lnTo>
                    <a:lnTo>
                      <a:pt x="164" y="108"/>
                    </a:lnTo>
                    <a:lnTo>
                      <a:pt x="182" y="100"/>
                    </a:lnTo>
                    <a:lnTo>
                      <a:pt x="196" y="88"/>
                    </a:lnTo>
                    <a:lnTo>
                      <a:pt x="210" y="74"/>
                    </a:lnTo>
                    <a:lnTo>
                      <a:pt x="220" y="56"/>
                    </a:lnTo>
                    <a:lnTo>
                      <a:pt x="226" y="38"/>
                    </a:lnTo>
                    <a:lnTo>
                      <a:pt x="230"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9" name="Freeform 50">
                <a:extLst>
                  <a:ext uri="{FF2B5EF4-FFF2-40B4-BE49-F238E27FC236}">
                    <a16:creationId xmlns:a16="http://schemas.microsoft.com/office/drawing/2014/main" id="{95BD89CF-056B-42C6-BDEF-BEF833BEA382}"/>
                  </a:ext>
                </a:extLst>
              </p:cNvPr>
              <p:cNvSpPr>
                <a:spLocks/>
              </p:cNvSpPr>
              <p:nvPr/>
            </p:nvSpPr>
            <p:spPr bwMode="auto">
              <a:xfrm>
                <a:off x="800" y="843"/>
                <a:ext cx="232" cy="86"/>
              </a:xfrm>
              <a:custGeom>
                <a:avLst/>
                <a:gdLst>
                  <a:gd name="T0" fmla="*/ 216 w 232"/>
                  <a:gd name="T1" fmla="*/ 86 h 86"/>
                  <a:gd name="T2" fmla="*/ 212 w 232"/>
                  <a:gd name="T3" fmla="*/ 78 h 86"/>
                  <a:gd name="T4" fmla="*/ 212 w 232"/>
                  <a:gd name="T5" fmla="*/ 78 h 86"/>
                  <a:gd name="T6" fmla="*/ 204 w 232"/>
                  <a:gd name="T7" fmla="*/ 66 h 86"/>
                  <a:gd name="T8" fmla="*/ 196 w 232"/>
                  <a:gd name="T9" fmla="*/ 54 h 86"/>
                  <a:gd name="T10" fmla="*/ 184 w 232"/>
                  <a:gd name="T11" fmla="*/ 44 h 86"/>
                  <a:gd name="T12" fmla="*/ 172 w 232"/>
                  <a:gd name="T13" fmla="*/ 34 h 86"/>
                  <a:gd name="T14" fmla="*/ 160 w 232"/>
                  <a:gd name="T15" fmla="*/ 28 h 86"/>
                  <a:gd name="T16" fmla="*/ 146 w 232"/>
                  <a:gd name="T17" fmla="*/ 22 h 86"/>
                  <a:gd name="T18" fmla="*/ 132 w 232"/>
                  <a:gd name="T19" fmla="*/ 20 h 86"/>
                  <a:gd name="T20" fmla="*/ 116 w 232"/>
                  <a:gd name="T21" fmla="*/ 18 h 86"/>
                  <a:gd name="T22" fmla="*/ 116 w 232"/>
                  <a:gd name="T23" fmla="*/ 18 h 86"/>
                  <a:gd name="T24" fmla="*/ 102 w 232"/>
                  <a:gd name="T25" fmla="*/ 20 h 86"/>
                  <a:gd name="T26" fmla="*/ 86 w 232"/>
                  <a:gd name="T27" fmla="*/ 22 h 86"/>
                  <a:gd name="T28" fmla="*/ 74 w 232"/>
                  <a:gd name="T29" fmla="*/ 28 h 86"/>
                  <a:gd name="T30" fmla="*/ 60 w 232"/>
                  <a:gd name="T31" fmla="*/ 34 h 86"/>
                  <a:gd name="T32" fmla="*/ 48 w 232"/>
                  <a:gd name="T33" fmla="*/ 44 h 86"/>
                  <a:gd name="T34" fmla="*/ 38 w 232"/>
                  <a:gd name="T35" fmla="*/ 54 h 86"/>
                  <a:gd name="T36" fmla="*/ 28 w 232"/>
                  <a:gd name="T37" fmla="*/ 66 h 86"/>
                  <a:gd name="T38" fmla="*/ 20 w 232"/>
                  <a:gd name="T39" fmla="*/ 78 h 86"/>
                  <a:gd name="T40" fmla="*/ 18 w 232"/>
                  <a:gd name="T41" fmla="*/ 86 h 86"/>
                  <a:gd name="T42" fmla="*/ 0 w 232"/>
                  <a:gd name="T43" fmla="*/ 78 h 86"/>
                  <a:gd name="T44" fmla="*/ 4 w 232"/>
                  <a:gd name="T45" fmla="*/ 70 h 86"/>
                  <a:gd name="T46" fmla="*/ 4 w 232"/>
                  <a:gd name="T47" fmla="*/ 70 h 86"/>
                  <a:gd name="T48" fmla="*/ 14 w 232"/>
                  <a:gd name="T49" fmla="*/ 56 h 86"/>
                  <a:gd name="T50" fmla="*/ 24 w 232"/>
                  <a:gd name="T51" fmla="*/ 42 h 86"/>
                  <a:gd name="T52" fmla="*/ 36 w 232"/>
                  <a:gd name="T53" fmla="*/ 30 h 86"/>
                  <a:gd name="T54" fmla="*/ 50 w 232"/>
                  <a:gd name="T55" fmla="*/ 20 h 86"/>
                  <a:gd name="T56" fmla="*/ 66 w 232"/>
                  <a:gd name="T57" fmla="*/ 12 h 86"/>
                  <a:gd name="T58" fmla="*/ 82 w 232"/>
                  <a:gd name="T59" fmla="*/ 6 h 86"/>
                  <a:gd name="T60" fmla="*/ 98 w 232"/>
                  <a:gd name="T61" fmla="*/ 2 h 86"/>
                  <a:gd name="T62" fmla="*/ 116 w 232"/>
                  <a:gd name="T63" fmla="*/ 0 h 86"/>
                  <a:gd name="T64" fmla="*/ 116 w 232"/>
                  <a:gd name="T65" fmla="*/ 0 h 86"/>
                  <a:gd name="T66" fmla="*/ 134 w 232"/>
                  <a:gd name="T67" fmla="*/ 2 h 86"/>
                  <a:gd name="T68" fmla="*/ 152 w 232"/>
                  <a:gd name="T69" fmla="*/ 6 h 86"/>
                  <a:gd name="T70" fmla="*/ 168 w 232"/>
                  <a:gd name="T71" fmla="*/ 12 h 86"/>
                  <a:gd name="T72" fmla="*/ 182 w 232"/>
                  <a:gd name="T73" fmla="*/ 20 h 86"/>
                  <a:gd name="T74" fmla="*/ 196 w 232"/>
                  <a:gd name="T75" fmla="*/ 30 h 86"/>
                  <a:gd name="T76" fmla="*/ 208 w 232"/>
                  <a:gd name="T77" fmla="*/ 42 h 86"/>
                  <a:gd name="T78" fmla="*/ 220 w 232"/>
                  <a:gd name="T79" fmla="*/ 56 h 86"/>
                  <a:gd name="T80" fmla="*/ 228 w 232"/>
                  <a:gd name="T81" fmla="*/ 70 h 86"/>
                  <a:gd name="T82" fmla="*/ 232 w 232"/>
                  <a:gd name="T83" fmla="*/ 78 h 86"/>
                  <a:gd name="T84" fmla="*/ 216 w 232"/>
                  <a:gd name="T8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86">
                    <a:moveTo>
                      <a:pt x="216" y="86"/>
                    </a:moveTo>
                    <a:lnTo>
                      <a:pt x="212" y="78"/>
                    </a:lnTo>
                    <a:lnTo>
                      <a:pt x="212" y="78"/>
                    </a:lnTo>
                    <a:lnTo>
                      <a:pt x="204" y="66"/>
                    </a:lnTo>
                    <a:lnTo>
                      <a:pt x="196" y="54"/>
                    </a:lnTo>
                    <a:lnTo>
                      <a:pt x="184" y="44"/>
                    </a:lnTo>
                    <a:lnTo>
                      <a:pt x="172" y="34"/>
                    </a:lnTo>
                    <a:lnTo>
                      <a:pt x="160" y="28"/>
                    </a:lnTo>
                    <a:lnTo>
                      <a:pt x="146" y="22"/>
                    </a:lnTo>
                    <a:lnTo>
                      <a:pt x="132" y="20"/>
                    </a:lnTo>
                    <a:lnTo>
                      <a:pt x="116" y="18"/>
                    </a:lnTo>
                    <a:lnTo>
                      <a:pt x="116" y="18"/>
                    </a:lnTo>
                    <a:lnTo>
                      <a:pt x="102" y="20"/>
                    </a:lnTo>
                    <a:lnTo>
                      <a:pt x="86" y="22"/>
                    </a:lnTo>
                    <a:lnTo>
                      <a:pt x="74" y="28"/>
                    </a:lnTo>
                    <a:lnTo>
                      <a:pt x="60" y="34"/>
                    </a:lnTo>
                    <a:lnTo>
                      <a:pt x="48" y="44"/>
                    </a:lnTo>
                    <a:lnTo>
                      <a:pt x="38" y="54"/>
                    </a:lnTo>
                    <a:lnTo>
                      <a:pt x="28" y="66"/>
                    </a:lnTo>
                    <a:lnTo>
                      <a:pt x="20" y="78"/>
                    </a:lnTo>
                    <a:lnTo>
                      <a:pt x="18" y="86"/>
                    </a:lnTo>
                    <a:lnTo>
                      <a:pt x="0" y="78"/>
                    </a:lnTo>
                    <a:lnTo>
                      <a:pt x="4" y="70"/>
                    </a:lnTo>
                    <a:lnTo>
                      <a:pt x="4" y="70"/>
                    </a:lnTo>
                    <a:lnTo>
                      <a:pt x="14" y="56"/>
                    </a:lnTo>
                    <a:lnTo>
                      <a:pt x="24" y="42"/>
                    </a:lnTo>
                    <a:lnTo>
                      <a:pt x="36" y="30"/>
                    </a:lnTo>
                    <a:lnTo>
                      <a:pt x="50" y="20"/>
                    </a:lnTo>
                    <a:lnTo>
                      <a:pt x="66" y="12"/>
                    </a:lnTo>
                    <a:lnTo>
                      <a:pt x="82" y="6"/>
                    </a:lnTo>
                    <a:lnTo>
                      <a:pt x="98" y="2"/>
                    </a:lnTo>
                    <a:lnTo>
                      <a:pt x="116" y="0"/>
                    </a:lnTo>
                    <a:lnTo>
                      <a:pt x="116" y="0"/>
                    </a:lnTo>
                    <a:lnTo>
                      <a:pt x="134" y="2"/>
                    </a:lnTo>
                    <a:lnTo>
                      <a:pt x="152" y="6"/>
                    </a:lnTo>
                    <a:lnTo>
                      <a:pt x="168" y="12"/>
                    </a:lnTo>
                    <a:lnTo>
                      <a:pt x="182" y="20"/>
                    </a:lnTo>
                    <a:lnTo>
                      <a:pt x="196" y="30"/>
                    </a:lnTo>
                    <a:lnTo>
                      <a:pt x="208" y="42"/>
                    </a:lnTo>
                    <a:lnTo>
                      <a:pt x="220" y="56"/>
                    </a:lnTo>
                    <a:lnTo>
                      <a:pt x="228" y="70"/>
                    </a:lnTo>
                    <a:lnTo>
                      <a:pt x="232" y="78"/>
                    </a:lnTo>
                    <a:lnTo>
                      <a:pt x="21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287" name="TextBox 286">
              <a:extLst>
                <a:ext uri="{FF2B5EF4-FFF2-40B4-BE49-F238E27FC236}">
                  <a16:creationId xmlns:a16="http://schemas.microsoft.com/office/drawing/2014/main" id="{6EA8C44B-2AA1-4715-BB6B-3FCD847C327F}"/>
                </a:ext>
              </a:extLst>
            </p:cNvPr>
            <p:cNvSpPr txBox="1"/>
            <p:nvPr/>
          </p:nvSpPr>
          <p:spPr>
            <a:xfrm>
              <a:off x="7830812" y="2672736"/>
              <a:ext cx="1045143" cy="186043"/>
            </a:xfrm>
            <a:prstGeom prst="rect">
              <a:avLst/>
            </a:prstGeom>
            <a:noFill/>
            <a:ln w="12700" cap="sq">
              <a:noFill/>
              <a:miter lim="800000"/>
            </a:ln>
          </p:spPr>
          <p:txBody>
            <a:bodyPr wrap="square" lIns="61200" tIns="36576"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AT" sz="1000" b="1" i="0" u="none" strike="noStrike" kern="0" cap="none" spc="0" normalizeH="0" baseline="0" noProof="0" dirty="0">
                  <a:ln>
                    <a:noFill/>
                  </a:ln>
                  <a:solidFill>
                    <a:srgbClr val="FFE600"/>
                  </a:solidFill>
                  <a:effectLst/>
                  <a:uLnTx/>
                  <a:uFillTx/>
                </a:rPr>
                <a:t>Consumer Protection</a:t>
              </a:r>
            </a:p>
          </p:txBody>
        </p:sp>
        <p:grpSp>
          <p:nvGrpSpPr>
            <p:cNvPr id="288" name="Group 49">
              <a:extLst>
                <a:ext uri="{FF2B5EF4-FFF2-40B4-BE49-F238E27FC236}">
                  <a16:creationId xmlns:a16="http://schemas.microsoft.com/office/drawing/2014/main" id="{A65B8428-BA1C-4C0A-AC59-D898C48CDF74}"/>
                </a:ext>
              </a:extLst>
            </p:cNvPr>
            <p:cNvGrpSpPr>
              <a:grpSpLocks noChangeAspect="1"/>
            </p:cNvGrpSpPr>
            <p:nvPr/>
          </p:nvGrpSpPr>
          <p:grpSpPr bwMode="auto">
            <a:xfrm>
              <a:off x="8807688" y="3607696"/>
              <a:ext cx="83073" cy="122013"/>
              <a:chOff x="2027" y="1937"/>
              <a:chExt cx="512" cy="752"/>
            </a:xfrm>
            <a:solidFill>
              <a:srgbClr val="FFE600"/>
            </a:solidFill>
          </p:grpSpPr>
          <p:sp>
            <p:nvSpPr>
              <p:cNvPr id="308" name="Freeform 50">
                <a:extLst>
                  <a:ext uri="{FF2B5EF4-FFF2-40B4-BE49-F238E27FC236}">
                    <a16:creationId xmlns:a16="http://schemas.microsoft.com/office/drawing/2014/main" id="{0ED88C2E-956B-4BB5-B94B-853427179222}"/>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51">
                <a:extLst>
                  <a:ext uri="{FF2B5EF4-FFF2-40B4-BE49-F238E27FC236}">
                    <a16:creationId xmlns:a16="http://schemas.microsoft.com/office/drawing/2014/main" id="{46ED5A2C-9D63-4B3F-AD9D-62FC52BD2BE7}"/>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52">
                <a:extLst>
                  <a:ext uri="{FF2B5EF4-FFF2-40B4-BE49-F238E27FC236}">
                    <a16:creationId xmlns:a16="http://schemas.microsoft.com/office/drawing/2014/main" id="{8DF00EF8-171B-48B4-B37B-DEF4D41E1218}"/>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53">
                <a:extLst>
                  <a:ext uri="{FF2B5EF4-FFF2-40B4-BE49-F238E27FC236}">
                    <a16:creationId xmlns:a16="http://schemas.microsoft.com/office/drawing/2014/main" id="{037742CE-95F7-48D8-907A-FC9B98E6112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12" name="Freeform 54">
                <a:extLst>
                  <a:ext uri="{FF2B5EF4-FFF2-40B4-BE49-F238E27FC236}">
                    <a16:creationId xmlns:a16="http://schemas.microsoft.com/office/drawing/2014/main" id="{8B5DB061-C15B-4D83-9949-620C220ABD87}"/>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55">
                <a:extLst>
                  <a:ext uri="{FF2B5EF4-FFF2-40B4-BE49-F238E27FC236}">
                    <a16:creationId xmlns:a16="http://schemas.microsoft.com/office/drawing/2014/main" id="{2AF36D7A-4A38-4F3B-A8B1-EFDB0FFB4836}"/>
                  </a:ext>
                </a:extLst>
              </p:cNvPr>
              <p:cNvSpPr>
                <a:spLocks noEditPoints="1"/>
              </p:cNvSpPr>
              <p:nvPr/>
            </p:nvSpPr>
            <p:spPr bwMode="auto">
              <a:xfrm>
                <a:off x="2229" y="2581"/>
                <a:ext cx="108" cy="108"/>
              </a:xfrm>
              <a:custGeom>
                <a:avLst/>
                <a:gdLst>
                  <a:gd name="T0" fmla="*/ 54 w 108"/>
                  <a:gd name="T1" fmla="*/ 108 h 108"/>
                  <a:gd name="T2" fmla="*/ 32 w 108"/>
                  <a:gd name="T3" fmla="*/ 104 h 108"/>
                  <a:gd name="T4" fmla="*/ 16 w 108"/>
                  <a:gd name="T5" fmla="*/ 92 h 108"/>
                  <a:gd name="T6" fmla="*/ 4 w 108"/>
                  <a:gd name="T7" fmla="*/ 74 h 108"/>
                  <a:gd name="T8" fmla="*/ 0 w 108"/>
                  <a:gd name="T9" fmla="*/ 54 h 108"/>
                  <a:gd name="T10" fmla="*/ 0 w 108"/>
                  <a:gd name="T11" fmla="*/ 42 h 108"/>
                  <a:gd name="T12" fmla="*/ 10 w 108"/>
                  <a:gd name="T13" fmla="*/ 24 h 108"/>
                  <a:gd name="T14" fmla="*/ 24 w 108"/>
                  <a:gd name="T15" fmla="*/ 8 h 108"/>
                  <a:gd name="T16" fmla="*/ 42 w 108"/>
                  <a:gd name="T17" fmla="*/ 0 h 108"/>
                  <a:gd name="T18" fmla="*/ 54 w 108"/>
                  <a:gd name="T19" fmla="*/ 0 h 108"/>
                  <a:gd name="T20" fmla="*/ 74 w 108"/>
                  <a:gd name="T21" fmla="*/ 4 h 108"/>
                  <a:gd name="T22" fmla="*/ 92 w 108"/>
                  <a:gd name="T23" fmla="*/ 16 h 108"/>
                  <a:gd name="T24" fmla="*/ 104 w 108"/>
                  <a:gd name="T25" fmla="*/ 32 h 108"/>
                  <a:gd name="T26" fmla="*/ 108 w 108"/>
                  <a:gd name="T27" fmla="*/ 54 h 108"/>
                  <a:gd name="T28" fmla="*/ 106 w 108"/>
                  <a:gd name="T29" fmla="*/ 64 h 108"/>
                  <a:gd name="T30" fmla="*/ 98 w 108"/>
                  <a:gd name="T31" fmla="*/ 84 h 108"/>
                  <a:gd name="T32" fmla="*/ 84 w 108"/>
                  <a:gd name="T33" fmla="*/ 98 h 108"/>
                  <a:gd name="T34" fmla="*/ 64 w 108"/>
                  <a:gd name="T35" fmla="*/ 106 h 108"/>
                  <a:gd name="T36" fmla="*/ 54 w 108"/>
                  <a:gd name="T37" fmla="*/ 108 h 108"/>
                  <a:gd name="T38" fmla="*/ 54 w 108"/>
                  <a:gd name="T39" fmla="*/ 18 h 108"/>
                  <a:gd name="T40" fmla="*/ 40 w 108"/>
                  <a:gd name="T41" fmla="*/ 20 h 108"/>
                  <a:gd name="T42" fmla="*/ 28 w 108"/>
                  <a:gd name="T43" fmla="*/ 28 h 108"/>
                  <a:gd name="T44" fmla="*/ 20 w 108"/>
                  <a:gd name="T45" fmla="*/ 40 h 108"/>
                  <a:gd name="T46" fmla="*/ 18 w 108"/>
                  <a:gd name="T47" fmla="*/ 54 h 108"/>
                  <a:gd name="T48" fmla="*/ 18 w 108"/>
                  <a:gd name="T49" fmla="*/ 60 h 108"/>
                  <a:gd name="T50" fmla="*/ 24 w 108"/>
                  <a:gd name="T51" fmla="*/ 74 h 108"/>
                  <a:gd name="T52" fmla="*/ 34 w 108"/>
                  <a:gd name="T53" fmla="*/ 84 h 108"/>
                  <a:gd name="T54" fmla="*/ 46 w 108"/>
                  <a:gd name="T55" fmla="*/ 88 h 108"/>
                  <a:gd name="T56" fmla="*/ 54 w 108"/>
                  <a:gd name="T57" fmla="*/ 90 h 108"/>
                  <a:gd name="T58" fmla="*/ 68 w 108"/>
                  <a:gd name="T59" fmla="*/ 86 h 108"/>
                  <a:gd name="T60" fmla="*/ 80 w 108"/>
                  <a:gd name="T61" fmla="*/ 78 h 108"/>
                  <a:gd name="T62" fmla="*/ 88 w 108"/>
                  <a:gd name="T63" fmla="*/ 68 h 108"/>
                  <a:gd name="T64" fmla="*/ 90 w 108"/>
                  <a:gd name="T65" fmla="*/ 54 h 108"/>
                  <a:gd name="T66" fmla="*/ 90 w 108"/>
                  <a:gd name="T67" fmla="*/ 46 h 108"/>
                  <a:gd name="T68" fmla="*/ 84 w 108"/>
                  <a:gd name="T69" fmla="*/ 34 h 108"/>
                  <a:gd name="T70" fmla="*/ 74 w 108"/>
                  <a:gd name="T71" fmla="*/ 24 h 108"/>
                  <a:gd name="T72" fmla="*/ 62 w 108"/>
                  <a:gd name="T73" fmla="*/ 18 h 108"/>
                  <a:gd name="T74" fmla="*/ 54 w 108"/>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8">
                    <a:moveTo>
                      <a:pt x="54" y="108"/>
                    </a:moveTo>
                    <a:lnTo>
                      <a:pt x="54" y="108"/>
                    </a:lnTo>
                    <a:lnTo>
                      <a:pt x="42" y="106"/>
                    </a:lnTo>
                    <a:lnTo>
                      <a:pt x="32" y="104"/>
                    </a:lnTo>
                    <a:lnTo>
                      <a:pt x="24" y="98"/>
                    </a:lnTo>
                    <a:lnTo>
                      <a:pt x="16" y="92"/>
                    </a:lnTo>
                    <a:lnTo>
                      <a:pt x="10" y="84"/>
                    </a:lnTo>
                    <a:lnTo>
                      <a:pt x="4" y="74"/>
                    </a:lnTo>
                    <a:lnTo>
                      <a:pt x="0" y="64"/>
                    </a:lnTo>
                    <a:lnTo>
                      <a:pt x="0" y="54"/>
                    </a:lnTo>
                    <a:lnTo>
                      <a:pt x="0" y="54"/>
                    </a:lnTo>
                    <a:lnTo>
                      <a:pt x="0" y="42"/>
                    </a:lnTo>
                    <a:lnTo>
                      <a:pt x="4" y="32"/>
                    </a:lnTo>
                    <a:lnTo>
                      <a:pt x="10" y="24"/>
                    </a:lnTo>
                    <a:lnTo>
                      <a:pt x="16" y="16"/>
                    </a:lnTo>
                    <a:lnTo>
                      <a:pt x="24" y="8"/>
                    </a:lnTo>
                    <a:lnTo>
                      <a:pt x="32" y="4"/>
                    </a:lnTo>
                    <a:lnTo>
                      <a:pt x="42" y="0"/>
                    </a:lnTo>
                    <a:lnTo>
                      <a:pt x="54" y="0"/>
                    </a:lnTo>
                    <a:lnTo>
                      <a:pt x="54" y="0"/>
                    </a:lnTo>
                    <a:lnTo>
                      <a:pt x="64" y="0"/>
                    </a:lnTo>
                    <a:lnTo>
                      <a:pt x="74" y="4"/>
                    </a:lnTo>
                    <a:lnTo>
                      <a:pt x="84" y="8"/>
                    </a:lnTo>
                    <a:lnTo>
                      <a:pt x="92" y="16"/>
                    </a:lnTo>
                    <a:lnTo>
                      <a:pt x="98" y="24"/>
                    </a:lnTo>
                    <a:lnTo>
                      <a:pt x="104" y="32"/>
                    </a:lnTo>
                    <a:lnTo>
                      <a:pt x="106" y="42"/>
                    </a:lnTo>
                    <a:lnTo>
                      <a:pt x="108" y="54"/>
                    </a:lnTo>
                    <a:lnTo>
                      <a:pt x="108" y="54"/>
                    </a:lnTo>
                    <a:lnTo>
                      <a:pt x="106" y="64"/>
                    </a:lnTo>
                    <a:lnTo>
                      <a:pt x="104" y="74"/>
                    </a:lnTo>
                    <a:lnTo>
                      <a:pt x="98" y="84"/>
                    </a:lnTo>
                    <a:lnTo>
                      <a:pt x="92" y="92"/>
                    </a:lnTo>
                    <a:lnTo>
                      <a:pt x="84" y="98"/>
                    </a:lnTo>
                    <a:lnTo>
                      <a:pt x="74" y="104"/>
                    </a:lnTo>
                    <a:lnTo>
                      <a:pt x="64" y="106"/>
                    </a:lnTo>
                    <a:lnTo>
                      <a:pt x="54" y="108"/>
                    </a:lnTo>
                    <a:lnTo>
                      <a:pt x="54" y="108"/>
                    </a:lnTo>
                    <a:close/>
                    <a:moveTo>
                      <a:pt x="54" y="18"/>
                    </a:moveTo>
                    <a:lnTo>
                      <a:pt x="54" y="18"/>
                    </a:lnTo>
                    <a:lnTo>
                      <a:pt x="46" y="18"/>
                    </a:lnTo>
                    <a:lnTo>
                      <a:pt x="40" y="20"/>
                    </a:lnTo>
                    <a:lnTo>
                      <a:pt x="34" y="24"/>
                    </a:lnTo>
                    <a:lnTo>
                      <a:pt x="28" y="28"/>
                    </a:lnTo>
                    <a:lnTo>
                      <a:pt x="24" y="34"/>
                    </a:lnTo>
                    <a:lnTo>
                      <a:pt x="20" y="40"/>
                    </a:lnTo>
                    <a:lnTo>
                      <a:pt x="18" y="46"/>
                    </a:lnTo>
                    <a:lnTo>
                      <a:pt x="18" y="54"/>
                    </a:lnTo>
                    <a:lnTo>
                      <a:pt x="18" y="54"/>
                    </a:lnTo>
                    <a:lnTo>
                      <a:pt x="18" y="60"/>
                    </a:lnTo>
                    <a:lnTo>
                      <a:pt x="20" y="68"/>
                    </a:lnTo>
                    <a:lnTo>
                      <a:pt x="24" y="74"/>
                    </a:lnTo>
                    <a:lnTo>
                      <a:pt x="28" y="78"/>
                    </a:lnTo>
                    <a:lnTo>
                      <a:pt x="34" y="84"/>
                    </a:lnTo>
                    <a:lnTo>
                      <a:pt x="40" y="86"/>
                    </a:lnTo>
                    <a:lnTo>
                      <a:pt x="46" y="88"/>
                    </a:lnTo>
                    <a:lnTo>
                      <a:pt x="54" y="90"/>
                    </a:lnTo>
                    <a:lnTo>
                      <a:pt x="54" y="90"/>
                    </a:lnTo>
                    <a:lnTo>
                      <a:pt x="62" y="88"/>
                    </a:lnTo>
                    <a:lnTo>
                      <a:pt x="68" y="86"/>
                    </a:lnTo>
                    <a:lnTo>
                      <a:pt x="74" y="84"/>
                    </a:lnTo>
                    <a:lnTo>
                      <a:pt x="80" y="78"/>
                    </a:lnTo>
                    <a:lnTo>
                      <a:pt x="84" y="74"/>
                    </a:lnTo>
                    <a:lnTo>
                      <a:pt x="88" y="68"/>
                    </a:lnTo>
                    <a:lnTo>
                      <a:pt x="90" y="60"/>
                    </a:lnTo>
                    <a:lnTo>
                      <a:pt x="90" y="54"/>
                    </a:lnTo>
                    <a:lnTo>
                      <a:pt x="90" y="54"/>
                    </a:lnTo>
                    <a:lnTo>
                      <a:pt x="90" y="46"/>
                    </a:lnTo>
                    <a:lnTo>
                      <a:pt x="88" y="40"/>
                    </a:lnTo>
                    <a:lnTo>
                      <a:pt x="84" y="34"/>
                    </a:lnTo>
                    <a:lnTo>
                      <a:pt x="80" y="28"/>
                    </a:lnTo>
                    <a:lnTo>
                      <a:pt x="74" y="24"/>
                    </a:lnTo>
                    <a:lnTo>
                      <a:pt x="68" y="20"/>
                    </a:lnTo>
                    <a:lnTo>
                      <a:pt x="62" y="18"/>
                    </a:lnTo>
                    <a:lnTo>
                      <a:pt x="54" y="18"/>
                    </a:lnTo>
                    <a:lnTo>
                      <a:pt x="5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Rectangle 56">
                <a:extLst>
                  <a:ext uri="{FF2B5EF4-FFF2-40B4-BE49-F238E27FC236}">
                    <a16:creationId xmlns:a16="http://schemas.microsoft.com/office/drawing/2014/main" id="{41BD9D13-D2CB-41CB-ACA6-9B82223715DD}"/>
                  </a:ext>
                </a:extLst>
              </p:cNvPr>
              <p:cNvSpPr>
                <a:spLocks noChangeArrowheads="1"/>
              </p:cNvSpPr>
              <p:nvPr/>
            </p:nvSpPr>
            <p:spPr bwMode="auto">
              <a:xfrm>
                <a:off x="2273" y="25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Rectangle 57">
                <a:extLst>
                  <a:ext uri="{FF2B5EF4-FFF2-40B4-BE49-F238E27FC236}">
                    <a16:creationId xmlns:a16="http://schemas.microsoft.com/office/drawing/2014/main" id="{ED8553FB-B0B5-4279-A994-F6D43D9962E5}"/>
                  </a:ext>
                </a:extLst>
              </p:cNvPr>
              <p:cNvSpPr>
                <a:spLocks noChangeArrowheads="1"/>
              </p:cNvSpPr>
              <p:nvPr/>
            </p:nvSpPr>
            <p:spPr bwMode="auto">
              <a:xfrm>
                <a:off x="2319"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6" name="Rectangle 58">
                <a:extLst>
                  <a:ext uri="{FF2B5EF4-FFF2-40B4-BE49-F238E27FC236}">
                    <a16:creationId xmlns:a16="http://schemas.microsoft.com/office/drawing/2014/main" id="{3A7FFDF3-E644-41CC-ACD0-21BD7269932C}"/>
                  </a:ext>
                </a:extLst>
              </p:cNvPr>
              <p:cNvSpPr>
                <a:spLocks noChangeArrowheads="1"/>
              </p:cNvSpPr>
              <p:nvPr/>
            </p:nvSpPr>
            <p:spPr bwMode="auto">
              <a:xfrm>
                <a:off x="2027"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289" name="Group 288">
              <a:extLst>
                <a:ext uri="{FF2B5EF4-FFF2-40B4-BE49-F238E27FC236}">
                  <a16:creationId xmlns:a16="http://schemas.microsoft.com/office/drawing/2014/main" id="{09CE4AC3-1898-4CB6-BA06-1D169F8A5348}"/>
                </a:ext>
              </a:extLst>
            </p:cNvPr>
            <p:cNvGrpSpPr/>
            <p:nvPr/>
          </p:nvGrpSpPr>
          <p:grpSpPr>
            <a:xfrm>
              <a:off x="7918920" y="3616004"/>
              <a:ext cx="155067" cy="150692"/>
              <a:chOff x="2689225" y="3098800"/>
              <a:chExt cx="1600200" cy="1098550"/>
            </a:xfrm>
            <a:solidFill>
              <a:srgbClr val="FFE600"/>
            </a:solidFill>
          </p:grpSpPr>
          <p:sp>
            <p:nvSpPr>
              <p:cNvPr id="292" name="Freeform 23">
                <a:extLst>
                  <a:ext uri="{FF2B5EF4-FFF2-40B4-BE49-F238E27FC236}">
                    <a16:creationId xmlns:a16="http://schemas.microsoft.com/office/drawing/2014/main" id="{7C1889CD-883A-4209-85AA-F6F334A5FA7B}"/>
                  </a:ext>
                </a:extLst>
              </p:cNvPr>
              <p:cNvSpPr>
                <a:spLocks noEditPoints="1"/>
              </p:cNvSpPr>
              <p:nvPr/>
            </p:nvSpPr>
            <p:spPr bwMode="auto">
              <a:xfrm>
                <a:off x="2689225" y="4016375"/>
                <a:ext cx="1600200" cy="180975"/>
              </a:xfrm>
              <a:custGeom>
                <a:avLst/>
                <a:gdLst>
                  <a:gd name="T0" fmla="*/ 52 w 1008"/>
                  <a:gd name="T1" fmla="*/ 114 h 114"/>
                  <a:gd name="T2" fmla="*/ 42 w 1008"/>
                  <a:gd name="T3" fmla="*/ 114 h 114"/>
                  <a:gd name="T4" fmla="*/ 24 w 1008"/>
                  <a:gd name="T5" fmla="*/ 106 h 114"/>
                  <a:gd name="T6" fmla="*/ 8 w 1008"/>
                  <a:gd name="T7" fmla="*/ 90 h 114"/>
                  <a:gd name="T8" fmla="*/ 0 w 1008"/>
                  <a:gd name="T9" fmla="*/ 72 h 114"/>
                  <a:gd name="T10" fmla="*/ 0 w 1008"/>
                  <a:gd name="T11" fmla="*/ 0 h 114"/>
                  <a:gd name="T12" fmla="*/ 430 w 1008"/>
                  <a:gd name="T13" fmla="*/ 16 h 114"/>
                  <a:gd name="T14" fmla="*/ 432 w 1008"/>
                  <a:gd name="T15" fmla="*/ 26 h 114"/>
                  <a:gd name="T16" fmla="*/ 444 w 1008"/>
                  <a:gd name="T17" fmla="*/ 38 h 114"/>
                  <a:gd name="T18" fmla="*/ 568 w 1008"/>
                  <a:gd name="T19" fmla="*/ 38 h 114"/>
                  <a:gd name="T20" fmla="*/ 576 w 1008"/>
                  <a:gd name="T21" fmla="*/ 38 h 114"/>
                  <a:gd name="T22" fmla="*/ 588 w 1008"/>
                  <a:gd name="T23" fmla="*/ 26 h 114"/>
                  <a:gd name="T24" fmla="*/ 590 w 1008"/>
                  <a:gd name="T25" fmla="*/ 0 h 114"/>
                  <a:gd name="T26" fmla="*/ 1008 w 1008"/>
                  <a:gd name="T27" fmla="*/ 60 h 114"/>
                  <a:gd name="T28" fmla="*/ 1008 w 1008"/>
                  <a:gd name="T29" fmla="*/ 72 h 114"/>
                  <a:gd name="T30" fmla="*/ 1000 w 1008"/>
                  <a:gd name="T31" fmla="*/ 90 h 114"/>
                  <a:gd name="T32" fmla="*/ 984 w 1008"/>
                  <a:gd name="T33" fmla="*/ 106 h 114"/>
                  <a:gd name="T34" fmla="*/ 966 w 1008"/>
                  <a:gd name="T35" fmla="*/ 114 h 114"/>
                  <a:gd name="T36" fmla="*/ 956 w 1008"/>
                  <a:gd name="T37" fmla="*/ 114 h 114"/>
                  <a:gd name="T38" fmla="*/ 18 w 1008"/>
                  <a:gd name="T39" fmla="*/ 60 h 114"/>
                  <a:gd name="T40" fmla="*/ 18 w 1008"/>
                  <a:gd name="T41" fmla="*/ 68 h 114"/>
                  <a:gd name="T42" fmla="*/ 24 w 1008"/>
                  <a:gd name="T43" fmla="*/ 80 h 114"/>
                  <a:gd name="T44" fmla="*/ 34 w 1008"/>
                  <a:gd name="T45" fmla="*/ 90 h 114"/>
                  <a:gd name="T46" fmla="*/ 46 w 1008"/>
                  <a:gd name="T47" fmla="*/ 96 h 114"/>
                  <a:gd name="T48" fmla="*/ 956 w 1008"/>
                  <a:gd name="T49" fmla="*/ 96 h 114"/>
                  <a:gd name="T50" fmla="*/ 962 w 1008"/>
                  <a:gd name="T51" fmla="*/ 96 h 114"/>
                  <a:gd name="T52" fmla="*/ 974 w 1008"/>
                  <a:gd name="T53" fmla="*/ 90 h 114"/>
                  <a:gd name="T54" fmla="*/ 984 w 1008"/>
                  <a:gd name="T55" fmla="*/ 80 h 114"/>
                  <a:gd name="T56" fmla="*/ 990 w 1008"/>
                  <a:gd name="T57" fmla="*/ 68 h 114"/>
                  <a:gd name="T58" fmla="*/ 990 w 1008"/>
                  <a:gd name="T59" fmla="*/ 18 h 114"/>
                  <a:gd name="T60" fmla="*/ 608 w 1008"/>
                  <a:gd name="T61" fmla="*/ 18 h 114"/>
                  <a:gd name="T62" fmla="*/ 604 w 1008"/>
                  <a:gd name="T63" fmla="*/ 34 h 114"/>
                  <a:gd name="T64" fmla="*/ 596 w 1008"/>
                  <a:gd name="T65" fmla="*/ 46 h 114"/>
                  <a:gd name="T66" fmla="*/ 584 w 1008"/>
                  <a:gd name="T67" fmla="*/ 54 h 114"/>
                  <a:gd name="T68" fmla="*/ 568 w 1008"/>
                  <a:gd name="T69" fmla="*/ 56 h 114"/>
                  <a:gd name="T70" fmla="*/ 452 w 1008"/>
                  <a:gd name="T71" fmla="*/ 56 h 114"/>
                  <a:gd name="T72" fmla="*/ 438 w 1008"/>
                  <a:gd name="T73" fmla="*/ 54 h 114"/>
                  <a:gd name="T74" fmla="*/ 426 w 1008"/>
                  <a:gd name="T75" fmla="*/ 46 h 114"/>
                  <a:gd name="T76" fmla="*/ 416 w 1008"/>
                  <a:gd name="T77" fmla="*/ 34 h 114"/>
                  <a:gd name="T78" fmla="*/ 412 w 1008"/>
                  <a:gd name="T7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8" h="114">
                    <a:moveTo>
                      <a:pt x="956" y="114"/>
                    </a:moveTo>
                    <a:lnTo>
                      <a:pt x="52" y="114"/>
                    </a:lnTo>
                    <a:lnTo>
                      <a:pt x="52" y="114"/>
                    </a:lnTo>
                    <a:lnTo>
                      <a:pt x="42" y="114"/>
                    </a:lnTo>
                    <a:lnTo>
                      <a:pt x="32" y="110"/>
                    </a:lnTo>
                    <a:lnTo>
                      <a:pt x="24" y="106"/>
                    </a:lnTo>
                    <a:lnTo>
                      <a:pt x="16" y="98"/>
                    </a:lnTo>
                    <a:lnTo>
                      <a:pt x="8" y="90"/>
                    </a:lnTo>
                    <a:lnTo>
                      <a:pt x="4" y="82"/>
                    </a:lnTo>
                    <a:lnTo>
                      <a:pt x="0" y="72"/>
                    </a:lnTo>
                    <a:lnTo>
                      <a:pt x="0" y="60"/>
                    </a:lnTo>
                    <a:lnTo>
                      <a:pt x="0" y="0"/>
                    </a:lnTo>
                    <a:lnTo>
                      <a:pt x="430" y="0"/>
                    </a:lnTo>
                    <a:lnTo>
                      <a:pt x="430" y="16"/>
                    </a:lnTo>
                    <a:lnTo>
                      <a:pt x="430" y="16"/>
                    </a:lnTo>
                    <a:lnTo>
                      <a:pt x="432" y="26"/>
                    </a:lnTo>
                    <a:lnTo>
                      <a:pt x="438" y="32"/>
                    </a:lnTo>
                    <a:lnTo>
                      <a:pt x="444" y="38"/>
                    </a:lnTo>
                    <a:lnTo>
                      <a:pt x="452" y="38"/>
                    </a:lnTo>
                    <a:lnTo>
                      <a:pt x="568" y="38"/>
                    </a:lnTo>
                    <a:lnTo>
                      <a:pt x="568" y="38"/>
                    </a:lnTo>
                    <a:lnTo>
                      <a:pt x="576" y="38"/>
                    </a:lnTo>
                    <a:lnTo>
                      <a:pt x="584" y="32"/>
                    </a:lnTo>
                    <a:lnTo>
                      <a:pt x="588" y="26"/>
                    </a:lnTo>
                    <a:lnTo>
                      <a:pt x="590" y="16"/>
                    </a:lnTo>
                    <a:lnTo>
                      <a:pt x="590" y="0"/>
                    </a:lnTo>
                    <a:lnTo>
                      <a:pt x="1008" y="0"/>
                    </a:lnTo>
                    <a:lnTo>
                      <a:pt x="1008" y="60"/>
                    </a:lnTo>
                    <a:lnTo>
                      <a:pt x="1008" y="60"/>
                    </a:lnTo>
                    <a:lnTo>
                      <a:pt x="1008" y="72"/>
                    </a:lnTo>
                    <a:lnTo>
                      <a:pt x="1004" y="82"/>
                    </a:lnTo>
                    <a:lnTo>
                      <a:pt x="1000" y="90"/>
                    </a:lnTo>
                    <a:lnTo>
                      <a:pt x="992" y="98"/>
                    </a:lnTo>
                    <a:lnTo>
                      <a:pt x="984" y="106"/>
                    </a:lnTo>
                    <a:lnTo>
                      <a:pt x="976" y="110"/>
                    </a:lnTo>
                    <a:lnTo>
                      <a:pt x="966" y="114"/>
                    </a:lnTo>
                    <a:lnTo>
                      <a:pt x="956" y="114"/>
                    </a:lnTo>
                    <a:lnTo>
                      <a:pt x="956" y="114"/>
                    </a:lnTo>
                    <a:close/>
                    <a:moveTo>
                      <a:pt x="18" y="18"/>
                    </a:moveTo>
                    <a:lnTo>
                      <a:pt x="18" y="60"/>
                    </a:lnTo>
                    <a:lnTo>
                      <a:pt x="18" y="60"/>
                    </a:lnTo>
                    <a:lnTo>
                      <a:pt x="18" y="68"/>
                    </a:lnTo>
                    <a:lnTo>
                      <a:pt x="20" y="74"/>
                    </a:lnTo>
                    <a:lnTo>
                      <a:pt x="24" y="80"/>
                    </a:lnTo>
                    <a:lnTo>
                      <a:pt x="28" y="86"/>
                    </a:lnTo>
                    <a:lnTo>
                      <a:pt x="34" y="90"/>
                    </a:lnTo>
                    <a:lnTo>
                      <a:pt x="40" y="94"/>
                    </a:lnTo>
                    <a:lnTo>
                      <a:pt x="46" y="96"/>
                    </a:lnTo>
                    <a:lnTo>
                      <a:pt x="52" y="96"/>
                    </a:lnTo>
                    <a:lnTo>
                      <a:pt x="956" y="96"/>
                    </a:lnTo>
                    <a:lnTo>
                      <a:pt x="956" y="96"/>
                    </a:lnTo>
                    <a:lnTo>
                      <a:pt x="962" y="96"/>
                    </a:lnTo>
                    <a:lnTo>
                      <a:pt x="968" y="94"/>
                    </a:lnTo>
                    <a:lnTo>
                      <a:pt x="974" y="90"/>
                    </a:lnTo>
                    <a:lnTo>
                      <a:pt x="980" y="86"/>
                    </a:lnTo>
                    <a:lnTo>
                      <a:pt x="984" y="80"/>
                    </a:lnTo>
                    <a:lnTo>
                      <a:pt x="988" y="74"/>
                    </a:lnTo>
                    <a:lnTo>
                      <a:pt x="990" y="68"/>
                    </a:lnTo>
                    <a:lnTo>
                      <a:pt x="990" y="60"/>
                    </a:lnTo>
                    <a:lnTo>
                      <a:pt x="990" y="18"/>
                    </a:lnTo>
                    <a:lnTo>
                      <a:pt x="608" y="18"/>
                    </a:lnTo>
                    <a:lnTo>
                      <a:pt x="608" y="18"/>
                    </a:lnTo>
                    <a:lnTo>
                      <a:pt x="606" y="26"/>
                    </a:lnTo>
                    <a:lnTo>
                      <a:pt x="604" y="34"/>
                    </a:lnTo>
                    <a:lnTo>
                      <a:pt x="600" y="40"/>
                    </a:lnTo>
                    <a:lnTo>
                      <a:pt x="596" y="46"/>
                    </a:lnTo>
                    <a:lnTo>
                      <a:pt x="590" y="50"/>
                    </a:lnTo>
                    <a:lnTo>
                      <a:pt x="584" y="54"/>
                    </a:lnTo>
                    <a:lnTo>
                      <a:pt x="576" y="56"/>
                    </a:lnTo>
                    <a:lnTo>
                      <a:pt x="568" y="56"/>
                    </a:lnTo>
                    <a:lnTo>
                      <a:pt x="452" y="56"/>
                    </a:lnTo>
                    <a:lnTo>
                      <a:pt x="452" y="56"/>
                    </a:lnTo>
                    <a:lnTo>
                      <a:pt x="444" y="56"/>
                    </a:lnTo>
                    <a:lnTo>
                      <a:pt x="438" y="54"/>
                    </a:lnTo>
                    <a:lnTo>
                      <a:pt x="430" y="50"/>
                    </a:lnTo>
                    <a:lnTo>
                      <a:pt x="426" y="46"/>
                    </a:lnTo>
                    <a:lnTo>
                      <a:pt x="420" y="40"/>
                    </a:lnTo>
                    <a:lnTo>
                      <a:pt x="416" y="34"/>
                    </a:lnTo>
                    <a:lnTo>
                      <a:pt x="414" y="26"/>
                    </a:lnTo>
                    <a:lnTo>
                      <a:pt x="41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3" name="Freeform 24">
                <a:extLst>
                  <a:ext uri="{FF2B5EF4-FFF2-40B4-BE49-F238E27FC236}">
                    <a16:creationId xmlns:a16="http://schemas.microsoft.com/office/drawing/2014/main" id="{6FE7D374-2AD5-4FE0-9D00-16F11DAA3A7E}"/>
                  </a:ext>
                </a:extLst>
              </p:cNvPr>
              <p:cNvSpPr>
                <a:spLocks/>
              </p:cNvSpPr>
              <p:nvPr/>
            </p:nvSpPr>
            <p:spPr bwMode="auto">
              <a:xfrm>
                <a:off x="2784475" y="3143250"/>
                <a:ext cx="1409700" cy="901700"/>
              </a:xfrm>
              <a:custGeom>
                <a:avLst/>
                <a:gdLst>
                  <a:gd name="T0" fmla="*/ 888 w 888"/>
                  <a:gd name="T1" fmla="*/ 568 h 568"/>
                  <a:gd name="T2" fmla="*/ 0 w 888"/>
                  <a:gd name="T3" fmla="*/ 568 h 568"/>
                  <a:gd name="T4" fmla="*/ 0 w 888"/>
                  <a:gd name="T5" fmla="*/ 42 h 568"/>
                  <a:gd name="T6" fmla="*/ 0 w 888"/>
                  <a:gd name="T7" fmla="*/ 42 h 568"/>
                  <a:gd name="T8" fmla="*/ 0 w 888"/>
                  <a:gd name="T9" fmla="*/ 34 h 568"/>
                  <a:gd name="T10" fmla="*/ 2 w 888"/>
                  <a:gd name="T11" fmla="*/ 26 h 568"/>
                  <a:gd name="T12" fmla="*/ 6 w 888"/>
                  <a:gd name="T13" fmla="*/ 18 h 568"/>
                  <a:gd name="T14" fmla="*/ 12 w 888"/>
                  <a:gd name="T15" fmla="*/ 12 h 568"/>
                  <a:gd name="T16" fmla="*/ 18 w 888"/>
                  <a:gd name="T17" fmla="*/ 6 h 568"/>
                  <a:gd name="T18" fmla="*/ 24 w 888"/>
                  <a:gd name="T19" fmla="*/ 2 h 568"/>
                  <a:gd name="T20" fmla="*/ 32 w 888"/>
                  <a:gd name="T21" fmla="*/ 0 h 568"/>
                  <a:gd name="T22" fmla="*/ 42 w 888"/>
                  <a:gd name="T23" fmla="*/ 0 h 568"/>
                  <a:gd name="T24" fmla="*/ 142 w 888"/>
                  <a:gd name="T25" fmla="*/ 0 h 568"/>
                  <a:gd name="T26" fmla="*/ 142 w 888"/>
                  <a:gd name="T27" fmla="*/ 18 h 568"/>
                  <a:gd name="T28" fmla="*/ 42 w 888"/>
                  <a:gd name="T29" fmla="*/ 18 h 568"/>
                  <a:gd name="T30" fmla="*/ 42 w 888"/>
                  <a:gd name="T31" fmla="*/ 18 h 568"/>
                  <a:gd name="T32" fmla="*/ 32 w 888"/>
                  <a:gd name="T33" fmla="*/ 20 h 568"/>
                  <a:gd name="T34" fmla="*/ 24 w 888"/>
                  <a:gd name="T35" fmla="*/ 24 h 568"/>
                  <a:gd name="T36" fmla="*/ 20 w 888"/>
                  <a:gd name="T37" fmla="*/ 32 h 568"/>
                  <a:gd name="T38" fmla="*/ 18 w 888"/>
                  <a:gd name="T39" fmla="*/ 42 h 568"/>
                  <a:gd name="T40" fmla="*/ 18 w 888"/>
                  <a:gd name="T41" fmla="*/ 550 h 568"/>
                  <a:gd name="T42" fmla="*/ 870 w 888"/>
                  <a:gd name="T43" fmla="*/ 550 h 568"/>
                  <a:gd name="T44" fmla="*/ 870 w 888"/>
                  <a:gd name="T45" fmla="*/ 42 h 568"/>
                  <a:gd name="T46" fmla="*/ 870 w 888"/>
                  <a:gd name="T47" fmla="*/ 42 h 568"/>
                  <a:gd name="T48" fmla="*/ 868 w 888"/>
                  <a:gd name="T49" fmla="*/ 32 h 568"/>
                  <a:gd name="T50" fmla="*/ 864 w 888"/>
                  <a:gd name="T51" fmla="*/ 24 h 568"/>
                  <a:gd name="T52" fmla="*/ 856 w 888"/>
                  <a:gd name="T53" fmla="*/ 20 h 568"/>
                  <a:gd name="T54" fmla="*/ 846 w 888"/>
                  <a:gd name="T55" fmla="*/ 18 h 568"/>
                  <a:gd name="T56" fmla="*/ 746 w 888"/>
                  <a:gd name="T57" fmla="*/ 18 h 568"/>
                  <a:gd name="T58" fmla="*/ 746 w 888"/>
                  <a:gd name="T59" fmla="*/ 0 h 568"/>
                  <a:gd name="T60" fmla="*/ 846 w 888"/>
                  <a:gd name="T61" fmla="*/ 0 h 568"/>
                  <a:gd name="T62" fmla="*/ 846 w 888"/>
                  <a:gd name="T63" fmla="*/ 0 h 568"/>
                  <a:gd name="T64" fmla="*/ 854 w 888"/>
                  <a:gd name="T65" fmla="*/ 0 h 568"/>
                  <a:gd name="T66" fmla="*/ 862 w 888"/>
                  <a:gd name="T67" fmla="*/ 2 h 568"/>
                  <a:gd name="T68" fmla="*/ 870 w 888"/>
                  <a:gd name="T69" fmla="*/ 6 h 568"/>
                  <a:gd name="T70" fmla="*/ 876 w 888"/>
                  <a:gd name="T71" fmla="*/ 12 h 568"/>
                  <a:gd name="T72" fmla="*/ 882 w 888"/>
                  <a:gd name="T73" fmla="*/ 18 h 568"/>
                  <a:gd name="T74" fmla="*/ 886 w 888"/>
                  <a:gd name="T75" fmla="*/ 26 h 568"/>
                  <a:gd name="T76" fmla="*/ 888 w 888"/>
                  <a:gd name="T77" fmla="*/ 34 h 568"/>
                  <a:gd name="T78" fmla="*/ 888 w 888"/>
                  <a:gd name="T79" fmla="*/ 42 h 568"/>
                  <a:gd name="T80" fmla="*/ 888 w 888"/>
                  <a:gd name="T81"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8" h="568">
                    <a:moveTo>
                      <a:pt x="888" y="568"/>
                    </a:moveTo>
                    <a:lnTo>
                      <a:pt x="0" y="568"/>
                    </a:lnTo>
                    <a:lnTo>
                      <a:pt x="0" y="42"/>
                    </a:lnTo>
                    <a:lnTo>
                      <a:pt x="0" y="42"/>
                    </a:lnTo>
                    <a:lnTo>
                      <a:pt x="0" y="34"/>
                    </a:lnTo>
                    <a:lnTo>
                      <a:pt x="2" y="26"/>
                    </a:lnTo>
                    <a:lnTo>
                      <a:pt x="6" y="18"/>
                    </a:lnTo>
                    <a:lnTo>
                      <a:pt x="12" y="12"/>
                    </a:lnTo>
                    <a:lnTo>
                      <a:pt x="18" y="6"/>
                    </a:lnTo>
                    <a:lnTo>
                      <a:pt x="24" y="2"/>
                    </a:lnTo>
                    <a:lnTo>
                      <a:pt x="32" y="0"/>
                    </a:lnTo>
                    <a:lnTo>
                      <a:pt x="42" y="0"/>
                    </a:lnTo>
                    <a:lnTo>
                      <a:pt x="142" y="0"/>
                    </a:lnTo>
                    <a:lnTo>
                      <a:pt x="142" y="18"/>
                    </a:lnTo>
                    <a:lnTo>
                      <a:pt x="42" y="18"/>
                    </a:lnTo>
                    <a:lnTo>
                      <a:pt x="42" y="18"/>
                    </a:lnTo>
                    <a:lnTo>
                      <a:pt x="32" y="20"/>
                    </a:lnTo>
                    <a:lnTo>
                      <a:pt x="24" y="24"/>
                    </a:lnTo>
                    <a:lnTo>
                      <a:pt x="20" y="32"/>
                    </a:lnTo>
                    <a:lnTo>
                      <a:pt x="18" y="42"/>
                    </a:lnTo>
                    <a:lnTo>
                      <a:pt x="18" y="550"/>
                    </a:lnTo>
                    <a:lnTo>
                      <a:pt x="870" y="550"/>
                    </a:lnTo>
                    <a:lnTo>
                      <a:pt x="870" y="42"/>
                    </a:lnTo>
                    <a:lnTo>
                      <a:pt x="870" y="42"/>
                    </a:lnTo>
                    <a:lnTo>
                      <a:pt x="868" y="32"/>
                    </a:lnTo>
                    <a:lnTo>
                      <a:pt x="864" y="24"/>
                    </a:lnTo>
                    <a:lnTo>
                      <a:pt x="856" y="20"/>
                    </a:lnTo>
                    <a:lnTo>
                      <a:pt x="846" y="18"/>
                    </a:lnTo>
                    <a:lnTo>
                      <a:pt x="746" y="18"/>
                    </a:lnTo>
                    <a:lnTo>
                      <a:pt x="746" y="0"/>
                    </a:lnTo>
                    <a:lnTo>
                      <a:pt x="846" y="0"/>
                    </a:lnTo>
                    <a:lnTo>
                      <a:pt x="846" y="0"/>
                    </a:lnTo>
                    <a:lnTo>
                      <a:pt x="854" y="0"/>
                    </a:lnTo>
                    <a:lnTo>
                      <a:pt x="862" y="2"/>
                    </a:lnTo>
                    <a:lnTo>
                      <a:pt x="870" y="6"/>
                    </a:lnTo>
                    <a:lnTo>
                      <a:pt x="876" y="12"/>
                    </a:lnTo>
                    <a:lnTo>
                      <a:pt x="882" y="18"/>
                    </a:lnTo>
                    <a:lnTo>
                      <a:pt x="886" y="26"/>
                    </a:lnTo>
                    <a:lnTo>
                      <a:pt x="888" y="34"/>
                    </a:lnTo>
                    <a:lnTo>
                      <a:pt x="888" y="42"/>
                    </a:lnTo>
                    <a:lnTo>
                      <a:pt x="888" y="5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4" name="Freeform 25">
                <a:extLst>
                  <a:ext uri="{FF2B5EF4-FFF2-40B4-BE49-F238E27FC236}">
                    <a16:creationId xmlns:a16="http://schemas.microsoft.com/office/drawing/2014/main" id="{B77EA892-3794-4FE0-AD5E-B04918633E20}"/>
                  </a:ext>
                </a:extLst>
              </p:cNvPr>
              <p:cNvSpPr>
                <a:spLocks/>
              </p:cNvSpPr>
              <p:nvPr/>
            </p:nvSpPr>
            <p:spPr bwMode="auto">
              <a:xfrm>
                <a:off x="2873375" y="3222625"/>
                <a:ext cx="1231900" cy="742950"/>
              </a:xfrm>
              <a:custGeom>
                <a:avLst/>
                <a:gdLst>
                  <a:gd name="T0" fmla="*/ 754 w 776"/>
                  <a:gd name="T1" fmla="*/ 468 h 468"/>
                  <a:gd name="T2" fmla="*/ 22 w 776"/>
                  <a:gd name="T3" fmla="*/ 468 h 468"/>
                  <a:gd name="T4" fmla="*/ 22 w 776"/>
                  <a:gd name="T5" fmla="*/ 468 h 468"/>
                  <a:gd name="T6" fmla="*/ 14 w 776"/>
                  <a:gd name="T7" fmla="*/ 466 h 468"/>
                  <a:gd name="T8" fmla="*/ 6 w 776"/>
                  <a:gd name="T9" fmla="*/ 462 h 468"/>
                  <a:gd name="T10" fmla="*/ 2 w 776"/>
                  <a:gd name="T11" fmla="*/ 456 h 468"/>
                  <a:gd name="T12" fmla="*/ 0 w 776"/>
                  <a:gd name="T13" fmla="*/ 446 h 468"/>
                  <a:gd name="T14" fmla="*/ 0 w 776"/>
                  <a:gd name="T15" fmla="*/ 22 h 468"/>
                  <a:gd name="T16" fmla="*/ 0 w 776"/>
                  <a:gd name="T17" fmla="*/ 22 h 468"/>
                  <a:gd name="T18" fmla="*/ 2 w 776"/>
                  <a:gd name="T19" fmla="*/ 14 h 468"/>
                  <a:gd name="T20" fmla="*/ 6 w 776"/>
                  <a:gd name="T21" fmla="*/ 6 h 468"/>
                  <a:gd name="T22" fmla="*/ 14 w 776"/>
                  <a:gd name="T23" fmla="*/ 2 h 468"/>
                  <a:gd name="T24" fmla="*/ 22 w 776"/>
                  <a:gd name="T25" fmla="*/ 0 h 468"/>
                  <a:gd name="T26" fmla="*/ 86 w 776"/>
                  <a:gd name="T27" fmla="*/ 0 h 468"/>
                  <a:gd name="T28" fmla="*/ 86 w 776"/>
                  <a:gd name="T29" fmla="*/ 18 h 468"/>
                  <a:gd name="T30" fmla="*/ 22 w 776"/>
                  <a:gd name="T31" fmla="*/ 18 h 468"/>
                  <a:gd name="T32" fmla="*/ 22 w 776"/>
                  <a:gd name="T33" fmla="*/ 18 h 468"/>
                  <a:gd name="T34" fmla="*/ 20 w 776"/>
                  <a:gd name="T35" fmla="*/ 18 h 468"/>
                  <a:gd name="T36" fmla="*/ 18 w 776"/>
                  <a:gd name="T37" fmla="*/ 22 h 468"/>
                  <a:gd name="T38" fmla="*/ 18 w 776"/>
                  <a:gd name="T39" fmla="*/ 446 h 468"/>
                  <a:gd name="T40" fmla="*/ 18 w 776"/>
                  <a:gd name="T41" fmla="*/ 446 h 468"/>
                  <a:gd name="T42" fmla="*/ 20 w 776"/>
                  <a:gd name="T43" fmla="*/ 450 h 468"/>
                  <a:gd name="T44" fmla="*/ 22 w 776"/>
                  <a:gd name="T45" fmla="*/ 450 h 468"/>
                  <a:gd name="T46" fmla="*/ 754 w 776"/>
                  <a:gd name="T47" fmla="*/ 450 h 468"/>
                  <a:gd name="T48" fmla="*/ 754 w 776"/>
                  <a:gd name="T49" fmla="*/ 450 h 468"/>
                  <a:gd name="T50" fmla="*/ 756 w 776"/>
                  <a:gd name="T51" fmla="*/ 450 h 468"/>
                  <a:gd name="T52" fmla="*/ 758 w 776"/>
                  <a:gd name="T53" fmla="*/ 446 h 468"/>
                  <a:gd name="T54" fmla="*/ 758 w 776"/>
                  <a:gd name="T55" fmla="*/ 22 h 468"/>
                  <a:gd name="T56" fmla="*/ 758 w 776"/>
                  <a:gd name="T57" fmla="*/ 22 h 468"/>
                  <a:gd name="T58" fmla="*/ 756 w 776"/>
                  <a:gd name="T59" fmla="*/ 18 h 468"/>
                  <a:gd name="T60" fmla="*/ 754 w 776"/>
                  <a:gd name="T61" fmla="*/ 18 h 468"/>
                  <a:gd name="T62" fmla="*/ 690 w 776"/>
                  <a:gd name="T63" fmla="*/ 18 h 468"/>
                  <a:gd name="T64" fmla="*/ 690 w 776"/>
                  <a:gd name="T65" fmla="*/ 0 h 468"/>
                  <a:gd name="T66" fmla="*/ 754 w 776"/>
                  <a:gd name="T67" fmla="*/ 0 h 468"/>
                  <a:gd name="T68" fmla="*/ 754 w 776"/>
                  <a:gd name="T69" fmla="*/ 0 h 468"/>
                  <a:gd name="T70" fmla="*/ 762 w 776"/>
                  <a:gd name="T71" fmla="*/ 2 h 468"/>
                  <a:gd name="T72" fmla="*/ 770 w 776"/>
                  <a:gd name="T73" fmla="*/ 6 h 468"/>
                  <a:gd name="T74" fmla="*/ 774 w 776"/>
                  <a:gd name="T75" fmla="*/ 14 h 468"/>
                  <a:gd name="T76" fmla="*/ 776 w 776"/>
                  <a:gd name="T77" fmla="*/ 22 h 468"/>
                  <a:gd name="T78" fmla="*/ 776 w 776"/>
                  <a:gd name="T79" fmla="*/ 446 h 468"/>
                  <a:gd name="T80" fmla="*/ 776 w 776"/>
                  <a:gd name="T81" fmla="*/ 446 h 468"/>
                  <a:gd name="T82" fmla="*/ 774 w 776"/>
                  <a:gd name="T83" fmla="*/ 456 h 468"/>
                  <a:gd name="T84" fmla="*/ 770 w 776"/>
                  <a:gd name="T85" fmla="*/ 462 h 468"/>
                  <a:gd name="T86" fmla="*/ 762 w 776"/>
                  <a:gd name="T87" fmla="*/ 466 h 468"/>
                  <a:gd name="T88" fmla="*/ 754 w 776"/>
                  <a:gd name="T89" fmla="*/ 468 h 468"/>
                  <a:gd name="T90" fmla="*/ 754 w 776"/>
                  <a:gd name="T9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6" h="468">
                    <a:moveTo>
                      <a:pt x="754" y="468"/>
                    </a:moveTo>
                    <a:lnTo>
                      <a:pt x="22" y="468"/>
                    </a:lnTo>
                    <a:lnTo>
                      <a:pt x="22" y="468"/>
                    </a:lnTo>
                    <a:lnTo>
                      <a:pt x="14" y="466"/>
                    </a:lnTo>
                    <a:lnTo>
                      <a:pt x="6" y="462"/>
                    </a:lnTo>
                    <a:lnTo>
                      <a:pt x="2" y="456"/>
                    </a:lnTo>
                    <a:lnTo>
                      <a:pt x="0" y="446"/>
                    </a:lnTo>
                    <a:lnTo>
                      <a:pt x="0" y="22"/>
                    </a:lnTo>
                    <a:lnTo>
                      <a:pt x="0" y="22"/>
                    </a:lnTo>
                    <a:lnTo>
                      <a:pt x="2" y="14"/>
                    </a:lnTo>
                    <a:lnTo>
                      <a:pt x="6" y="6"/>
                    </a:lnTo>
                    <a:lnTo>
                      <a:pt x="14" y="2"/>
                    </a:lnTo>
                    <a:lnTo>
                      <a:pt x="22" y="0"/>
                    </a:lnTo>
                    <a:lnTo>
                      <a:pt x="86" y="0"/>
                    </a:lnTo>
                    <a:lnTo>
                      <a:pt x="86" y="18"/>
                    </a:lnTo>
                    <a:lnTo>
                      <a:pt x="22" y="18"/>
                    </a:lnTo>
                    <a:lnTo>
                      <a:pt x="22" y="18"/>
                    </a:lnTo>
                    <a:lnTo>
                      <a:pt x="20" y="18"/>
                    </a:lnTo>
                    <a:lnTo>
                      <a:pt x="18" y="22"/>
                    </a:lnTo>
                    <a:lnTo>
                      <a:pt x="18" y="446"/>
                    </a:lnTo>
                    <a:lnTo>
                      <a:pt x="18" y="446"/>
                    </a:lnTo>
                    <a:lnTo>
                      <a:pt x="20" y="450"/>
                    </a:lnTo>
                    <a:lnTo>
                      <a:pt x="22" y="450"/>
                    </a:lnTo>
                    <a:lnTo>
                      <a:pt x="754" y="450"/>
                    </a:lnTo>
                    <a:lnTo>
                      <a:pt x="754" y="450"/>
                    </a:lnTo>
                    <a:lnTo>
                      <a:pt x="756" y="450"/>
                    </a:lnTo>
                    <a:lnTo>
                      <a:pt x="758" y="446"/>
                    </a:lnTo>
                    <a:lnTo>
                      <a:pt x="758" y="22"/>
                    </a:lnTo>
                    <a:lnTo>
                      <a:pt x="758" y="22"/>
                    </a:lnTo>
                    <a:lnTo>
                      <a:pt x="756" y="18"/>
                    </a:lnTo>
                    <a:lnTo>
                      <a:pt x="754" y="18"/>
                    </a:lnTo>
                    <a:lnTo>
                      <a:pt x="690" y="18"/>
                    </a:lnTo>
                    <a:lnTo>
                      <a:pt x="690" y="0"/>
                    </a:lnTo>
                    <a:lnTo>
                      <a:pt x="754" y="0"/>
                    </a:lnTo>
                    <a:lnTo>
                      <a:pt x="754" y="0"/>
                    </a:lnTo>
                    <a:lnTo>
                      <a:pt x="762" y="2"/>
                    </a:lnTo>
                    <a:lnTo>
                      <a:pt x="770" y="6"/>
                    </a:lnTo>
                    <a:lnTo>
                      <a:pt x="774" y="14"/>
                    </a:lnTo>
                    <a:lnTo>
                      <a:pt x="776" y="22"/>
                    </a:lnTo>
                    <a:lnTo>
                      <a:pt x="776" y="446"/>
                    </a:lnTo>
                    <a:lnTo>
                      <a:pt x="776" y="446"/>
                    </a:lnTo>
                    <a:lnTo>
                      <a:pt x="774" y="456"/>
                    </a:lnTo>
                    <a:lnTo>
                      <a:pt x="770" y="462"/>
                    </a:lnTo>
                    <a:lnTo>
                      <a:pt x="762" y="466"/>
                    </a:lnTo>
                    <a:lnTo>
                      <a:pt x="754" y="468"/>
                    </a:lnTo>
                    <a:lnTo>
                      <a:pt x="754" y="4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5" name="Freeform 26">
                <a:extLst>
                  <a:ext uri="{FF2B5EF4-FFF2-40B4-BE49-F238E27FC236}">
                    <a16:creationId xmlns:a16="http://schemas.microsoft.com/office/drawing/2014/main" id="{91369047-E97F-45E7-AF36-10C9C40FE2CF}"/>
                  </a:ext>
                </a:extLst>
              </p:cNvPr>
              <p:cNvSpPr>
                <a:spLocks noEditPoints="1"/>
              </p:cNvSpPr>
              <p:nvPr/>
            </p:nvSpPr>
            <p:spPr bwMode="auto">
              <a:xfrm>
                <a:off x="3054350" y="3098800"/>
                <a:ext cx="447675" cy="682625"/>
              </a:xfrm>
              <a:custGeom>
                <a:avLst/>
                <a:gdLst>
                  <a:gd name="T0" fmla="*/ 282 w 282"/>
                  <a:gd name="T1" fmla="*/ 430 h 430"/>
                  <a:gd name="T2" fmla="*/ 264 w 282"/>
                  <a:gd name="T3" fmla="*/ 430 h 430"/>
                  <a:gd name="T4" fmla="*/ 264 w 282"/>
                  <a:gd name="T5" fmla="*/ 420 h 430"/>
                  <a:gd name="T6" fmla="*/ 264 w 282"/>
                  <a:gd name="T7" fmla="*/ 420 h 430"/>
                  <a:gd name="T8" fmla="*/ 264 w 282"/>
                  <a:gd name="T9" fmla="*/ 414 h 430"/>
                  <a:gd name="T10" fmla="*/ 262 w 282"/>
                  <a:gd name="T11" fmla="*/ 406 h 430"/>
                  <a:gd name="T12" fmla="*/ 258 w 282"/>
                  <a:gd name="T13" fmla="*/ 400 h 430"/>
                  <a:gd name="T14" fmla="*/ 254 w 282"/>
                  <a:gd name="T15" fmla="*/ 396 h 430"/>
                  <a:gd name="T16" fmla="*/ 250 w 282"/>
                  <a:gd name="T17" fmla="*/ 392 h 430"/>
                  <a:gd name="T18" fmla="*/ 244 w 282"/>
                  <a:gd name="T19" fmla="*/ 388 h 430"/>
                  <a:gd name="T20" fmla="*/ 236 w 282"/>
                  <a:gd name="T21" fmla="*/ 386 h 430"/>
                  <a:gd name="T22" fmla="*/ 230 w 282"/>
                  <a:gd name="T23" fmla="*/ 386 h 430"/>
                  <a:gd name="T24" fmla="*/ 0 w 282"/>
                  <a:gd name="T25" fmla="*/ 386 h 430"/>
                  <a:gd name="T26" fmla="*/ 0 w 282"/>
                  <a:gd name="T27" fmla="*/ 0 h 430"/>
                  <a:gd name="T28" fmla="*/ 230 w 282"/>
                  <a:gd name="T29" fmla="*/ 0 h 430"/>
                  <a:gd name="T30" fmla="*/ 230 w 282"/>
                  <a:gd name="T31" fmla="*/ 0 h 430"/>
                  <a:gd name="T32" fmla="*/ 240 w 282"/>
                  <a:gd name="T33" fmla="*/ 0 h 430"/>
                  <a:gd name="T34" fmla="*/ 250 w 282"/>
                  <a:gd name="T35" fmla="*/ 4 h 430"/>
                  <a:gd name="T36" fmla="*/ 260 w 282"/>
                  <a:gd name="T37" fmla="*/ 8 h 430"/>
                  <a:gd name="T38" fmla="*/ 268 w 282"/>
                  <a:gd name="T39" fmla="*/ 14 h 430"/>
                  <a:gd name="T40" fmla="*/ 274 w 282"/>
                  <a:gd name="T41" fmla="*/ 22 h 430"/>
                  <a:gd name="T42" fmla="*/ 278 w 282"/>
                  <a:gd name="T43" fmla="*/ 32 h 430"/>
                  <a:gd name="T44" fmla="*/ 282 w 282"/>
                  <a:gd name="T45" fmla="*/ 42 h 430"/>
                  <a:gd name="T46" fmla="*/ 282 w 282"/>
                  <a:gd name="T47" fmla="*/ 52 h 430"/>
                  <a:gd name="T48" fmla="*/ 282 w 282"/>
                  <a:gd name="T49" fmla="*/ 386 h 430"/>
                  <a:gd name="T50" fmla="*/ 270 w 282"/>
                  <a:gd name="T51" fmla="*/ 386 h 430"/>
                  <a:gd name="T52" fmla="*/ 270 w 282"/>
                  <a:gd name="T53" fmla="*/ 386 h 430"/>
                  <a:gd name="T54" fmla="*/ 276 w 282"/>
                  <a:gd name="T55" fmla="*/ 392 h 430"/>
                  <a:gd name="T56" fmla="*/ 280 w 282"/>
                  <a:gd name="T57" fmla="*/ 402 h 430"/>
                  <a:gd name="T58" fmla="*/ 282 w 282"/>
                  <a:gd name="T59" fmla="*/ 410 h 430"/>
                  <a:gd name="T60" fmla="*/ 282 w 282"/>
                  <a:gd name="T61" fmla="*/ 420 h 430"/>
                  <a:gd name="T62" fmla="*/ 282 w 282"/>
                  <a:gd name="T63" fmla="*/ 430 h 430"/>
                  <a:gd name="T64" fmla="*/ 18 w 282"/>
                  <a:gd name="T65" fmla="*/ 368 h 430"/>
                  <a:gd name="T66" fmla="*/ 230 w 282"/>
                  <a:gd name="T67" fmla="*/ 368 h 430"/>
                  <a:gd name="T68" fmla="*/ 230 w 282"/>
                  <a:gd name="T69" fmla="*/ 368 h 430"/>
                  <a:gd name="T70" fmla="*/ 240 w 282"/>
                  <a:gd name="T71" fmla="*/ 368 h 430"/>
                  <a:gd name="T72" fmla="*/ 248 w 282"/>
                  <a:gd name="T73" fmla="*/ 370 h 430"/>
                  <a:gd name="T74" fmla="*/ 258 w 282"/>
                  <a:gd name="T75" fmla="*/ 374 h 430"/>
                  <a:gd name="T76" fmla="*/ 264 w 282"/>
                  <a:gd name="T77" fmla="*/ 380 h 430"/>
                  <a:gd name="T78" fmla="*/ 264 w 282"/>
                  <a:gd name="T79" fmla="*/ 52 h 430"/>
                  <a:gd name="T80" fmla="*/ 264 w 282"/>
                  <a:gd name="T81" fmla="*/ 52 h 430"/>
                  <a:gd name="T82" fmla="*/ 264 w 282"/>
                  <a:gd name="T83" fmla="*/ 46 h 430"/>
                  <a:gd name="T84" fmla="*/ 262 w 282"/>
                  <a:gd name="T85" fmla="*/ 38 h 430"/>
                  <a:gd name="T86" fmla="*/ 258 w 282"/>
                  <a:gd name="T87" fmla="*/ 32 h 430"/>
                  <a:gd name="T88" fmla="*/ 254 w 282"/>
                  <a:gd name="T89" fmla="*/ 28 h 430"/>
                  <a:gd name="T90" fmla="*/ 250 w 282"/>
                  <a:gd name="T91" fmla="*/ 24 h 430"/>
                  <a:gd name="T92" fmla="*/ 244 w 282"/>
                  <a:gd name="T93" fmla="*/ 20 h 430"/>
                  <a:gd name="T94" fmla="*/ 236 w 282"/>
                  <a:gd name="T95" fmla="*/ 18 h 430"/>
                  <a:gd name="T96" fmla="*/ 230 w 282"/>
                  <a:gd name="T97" fmla="*/ 18 h 430"/>
                  <a:gd name="T98" fmla="*/ 18 w 282"/>
                  <a:gd name="T99" fmla="*/ 18 h 430"/>
                  <a:gd name="T100" fmla="*/ 18 w 282"/>
                  <a:gd name="T101" fmla="*/ 36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30">
                    <a:moveTo>
                      <a:pt x="282" y="430"/>
                    </a:moveTo>
                    <a:lnTo>
                      <a:pt x="264" y="430"/>
                    </a:lnTo>
                    <a:lnTo>
                      <a:pt x="264" y="420"/>
                    </a:lnTo>
                    <a:lnTo>
                      <a:pt x="264" y="420"/>
                    </a:lnTo>
                    <a:lnTo>
                      <a:pt x="264" y="414"/>
                    </a:lnTo>
                    <a:lnTo>
                      <a:pt x="262" y="406"/>
                    </a:lnTo>
                    <a:lnTo>
                      <a:pt x="258" y="400"/>
                    </a:lnTo>
                    <a:lnTo>
                      <a:pt x="254" y="396"/>
                    </a:lnTo>
                    <a:lnTo>
                      <a:pt x="250" y="392"/>
                    </a:lnTo>
                    <a:lnTo>
                      <a:pt x="244" y="388"/>
                    </a:lnTo>
                    <a:lnTo>
                      <a:pt x="236" y="386"/>
                    </a:lnTo>
                    <a:lnTo>
                      <a:pt x="230" y="386"/>
                    </a:lnTo>
                    <a:lnTo>
                      <a:pt x="0" y="386"/>
                    </a:lnTo>
                    <a:lnTo>
                      <a:pt x="0" y="0"/>
                    </a:lnTo>
                    <a:lnTo>
                      <a:pt x="230" y="0"/>
                    </a:lnTo>
                    <a:lnTo>
                      <a:pt x="230" y="0"/>
                    </a:lnTo>
                    <a:lnTo>
                      <a:pt x="240" y="0"/>
                    </a:lnTo>
                    <a:lnTo>
                      <a:pt x="250" y="4"/>
                    </a:lnTo>
                    <a:lnTo>
                      <a:pt x="260" y="8"/>
                    </a:lnTo>
                    <a:lnTo>
                      <a:pt x="268" y="14"/>
                    </a:lnTo>
                    <a:lnTo>
                      <a:pt x="274" y="22"/>
                    </a:lnTo>
                    <a:lnTo>
                      <a:pt x="278" y="32"/>
                    </a:lnTo>
                    <a:lnTo>
                      <a:pt x="282" y="42"/>
                    </a:lnTo>
                    <a:lnTo>
                      <a:pt x="282" y="52"/>
                    </a:lnTo>
                    <a:lnTo>
                      <a:pt x="282" y="386"/>
                    </a:lnTo>
                    <a:lnTo>
                      <a:pt x="270" y="386"/>
                    </a:lnTo>
                    <a:lnTo>
                      <a:pt x="270" y="386"/>
                    </a:lnTo>
                    <a:lnTo>
                      <a:pt x="276" y="392"/>
                    </a:lnTo>
                    <a:lnTo>
                      <a:pt x="280" y="402"/>
                    </a:lnTo>
                    <a:lnTo>
                      <a:pt x="282" y="410"/>
                    </a:lnTo>
                    <a:lnTo>
                      <a:pt x="282" y="420"/>
                    </a:lnTo>
                    <a:lnTo>
                      <a:pt x="282" y="430"/>
                    </a:lnTo>
                    <a:close/>
                    <a:moveTo>
                      <a:pt x="18" y="368"/>
                    </a:moveTo>
                    <a:lnTo>
                      <a:pt x="230" y="368"/>
                    </a:lnTo>
                    <a:lnTo>
                      <a:pt x="230" y="368"/>
                    </a:lnTo>
                    <a:lnTo>
                      <a:pt x="240" y="368"/>
                    </a:lnTo>
                    <a:lnTo>
                      <a:pt x="248" y="370"/>
                    </a:lnTo>
                    <a:lnTo>
                      <a:pt x="258" y="374"/>
                    </a:lnTo>
                    <a:lnTo>
                      <a:pt x="264" y="380"/>
                    </a:lnTo>
                    <a:lnTo>
                      <a:pt x="264" y="52"/>
                    </a:lnTo>
                    <a:lnTo>
                      <a:pt x="264" y="52"/>
                    </a:lnTo>
                    <a:lnTo>
                      <a:pt x="264" y="46"/>
                    </a:lnTo>
                    <a:lnTo>
                      <a:pt x="262" y="38"/>
                    </a:lnTo>
                    <a:lnTo>
                      <a:pt x="258" y="32"/>
                    </a:lnTo>
                    <a:lnTo>
                      <a:pt x="254" y="28"/>
                    </a:lnTo>
                    <a:lnTo>
                      <a:pt x="250" y="24"/>
                    </a:lnTo>
                    <a:lnTo>
                      <a:pt x="244" y="20"/>
                    </a:lnTo>
                    <a:lnTo>
                      <a:pt x="236" y="18"/>
                    </a:lnTo>
                    <a:lnTo>
                      <a:pt x="230" y="18"/>
                    </a:lnTo>
                    <a:lnTo>
                      <a:pt x="18" y="18"/>
                    </a:lnTo>
                    <a:lnTo>
                      <a:pt x="18" y="3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6" name="Freeform 27">
                <a:extLst>
                  <a:ext uri="{FF2B5EF4-FFF2-40B4-BE49-F238E27FC236}">
                    <a16:creationId xmlns:a16="http://schemas.microsoft.com/office/drawing/2014/main" id="{887A5002-6E4E-4AC4-9AAD-2D18B8490AA7}"/>
                  </a:ext>
                </a:extLst>
              </p:cNvPr>
              <p:cNvSpPr>
                <a:spLocks noEditPoints="1"/>
              </p:cNvSpPr>
              <p:nvPr/>
            </p:nvSpPr>
            <p:spPr bwMode="auto">
              <a:xfrm>
                <a:off x="3473450" y="3098800"/>
                <a:ext cx="450850" cy="666750"/>
              </a:xfrm>
              <a:custGeom>
                <a:avLst/>
                <a:gdLst>
                  <a:gd name="T0" fmla="*/ 18 w 284"/>
                  <a:gd name="T1" fmla="*/ 420 h 420"/>
                  <a:gd name="T2" fmla="*/ 0 w 284"/>
                  <a:gd name="T3" fmla="*/ 420 h 420"/>
                  <a:gd name="T4" fmla="*/ 0 w 284"/>
                  <a:gd name="T5" fmla="*/ 52 h 420"/>
                  <a:gd name="T6" fmla="*/ 0 w 284"/>
                  <a:gd name="T7" fmla="*/ 52 h 420"/>
                  <a:gd name="T8" fmla="*/ 2 w 284"/>
                  <a:gd name="T9" fmla="*/ 42 h 420"/>
                  <a:gd name="T10" fmla="*/ 6 w 284"/>
                  <a:gd name="T11" fmla="*/ 32 h 420"/>
                  <a:gd name="T12" fmla="*/ 10 w 284"/>
                  <a:gd name="T13" fmla="*/ 22 h 420"/>
                  <a:gd name="T14" fmla="*/ 16 w 284"/>
                  <a:gd name="T15" fmla="*/ 14 h 420"/>
                  <a:gd name="T16" fmla="*/ 24 w 284"/>
                  <a:gd name="T17" fmla="*/ 8 h 420"/>
                  <a:gd name="T18" fmla="*/ 34 w 284"/>
                  <a:gd name="T19" fmla="*/ 4 h 420"/>
                  <a:gd name="T20" fmla="*/ 44 w 284"/>
                  <a:gd name="T21" fmla="*/ 0 h 420"/>
                  <a:gd name="T22" fmla="*/ 54 w 284"/>
                  <a:gd name="T23" fmla="*/ 0 h 420"/>
                  <a:gd name="T24" fmla="*/ 284 w 284"/>
                  <a:gd name="T25" fmla="*/ 0 h 420"/>
                  <a:gd name="T26" fmla="*/ 284 w 284"/>
                  <a:gd name="T27" fmla="*/ 386 h 420"/>
                  <a:gd name="T28" fmla="*/ 54 w 284"/>
                  <a:gd name="T29" fmla="*/ 386 h 420"/>
                  <a:gd name="T30" fmla="*/ 54 w 284"/>
                  <a:gd name="T31" fmla="*/ 386 h 420"/>
                  <a:gd name="T32" fmla="*/ 48 w 284"/>
                  <a:gd name="T33" fmla="*/ 386 h 420"/>
                  <a:gd name="T34" fmla="*/ 40 w 284"/>
                  <a:gd name="T35" fmla="*/ 388 h 420"/>
                  <a:gd name="T36" fmla="*/ 34 w 284"/>
                  <a:gd name="T37" fmla="*/ 392 h 420"/>
                  <a:gd name="T38" fmla="*/ 30 w 284"/>
                  <a:gd name="T39" fmla="*/ 396 h 420"/>
                  <a:gd name="T40" fmla="*/ 24 w 284"/>
                  <a:gd name="T41" fmla="*/ 400 h 420"/>
                  <a:gd name="T42" fmla="*/ 22 w 284"/>
                  <a:gd name="T43" fmla="*/ 406 h 420"/>
                  <a:gd name="T44" fmla="*/ 20 w 284"/>
                  <a:gd name="T45" fmla="*/ 414 h 420"/>
                  <a:gd name="T46" fmla="*/ 18 w 284"/>
                  <a:gd name="T47" fmla="*/ 420 h 420"/>
                  <a:gd name="T48" fmla="*/ 18 w 284"/>
                  <a:gd name="T49" fmla="*/ 420 h 420"/>
                  <a:gd name="T50" fmla="*/ 54 w 284"/>
                  <a:gd name="T51" fmla="*/ 18 h 420"/>
                  <a:gd name="T52" fmla="*/ 54 w 284"/>
                  <a:gd name="T53" fmla="*/ 18 h 420"/>
                  <a:gd name="T54" fmla="*/ 48 w 284"/>
                  <a:gd name="T55" fmla="*/ 18 h 420"/>
                  <a:gd name="T56" fmla="*/ 40 w 284"/>
                  <a:gd name="T57" fmla="*/ 20 h 420"/>
                  <a:gd name="T58" fmla="*/ 34 w 284"/>
                  <a:gd name="T59" fmla="*/ 24 h 420"/>
                  <a:gd name="T60" fmla="*/ 30 w 284"/>
                  <a:gd name="T61" fmla="*/ 28 h 420"/>
                  <a:gd name="T62" fmla="*/ 24 w 284"/>
                  <a:gd name="T63" fmla="*/ 32 h 420"/>
                  <a:gd name="T64" fmla="*/ 22 w 284"/>
                  <a:gd name="T65" fmla="*/ 38 h 420"/>
                  <a:gd name="T66" fmla="*/ 20 w 284"/>
                  <a:gd name="T67" fmla="*/ 46 h 420"/>
                  <a:gd name="T68" fmla="*/ 18 w 284"/>
                  <a:gd name="T69" fmla="*/ 52 h 420"/>
                  <a:gd name="T70" fmla="*/ 18 w 284"/>
                  <a:gd name="T71" fmla="*/ 380 h 420"/>
                  <a:gd name="T72" fmla="*/ 18 w 284"/>
                  <a:gd name="T73" fmla="*/ 380 h 420"/>
                  <a:gd name="T74" fmla="*/ 26 w 284"/>
                  <a:gd name="T75" fmla="*/ 374 h 420"/>
                  <a:gd name="T76" fmla="*/ 34 w 284"/>
                  <a:gd name="T77" fmla="*/ 370 h 420"/>
                  <a:gd name="T78" fmla="*/ 44 w 284"/>
                  <a:gd name="T79" fmla="*/ 368 h 420"/>
                  <a:gd name="T80" fmla="*/ 54 w 284"/>
                  <a:gd name="T81" fmla="*/ 368 h 420"/>
                  <a:gd name="T82" fmla="*/ 266 w 284"/>
                  <a:gd name="T83" fmla="*/ 368 h 420"/>
                  <a:gd name="T84" fmla="*/ 266 w 284"/>
                  <a:gd name="T85" fmla="*/ 18 h 420"/>
                  <a:gd name="T86" fmla="*/ 54 w 284"/>
                  <a:gd name="T87" fmla="*/ 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420">
                    <a:moveTo>
                      <a:pt x="18" y="420"/>
                    </a:moveTo>
                    <a:lnTo>
                      <a:pt x="0" y="420"/>
                    </a:lnTo>
                    <a:lnTo>
                      <a:pt x="0" y="52"/>
                    </a:lnTo>
                    <a:lnTo>
                      <a:pt x="0" y="52"/>
                    </a:lnTo>
                    <a:lnTo>
                      <a:pt x="2" y="42"/>
                    </a:lnTo>
                    <a:lnTo>
                      <a:pt x="6" y="32"/>
                    </a:lnTo>
                    <a:lnTo>
                      <a:pt x="10" y="22"/>
                    </a:lnTo>
                    <a:lnTo>
                      <a:pt x="16" y="14"/>
                    </a:lnTo>
                    <a:lnTo>
                      <a:pt x="24" y="8"/>
                    </a:lnTo>
                    <a:lnTo>
                      <a:pt x="34" y="4"/>
                    </a:lnTo>
                    <a:lnTo>
                      <a:pt x="44" y="0"/>
                    </a:lnTo>
                    <a:lnTo>
                      <a:pt x="54" y="0"/>
                    </a:lnTo>
                    <a:lnTo>
                      <a:pt x="284" y="0"/>
                    </a:lnTo>
                    <a:lnTo>
                      <a:pt x="284" y="386"/>
                    </a:lnTo>
                    <a:lnTo>
                      <a:pt x="54" y="386"/>
                    </a:lnTo>
                    <a:lnTo>
                      <a:pt x="54" y="386"/>
                    </a:lnTo>
                    <a:lnTo>
                      <a:pt x="48" y="386"/>
                    </a:lnTo>
                    <a:lnTo>
                      <a:pt x="40" y="388"/>
                    </a:lnTo>
                    <a:lnTo>
                      <a:pt x="34" y="392"/>
                    </a:lnTo>
                    <a:lnTo>
                      <a:pt x="30" y="396"/>
                    </a:lnTo>
                    <a:lnTo>
                      <a:pt x="24" y="400"/>
                    </a:lnTo>
                    <a:lnTo>
                      <a:pt x="22" y="406"/>
                    </a:lnTo>
                    <a:lnTo>
                      <a:pt x="20" y="414"/>
                    </a:lnTo>
                    <a:lnTo>
                      <a:pt x="18" y="420"/>
                    </a:lnTo>
                    <a:lnTo>
                      <a:pt x="18" y="420"/>
                    </a:lnTo>
                    <a:close/>
                    <a:moveTo>
                      <a:pt x="54" y="18"/>
                    </a:moveTo>
                    <a:lnTo>
                      <a:pt x="54" y="18"/>
                    </a:lnTo>
                    <a:lnTo>
                      <a:pt x="48" y="18"/>
                    </a:lnTo>
                    <a:lnTo>
                      <a:pt x="40" y="20"/>
                    </a:lnTo>
                    <a:lnTo>
                      <a:pt x="34" y="24"/>
                    </a:lnTo>
                    <a:lnTo>
                      <a:pt x="30" y="28"/>
                    </a:lnTo>
                    <a:lnTo>
                      <a:pt x="24" y="32"/>
                    </a:lnTo>
                    <a:lnTo>
                      <a:pt x="22" y="38"/>
                    </a:lnTo>
                    <a:lnTo>
                      <a:pt x="20" y="46"/>
                    </a:lnTo>
                    <a:lnTo>
                      <a:pt x="18" y="52"/>
                    </a:lnTo>
                    <a:lnTo>
                      <a:pt x="18" y="380"/>
                    </a:lnTo>
                    <a:lnTo>
                      <a:pt x="18" y="380"/>
                    </a:lnTo>
                    <a:lnTo>
                      <a:pt x="26" y="374"/>
                    </a:lnTo>
                    <a:lnTo>
                      <a:pt x="34" y="370"/>
                    </a:lnTo>
                    <a:lnTo>
                      <a:pt x="44" y="368"/>
                    </a:lnTo>
                    <a:lnTo>
                      <a:pt x="54" y="368"/>
                    </a:lnTo>
                    <a:lnTo>
                      <a:pt x="266" y="368"/>
                    </a:lnTo>
                    <a:lnTo>
                      <a:pt x="266" y="18"/>
                    </a:lnTo>
                    <a:lnTo>
                      <a:pt x="5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7" name="Rectangle 28">
                <a:extLst>
                  <a:ext uri="{FF2B5EF4-FFF2-40B4-BE49-F238E27FC236}">
                    <a16:creationId xmlns:a16="http://schemas.microsoft.com/office/drawing/2014/main" id="{E2EEF2A7-3EEB-4757-93B9-5C814ACA79D2}"/>
                  </a:ext>
                </a:extLst>
              </p:cNvPr>
              <p:cNvSpPr>
                <a:spLocks noChangeArrowheads="1"/>
              </p:cNvSpPr>
              <p:nvPr/>
            </p:nvSpPr>
            <p:spPr bwMode="auto">
              <a:xfrm>
                <a:off x="3279775" y="327660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8" name="Rectangle 29">
                <a:extLst>
                  <a:ext uri="{FF2B5EF4-FFF2-40B4-BE49-F238E27FC236}">
                    <a16:creationId xmlns:a16="http://schemas.microsoft.com/office/drawing/2014/main" id="{57F981AD-4CEA-4F0B-BDB4-AEC5FF4C7198}"/>
                  </a:ext>
                </a:extLst>
              </p:cNvPr>
              <p:cNvSpPr>
                <a:spLocks noChangeArrowheads="1"/>
              </p:cNvSpPr>
              <p:nvPr/>
            </p:nvSpPr>
            <p:spPr bwMode="auto">
              <a:xfrm>
                <a:off x="3279775" y="334645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9" name="Rectangle 30">
                <a:extLst>
                  <a:ext uri="{FF2B5EF4-FFF2-40B4-BE49-F238E27FC236}">
                    <a16:creationId xmlns:a16="http://schemas.microsoft.com/office/drawing/2014/main" id="{92D47D44-6F86-49D1-8EE4-A86E4B11D73D}"/>
                  </a:ext>
                </a:extLst>
              </p:cNvPr>
              <p:cNvSpPr>
                <a:spLocks noChangeArrowheads="1"/>
              </p:cNvSpPr>
              <p:nvPr/>
            </p:nvSpPr>
            <p:spPr bwMode="auto">
              <a:xfrm>
                <a:off x="31337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0" name="Rectangle 31">
                <a:extLst>
                  <a:ext uri="{FF2B5EF4-FFF2-40B4-BE49-F238E27FC236}">
                    <a16:creationId xmlns:a16="http://schemas.microsoft.com/office/drawing/2014/main" id="{0B675156-66B2-42EA-BB9B-460584CC0204}"/>
                  </a:ext>
                </a:extLst>
              </p:cNvPr>
              <p:cNvSpPr>
                <a:spLocks noChangeArrowheads="1"/>
              </p:cNvSpPr>
              <p:nvPr/>
            </p:nvSpPr>
            <p:spPr bwMode="auto">
              <a:xfrm>
                <a:off x="31337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1" name="Rectangle 32">
                <a:extLst>
                  <a:ext uri="{FF2B5EF4-FFF2-40B4-BE49-F238E27FC236}">
                    <a16:creationId xmlns:a16="http://schemas.microsoft.com/office/drawing/2014/main" id="{2691159C-1D03-4D4F-96D9-DDE0ABF4D650}"/>
                  </a:ext>
                </a:extLst>
              </p:cNvPr>
              <p:cNvSpPr>
                <a:spLocks noChangeArrowheads="1"/>
              </p:cNvSpPr>
              <p:nvPr/>
            </p:nvSpPr>
            <p:spPr bwMode="auto">
              <a:xfrm>
                <a:off x="31337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2" name="Rectangle 33">
                <a:extLst>
                  <a:ext uri="{FF2B5EF4-FFF2-40B4-BE49-F238E27FC236}">
                    <a16:creationId xmlns:a16="http://schemas.microsoft.com/office/drawing/2014/main" id="{BD37B748-4AE8-43BA-BD91-AE555E6FFE26}"/>
                  </a:ext>
                </a:extLst>
              </p:cNvPr>
              <p:cNvSpPr>
                <a:spLocks noChangeArrowheads="1"/>
              </p:cNvSpPr>
              <p:nvPr/>
            </p:nvSpPr>
            <p:spPr bwMode="auto">
              <a:xfrm>
                <a:off x="3552825" y="32766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3" name="Rectangle 34">
                <a:extLst>
                  <a:ext uri="{FF2B5EF4-FFF2-40B4-BE49-F238E27FC236}">
                    <a16:creationId xmlns:a16="http://schemas.microsoft.com/office/drawing/2014/main" id="{BA30E3F5-4006-47D3-A8EC-4FD54A1CDC55}"/>
                  </a:ext>
                </a:extLst>
              </p:cNvPr>
              <p:cNvSpPr>
                <a:spLocks noChangeArrowheads="1"/>
              </p:cNvSpPr>
              <p:nvPr/>
            </p:nvSpPr>
            <p:spPr bwMode="auto">
              <a:xfrm>
                <a:off x="3552825" y="334645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4" name="Rectangle 35">
                <a:extLst>
                  <a:ext uri="{FF2B5EF4-FFF2-40B4-BE49-F238E27FC236}">
                    <a16:creationId xmlns:a16="http://schemas.microsoft.com/office/drawing/2014/main" id="{E41A9C76-830C-43F1-B5E5-2C17771A0DC8}"/>
                  </a:ext>
                </a:extLst>
              </p:cNvPr>
              <p:cNvSpPr>
                <a:spLocks noChangeArrowheads="1"/>
              </p:cNvSpPr>
              <p:nvPr/>
            </p:nvSpPr>
            <p:spPr bwMode="auto">
              <a:xfrm>
                <a:off x="35528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5" name="Rectangle 36">
                <a:extLst>
                  <a:ext uri="{FF2B5EF4-FFF2-40B4-BE49-F238E27FC236}">
                    <a16:creationId xmlns:a16="http://schemas.microsoft.com/office/drawing/2014/main" id="{408E6DAB-CEC8-42D4-9D88-C72FFCDBF29A}"/>
                  </a:ext>
                </a:extLst>
              </p:cNvPr>
              <p:cNvSpPr>
                <a:spLocks noChangeArrowheads="1"/>
              </p:cNvSpPr>
              <p:nvPr/>
            </p:nvSpPr>
            <p:spPr bwMode="auto">
              <a:xfrm>
                <a:off x="35528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6" name="Rectangle 37">
                <a:extLst>
                  <a:ext uri="{FF2B5EF4-FFF2-40B4-BE49-F238E27FC236}">
                    <a16:creationId xmlns:a16="http://schemas.microsoft.com/office/drawing/2014/main" id="{3BF6F852-D46D-40D6-A9D4-FB0369E031BC}"/>
                  </a:ext>
                </a:extLst>
              </p:cNvPr>
              <p:cNvSpPr>
                <a:spLocks noChangeArrowheads="1"/>
              </p:cNvSpPr>
              <p:nvPr/>
            </p:nvSpPr>
            <p:spPr bwMode="auto">
              <a:xfrm>
                <a:off x="35528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7" name="Freeform 38">
                <a:extLst>
                  <a:ext uri="{FF2B5EF4-FFF2-40B4-BE49-F238E27FC236}">
                    <a16:creationId xmlns:a16="http://schemas.microsoft.com/office/drawing/2014/main" id="{BC80FB6A-0C9F-4E3B-92F2-C855A8870B3E}"/>
                  </a:ext>
                </a:extLst>
              </p:cNvPr>
              <p:cNvSpPr>
                <a:spLocks noEditPoints="1"/>
              </p:cNvSpPr>
              <p:nvPr/>
            </p:nvSpPr>
            <p:spPr bwMode="auto">
              <a:xfrm>
                <a:off x="3133725" y="3276600"/>
                <a:ext cx="120650" cy="98425"/>
              </a:xfrm>
              <a:custGeom>
                <a:avLst/>
                <a:gdLst>
                  <a:gd name="T0" fmla="*/ 76 w 76"/>
                  <a:gd name="T1" fmla="*/ 62 h 62"/>
                  <a:gd name="T2" fmla="*/ 0 w 76"/>
                  <a:gd name="T3" fmla="*/ 62 h 62"/>
                  <a:gd name="T4" fmla="*/ 0 w 76"/>
                  <a:gd name="T5" fmla="*/ 0 h 62"/>
                  <a:gd name="T6" fmla="*/ 76 w 76"/>
                  <a:gd name="T7" fmla="*/ 0 h 62"/>
                  <a:gd name="T8" fmla="*/ 76 w 76"/>
                  <a:gd name="T9" fmla="*/ 62 h 62"/>
                  <a:gd name="T10" fmla="*/ 18 w 76"/>
                  <a:gd name="T11" fmla="*/ 44 h 62"/>
                  <a:gd name="T12" fmla="*/ 58 w 76"/>
                  <a:gd name="T13" fmla="*/ 44 h 62"/>
                  <a:gd name="T14" fmla="*/ 58 w 76"/>
                  <a:gd name="T15" fmla="*/ 18 h 62"/>
                  <a:gd name="T16" fmla="*/ 18 w 76"/>
                  <a:gd name="T17" fmla="*/ 18 h 62"/>
                  <a:gd name="T18" fmla="*/ 18 w 76"/>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62">
                    <a:moveTo>
                      <a:pt x="76" y="62"/>
                    </a:moveTo>
                    <a:lnTo>
                      <a:pt x="0" y="62"/>
                    </a:lnTo>
                    <a:lnTo>
                      <a:pt x="0" y="0"/>
                    </a:lnTo>
                    <a:lnTo>
                      <a:pt x="76" y="0"/>
                    </a:lnTo>
                    <a:lnTo>
                      <a:pt x="76" y="62"/>
                    </a:lnTo>
                    <a:close/>
                    <a:moveTo>
                      <a:pt x="18" y="44"/>
                    </a:moveTo>
                    <a:lnTo>
                      <a:pt x="58" y="44"/>
                    </a:lnTo>
                    <a:lnTo>
                      <a:pt x="58" y="18"/>
                    </a:lnTo>
                    <a:lnTo>
                      <a:pt x="18" y="18"/>
                    </a:lnTo>
                    <a:lnTo>
                      <a:pt x="1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grpSp>
        <p:sp>
          <p:nvSpPr>
            <p:cNvPr id="290" name="TextBox 289">
              <a:extLst>
                <a:ext uri="{FF2B5EF4-FFF2-40B4-BE49-F238E27FC236}">
                  <a16:creationId xmlns:a16="http://schemas.microsoft.com/office/drawing/2014/main" id="{26903884-EFF6-41D1-B4CD-7CF6EE013128}"/>
                </a:ext>
              </a:extLst>
            </p:cNvPr>
            <p:cNvSpPr txBox="1"/>
            <p:nvPr/>
          </p:nvSpPr>
          <p:spPr>
            <a:xfrm>
              <a:off x="7655928" y="3817233"/>
              <a:ext cx="1045143" cy="186043"/>
            </a:xfrm>
            <a:prstGeom prst="rect">
              <a:avLst/>
            </a:prstGeom>
            <a:noFill/>
            <a:ln w="12700" cap="sq">
              <a:noFill/>
              <a:miter lim="800000"/>
            </a:ln>
          </p:spPr>
          <p:txBody>
            <a:bodyPr wrap="square" lIns="0" tIns="0" rIns="0" bIns="0"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lang="de-AT" sz="1000" b="1" kern="0" dirty="0">
                  <a:solidFill>
                    <a:srgbClr val="FFE600"/>
                  </a:solidFill>
                </a:rPr>
                <a:t>Off</a:t>
              </a:r>
              <a:r>
                <a:rPr kumimoji="0" lang="de-AT" sz="1000" b="1" i="0" u="none" strike="noStrike" kern="0" cap="none" spc="0" normalizeH="0" baseline="0" noProof="0" dirty="0">
                  <a:ln>
                    <a:noFill/>
                  </a:ln>
                  <a:solidFill>
                    <a:srgbClr val="FFE600"/>
                  </a:solidFill>
                  <a:effectLst/>
                  <a:uLnTx/>
                  <a:uFillTx/>
                </a:rPr>
                <a:t>-</a:t>
              </a:r>
              <a:r>
                <a:rPr kumimoji="0" lang="de-AT" sz="1000" i="0" u="none" strike="noStrike" kern="0" cap="none" spc="0" normalizeH="0" baseline="0" noProof="0" dirty="0" err="1">
                  <a:ln>
                    <a:noFill/>
                  </a:ln>
                  <a:solidFill>
                    <a:srgbClr val="FFE600"/>
                  </a:solidFill>
                  <a:effectLst/>
                  <a:uLnTx/>
                  <a:uFillTx/>
                </a:rPr>
                <a:t>chain</a:t>
              </a:r>
              <a:endParaRPr kumimoji="0" lang="de-AT" sz="1000" i="0" u="none" strike="noStrike" kern="0" cap="none" spc="0" normalizeH="0" baseline="0" noProof="0" dirty="0">
                <a:ln>
                  <a:noFill/>
                </a:ln>
                <a:solidFill>
                  <a:srgbClr val="FFE600"/>
                </a:solidFill>
                <a:effectLst/>
                <a:uLnTx/>
                <a:uFillTx/>
              </a:endParaRPr>
            </a:p>
          </p:txBody>
        </p:sp>
        <p:sp>
          <p:nvSpPr>
            <p:cNvPr id="291" name="TextBox 290">
              <a:extLst>
                <a:ext uri="{FF2B5EF4-FFF2-40B4-BE49-F238E27FC236}">
                  <a16:creationId xmlns:a16="http://schemas.microsoft.com/office/drawing/2014/main" id="{2D2B35F4-8FA8-4D55-B969-E86152365C50}"/>
                </a:ext>
              </a:extLst>
            </p:cNvPr>
            <p:cNvSpPr txBox="1"/>
            <p:nvPr/>
          </p:nvSpPr>
          <p:spPr>
            <a:xfrm>
              <a:off x="8671491" y="3832185"/>
              <a:ext cx="563412" cy="186043"/>
            </a:xfrm>
            <a:prstGeom prst="rect">
              <a:avLst/>
            </a:prstGeom>
            <a:noFill/>
            <a:ln w="12700" cap="sq">
              <a:noFill/>
              <a:miter lim="800000"/>
            </a:ln>
          </p:spPr>
          <p:txBody>
            <a:bodyPr wrap="square" lIns="0" tIns="0" rIns="0" bIns="0" rtlCol="0">
              <a:noAutofit/>
            </a:bodyPr>
            <a:lstStyle/>
            <a:p>
              <a:pPr defTabSz="685434">
                <a:spcBef>
                  <a:spcPct val="20000"/>
                </a:spcBef>
                <a:buClr>
                  <a:srgbClr val="FFE600"/>
                </a:buClr>
                <a:buSzPct val="80000"/>
              </a:pPr>
              <a:r>
                <a:rPr lang="de-AT" sz="1000" b="1" kern="0" dirty="0">
                  <a:solidFill>
                    <a:srgbClr val="FFE600"/>
                  </a:solidFill>
                </a:rPr>
                <a:t>On-</a:t>
              </a:r>
              <a:r>
                <a:rPr lang="de-AT" sz="1000" kern="0" dirty="0">
                  <a:solidFill>
                    <a:srgbClr val="FFE600"/>
                  </a:solidFill>
                </a:rPr>
                <a:t>chain</a:t>
              </a:r>
            </a:p>
          </p:txBody>
        </p:sp>
      </p:grpSp>
    </p:spTree>
    <p:extLst>
      <p:ext uri="{BB962C8B-B14F-4D97-AF65-F5344CB8AC3E}">
        <p14:creationId xmlns:p14="http://schemas.microsoft.com/office/powerpoint/2010/main" val="2199469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EDD9-F5B3-48C1-A24A-E9D32D175F99}"/>
              </a:ext>
            </a:extLst>
          </p:cNvPr>
          <p:cNvSpPr>
            <a:spLocks noGrp="1"/>
          </p:cNvSpPr>
          <p:nvPr>
            <p:ph type="title"/>
          </p:nvPr>
        </p:nvSpPr>
        <p:spPr/>
        <p:txBody>
          <a:bodyPr/>
          <a:lstStyle/>
          <a:p>
            <a:r>
              <a:rPr lang="de-AT" dirty="0" err="1"/>
              <a:t>Principle</a:t>
            </a:r>
            <a:r>
              <a:rPr lang="de-AT" dirty="0"/>
              <a:t> 16</a:t>
            </a:r>
          </a:p>
        </p:txBody>
      </p:sp>
      <p:sp>
        <p:nvSpPr>
          <p:cNvPr id="3" name="Text Placeholder 2">
            <a:extLst>
              <a:ext uri="{FF2B5EF4-FFF2-40B4-BE49-F238E27FC236}">
                <a16:creationId xmlns:a16="http://schemas.microsoft.com/office/drawing/2014/main" id="{3141DF54-C884-476C-A8C7-858491B06CF9}"/>
              </a:ext>
            </a:extLst>
          </p:cNvPr>
          <p:cNvSpPr>
            <a:spLocks noGrp="1"/>
          </p:cNvSpPr>
          <p:nvPr>
            <p:ph type="body" sz="quarter" idx="15"/>
          </p:nvPr>
        </p:nvSpPr>
        <p:spPr/>
        <p:txBody>
          <a:bodyPr>
            <a:normAutofit/>
          </a:bodyPr>
          <a:lstStyle/>
          <a:p>
            <a:r>
              <a:rPr lang="en-US" dirty="0"/>
              <a:t>Information rights </a:t>
            </a:r>
            <a:endParaRPr lang="de-AT" dirty="0"/>
          </a:p>
        </p:txBody>
      </p:sp>
      <p:sp>
        <p:nvSpPr>
          <p:cNvPr id="4" name="Slide Number Placeholder 3">
            <a:extLst>
              <a:ext uri="{FF2B5EF4-FFF2-40B4-BE49-F238E27FC236}">
                <a16:creationId xmlns:a16="http://schemas.microsoft.com/office/drawing/2014/main" id="{E92C1F4C-BAA7-4D66-A70F-6C6921EB3B00}"/>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5</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9747F8B6-02C9-4FC3-8B9A-876E20C94D57}"/>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sp>
        <p:nvSpPr>
          <p:cNvPr id="23" name="TextBox 22">
            <a:extLst>
              <a:ext uri="{FF2B5EF4-FFF2-40B4-BE49-F238E27FC236}">
                <a16:creationId xmlns:a16="http://schemas.microsoft.com/office/drawing/2014/main" id="{BC7C2141-9F76-43EF-98CA-2132286A7E58}"/>
              </a:ext>
            </a:extLst>
          </p:cNvPr>
          <p:cNvSpPr txBox="1"/>
          <p:nvPr/>
        </p:nvSpPr>
        <p:spPr>
          <a:xfrm>
            <a:off x="5654842" y="2959768"/>
            <a:ext cx="914400" cy="914400"/>
          </a:xfrm>
          <a:prstGeom prst="rect">
            <a:avLst/>
          </a:prstGeom>
          <a:noFill/>
          <a:ln w="12700" cap="sq">
            <a:noFill/>
            <a:miter lim="800000"/>
          </a:ln>
        </p:spPr>
        <p:txBody>
          <a:bodyPr wrap="square" lIns="61200" tIns="36576" rIns="0" bIns="0" rtlCol="0">
            <a:noAutofit/>
          </a:bodyPr>
          <a:lstStyle/>
          <a:p>
            <a: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pPr>
            <a:endParaRPr kumimoji="0" lang="de-AT" sz="1400" b="0" i="0" u="none" strike="noStrike" kern="0" cap="none" spc="0" normalizeH="0" baseline="0" noProof="0" dirty="0">
              <a:ln>
                <a:noFill/>
              </a:ln>
              <a:solidFill>
                <a:schemeClr val="bg1"/>
              </a:solidFill>
              <a:effectLst/>
              <a:uLnTx/>
              <a:uFillTx/>
            </a:endParaRPr>
          </a:p>
        </p:txBody>
      </p:sp>
      <p:grpSp>
        <p:nvGrpSpPr>
          <p:cNvPr id="66" name="Group 65">
            <a:extLst>
              <a:ext uri="{FF2B5EF4-FFF2-40B4-BE49-F238E27FC236}">
                <a16:creationId xmlns:a16="http://schemas.microsoft.com/office/drawing/2014/main" id="{97CF6859-F951-4136-BBAF-3392E7FA1EE1}"/>
              </a:ext>
            </a:extLst>
          </p:cNvPr>
          <p:cNvGrpSpPr/>
          <p:nvPr/>
        </p:nvGrpSpPr>
        <p:grpSpPr>
          <a:xfrm>
            <a:off x="609601" y="1360977"/>
            <a:ext cx="10981142" cy="756408"/>
            <a:chOff x="609601" y="1360977"/>
            <a:chExt cx="10981142" cy="756408"/>
          </a:xfrm>
        </p:grpSpPr>
        <p:sp>
          <p:nvSpPr>
            <p:cNvPr id="67" name="Rectangle 66">
              <a:extLst>
                <a:ext uri="{FF2B5EF4-FFF2-40B4-BE49-F238E27FC236}">
                  <a16:creationId xmlns:a16="http://schemas.microsoft.com/office/drawing/2014/main" id="{EB7BB794-3086-4215-9148-62F830FFF1D6}"/>
                </a:ext>
              </a:extLst>
            </p:cNvPr>
            <p:cNvSpPr/>
            <p:nvPr/>
          </p:nvSpPr>
          <p:spPr>
            <a:xfrm>
              <a:off x="609601" y="1360977"/>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16 a) Consumers shall always have the same or functionally equivalent rights to information towards</a:t>
              </a:r>
            </a:p>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their counterparts (including platform operators or similar service providers) as they</a:t>
              </a:r>
              <a:endParaRPr lang="en-GB" sz="1600" kern="0" dirty="0">
                <a:solidFill>
                  <a:schemeClr val="bg1"/>
                </a:solidFill>
              </a:endParaRPr>
            </a:p>
          </p:txBody>
        </p:sp>
        <p:grpSp>
          <p:nvGrpSpPr>
            <p:cNvPr id="68" name="Group 67">
              <a:extLst>
                <a:ext uri="{FF2B5EF4-FFF2-40B4-BE49-F238E27FC236}">
                  <a16:creationId xmlns:a16="http://schemas.microsoft.com/office/drawing/2014/main" id="{63BAA7C8-D3C2-4787-873F-B8946A97FF4C}"/>
                </a:ext>
              </a:extLst>
            </p:cNvPr>
            <p:cNvGrpSpPr/>
            <p:nvPr/>
          </p:nvGrpSpPr>
          <p:grpSpPr>
            <a:xfrm>
              <a:off x="11444402" y="1393610"/>
              <a:ext cx="146341" cy="239780"/>
              <a:chOff x="4011103" y="2105333"/>
              <a:chExt cx="146341" cy="239780"/>
            </a:xfrm>
          </p:grpSpPr>
          <p:grpSp>
            <p:nvGrpSpPr>
              <p:cNvPr id="73" name="Group 72">
                <a:extLst>
                  <a:ext uri="{FF2B5EF4-FFF2-40B4-BE49-F238E27FC236}">
                    <a16:creationId xmlns:a16="http://schemas.microsoft.com/office/drawing/2014/main" id="{53571E3D-02F5-4247-BB78-4901BB1CD2D0}"/>
                  </a:ext>
                </a:extLst>
              </p:cNvPr>
              <p:cNvGrpSpPr/>
              <p:nvPr/>
            </p:nvGrpSpPr>
            <p:grpSpPr>
              <a:xfrm rot="10800000">
                <a:off x="4011103" y="2137035"/>
                <a:ext cx="40849" cy="208078"/>
                <a:chOff x="906170" y="2076504"/>
                <a:chExt cx="79774" cy="406348"/>
              </a:xfrm>
            </p:grpSpPr>
            <p:sp>
              <p:nvSpPr>
                <p:cNvPr id="84" name="Rectangle 83">
                  <a:extLst>
                    <a:ext uri="{FF2B5EF4-FFF2-40B4-BE49-F238E27FC236}">
                      <a16:creationId xmlns:a16="http://schemas.microsoft.com/office/drawing/2014/main" id="{9108241F-D8B4-4681-A445-51010238D661}"/>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5" name="Rectangle 84">
                  <a:extLst>
                    <a:ext uri="{FF2B5EF4-FFF2-40B4-BE49-F238E27FC236}">
                      <a16:creationId xmlns:a16="http://schemas.microsoft.com/office/drawing/2014/main" id="{BAE050BA-7868-4E7B-A86E-ADF4FD73E03E}"/>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6" name="Rectangle 85">
                  <a:extLst>
                    <a:ext uri="{FF2B5EF4-FFF2-40B4-BE49-F238E27FC236}">
                      <a16:creationId xmlns:a16="http://schemas.microsoft.com/office/drawing/2014/main" id="{7F136E01-ADB2-4757-B9E7-5F58CA11EA73}"/>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74" name="Straight Connector 73">
                <a:extLst>
                  <a:ext uri="{FF2B5EF4-FFF2-40B4-BE49-F238E27FC236}">
                    <a16:creationId xmlns:a16="http://schemas.microsoft.com/office/drawing/2014/main" id="{756019C9-EEF1-40CD-BBC0-910D70F37A33}"/>
                  </a:ext>
                </a:extLst>
              </p:cNvPr>
              <p:cNvCxnSpPr>
                <a:stCxn id="86"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F6FC095-24F4-4263-A685-6EAC516D1E9B}"/>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43ACB234-87A9-47E7-9906-F086EB11BCCE}"/>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77" name="Straight Connector 76">
                <a:extLst>
                  <a:ext uri="{FF2B5EF4-FFF2-40B4-BE49-F238E27FC236}">
                    <a16:creationId xmlns:a16="http://schemas.microsoft.com/office/drawing/2014/main" id="{FE4F9789-8317-49B3-90DB-5C8C8D62D296}"/>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52755F-478D-4A32-8389-CA8412DD750A}"/>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0FF57AE-5C78-4BE6-845F-827F8D59A0B4}"/>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47AA068E-7982-41A0-A2CE-87EA22DD1896}"/>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81" name="Group 80">
                <a:extLst>
                  <a:ext uri="{FF2B5EF4-FFF2-40B4-BE49-F238E27FC236}">
                    <a16:creationId xmlns:a16="http://schemas.microsoft.com/office/drawing/2014/main" id="{31C27D4E-5961-4F24-8F7E-159FD98E7179}"/>
                  </a:ext>
                </a:extLst>
              </p:cNvPr>
              <p:cNvGrpSpPr/>
              <p:nvPr/>
            </p:nvGrpSpPr>
            <p:grpSpPr>
              <a:xfrm rot="10800000">
                <a:off x="4051953" y="2312907"/>
                <a:ext cx="105491" cy="26825"/>
                <a:chOff x="1476522" y="2083779"/>
                <a:chExt cx="206012" cy="52386"/>
              </a:xfrm>
            </p:grpSpPr>
            <p:cxnSp>
              <p:nvCxnSpPr>
                <p:cNvPr id="82" name="Straight Connector 81">
                  <a:extLst>
                    <a:ext uri="{FF2B5EF4-FFF2-40B4-BE49-F238E27FC236}">
                      <a16:creationId xmlns:a16="http://schemas.microsoft.com/office/drawing/2014/main" id="{3A6ABF11-40AB-4217-809F-A78A1472FD2A}"/>
                    </a:ext>
                  </a:extLst>
                </p:cNvPr>
                <p:cNvCxnSpPr>
                  <a:stCxn id="84" idx="1"/>
                  <a:endCxn id="83"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38B7537-D36B-4EF9-85DF-054929F30990}"/>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69" name="Group 68">
              <a:extLst>
                <a:ext uri="{FF2B5EF4-FFF2-40B4-BE49-F238E27FC236}">
                  <a16:creationId xmlns:a16="http://schemas.microsoft.com/office/drawing/2014/main" id="{15167A09-2352-4CD6-83AA-A3B7DBDF510A}"/>
                </a:ext>
              </a:extLst>
            </p:cNvPr>
            <p:cNvGrpSpPr/>
            <p:nvPr/>
          </p:nvGrpSpPr>
          <p:grpSpPr>
            <a:xfrm>
              <a:off x="10735874" y="1859016"/>
              <a:ext cx="384181" cy="55099"/>
              <a:chOff x="3609347" y="2150884"/>
              <a:chExt cx="323386" cy="72179"/>
            </a:xfrm>
          </p:grpSpPr>
          <p:sp>
            <p:nvSpPr>
              <p:cNvPr id="70" name="Rectangle: Rounded Corners 69">
                <a:extLst>
                  <a:ext uri="{FF2B5EF4-FFF2-40B4-BE49-F238E27FC236}">
                    <a16:creationId xmlns:a16="http://schemas.microsoft.com/office/drawing/2014/main" id="{FC933E51-7AC1-47ED-A40B-6CF158A2A0A8}"/>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1" name="Rectangle: Rounded Corners 70">
                <a:extLst>
                  <a:ext uri="{FF2B5EF4-FFF2-40B4-BE49-F238E27FC236}">
                    <a16:creationId xmlns:a16="http://schemas.microsoft.com/office/drawing/2014/main" id="{C68649D4-A7D8-4D5C-97BE-99B00A513653}"/>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2" name="Rectangle 71">
                <a:extLst>
                  <a:ext uri="{FF2B5EF4-FFF2-40B4-BE49-F238E27FC236}">
                    <a16:creationId xmlns:a16="http://schemas.microsoft.com/office/drawing/2014/main" id="{D919CC38-9699-4107-8B11-92DF30CD047D}"/>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grpSp>
        <p:nvGrpSpPr>
          <p:cNvPr id="240" name="Group 239">
            <a:extLst>
              <a:ext uri="{FF2B5EF4-FFF2-40B4-BE49-F238E27FC236}">
                <a16:creationId xmlns:a16="http://schemas.microsoft.com/office/drawing/2014/main" id="{77661ED1-AA2D-4A3C-9D6E-BFB808E56202}"/>
              </a:ext>
            </a:extLst>
          </p:cNvPr>
          <p:cNvGrpSpPr/>
          <p:nvPr/>
        </p:nvGrpSpPr>
        <p:grpSpPr>
          <a:xfrm>
            <a:off x="9462010" y="2397335"/>
            <a:ext cx="3046337" cy="3029371"/>
            <a:chOff x="7129387" y="2271837"/>
            <a:chExt cx="2537599" cy="2523467"/>
          </a:xfrm>
        </p:grpSpPr>
        <p:grpSp>
          <p:nvGrpSpPr>
            <p:cNvPr id="285" name="Group 284">
              <a:extLst>
                <a:ext uri="{FF2B5EF4-FFF2-40B4-BE49-F238E27FC236}">
                  <a16:creationId xmlns:a16="http://schemas.microsoft.com/office/drawing/2014/main" id="{2744701E-BC72-464D-8E73-6EE8C56DC3A8}"/>
                </a:ext>
              </a:extLst>
            </p:cNvPr>
            <p:cNvGrpSpPr/>
            <p:nvPr/>
          </p:nvGrpSpPr>
          <p:grpSpPr>
            <a:xfrm>
              <a:off x="7129387" y="2271837"/>
              <a:ext cx="2537599" cy="2523467"/>
              <a:chOff x="8587298" y="2727960"/>
              <a:chExt cx="5865457" cy="5832794"/>
            </a:xfrm>
          </p:grpSpPr>
          <p:sp>
            <p:nvSpPr>
              <p:cNvPr id="330" name="Freeform: Shape 329">
                <a:extLst>
                  <a:ext uri="{FF2B5EF4-FFF2-40B4-BE49-F238E27FC236}">
                    <a16:creationId xmlns:a16="http://schemas.microsoft.com/office/drawing/2014/main" id="{4C1F4DDD-613F-42D4-A183-59C671B72EA2}"/>
                  </a:ext>
                </a:extLst>
              </p:cNvPr>
              <p:cNvSpPr/>
              <p:nvPr/>
            </p:nvSpPr>
            <p:spPr>
              <a:xfrm>
                <a:off x="9178723" y="6495330"/>
                <a:ext cx="135642" cy="54263"/>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331" name="Freeform: Shape 330">
                <a:extLst>
                  <a:ext uri="{FF2B5EF4-FFF2-40B4-BE49-F238E27FC236}">
                    <a16:creationId xmlns:a16="http://schemas.microsoft.com/office/drawing/2014/main" id="{CC6BFB6D-C9DB-43E7-BE83-BA5F3681B3F9}"/>
                  </a:ext>
                </a:extLst>
              </p:cNvPr>
              <p:cNvSpPr/>
              <p:nvPr/>
            </p:nvSpPr>
            <p:spPr>
              <a:xfrm>
                <a:off x="9030593" y="5944055"/>
                <a:ext cx="135642" cy="2713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332" name="Freeform: Shape 331">
                <a:extLst>
                  <a:ext uri="{FF2B5EF4-FFF2-40B4-BE49-F238E27FC236}">
                    <a16:creationId xmlns:a16="http://schemas.microsoft.com/office/drawing/2014/main" id="{37F0E59D-C981-4312-85E9-27D6849858D0}"/>
                  </a:ext>
                </a:extLst>
              </p:cNvPr>
              <p:cNvSpPr/>
              <p:nvPr/>
            </p:nvSpPr>
            <p:spPr>
              <a:xfrm>
                <a:off x="10490151" y="3323370"/>
                <a:ext cx="81395" cy="135642"/>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333" name="Freeform: Shape 332">
                <a:extLst>
                  <a:ext uri="{FF2B5EF4-FFF2-40B4-BE49-F238E27FC236}">
                    <a16:creationId xmlns:a16="http://schemas.microsoft.com/office/drawing/2014/main" id="{C5B80B06-CB6E-4E46-BB2F-B55174E1E130}"/>
                  </a:ext>
                </a:extLst>
              </p:cNvPr>
              <p:cNvSpPr/>
              <p:nvPr/>
            </p:nvSpPr>
            <p:spPr>
              <a:xfrm>
                <a:off x="9113598" y="6315458"/>
                <a:ext cx="135642" cy="54263"/>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334" name="Freeform: Shape 333">
                <a:extLst>
                  <a:ext uri="{FF2B5EF4-FFF2-40B4-BE49-F238E27FC236}">
                    <a16:creationId xmlns:a16="http://schemas.microsoft.com/office/drawing/2014/main" id="{521219F1-F2E5-440B-9011-D235E553262D}"/>
                  </a:ext>
                </a:extLst>
              </p:cNvPr>
              <p:cNvSpPr/>
              <p:nvPr/>
            </p:nvSpPr>
            <p:spPr>
              <a:xfrm>
                <a:off x="9012964" y="5754962"/>
                <a:ext cx="135642" cy="2713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335" name="Freeform: Shape 334">
                <a:extLst>
                  <a:ext uri="{FF2B5EF4-FFF2-40B4-BE49-F238E27FC236}">
                    <a16:creationId xmlns:a16="http://schemas.microsoft.com/office/drawing/2014/main" id="{E48F8CD7-8588-4669-B7C4-8A35336FACC9}"/>
                  </a:ext>
                </a:extLst>
              </p:cNvPr>
              <p:cNvSpPr/>
              <p:nvPr/>
            </p:nvSpPr>
            <p:spPr>
              <a:xfrm>
                <a:off x="9097328" y="4960347"/>
                <a:ext cx="135642" cy="54263"/>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336" name="Freeform: Shape 335">
                <a:extLst>
                  <a:ext uri="{FF2B5EF4-FFF2-40B4-BE49-F238E27FC236}">
                    <a16:creationId xmlns:a16="http://schemas.microsoft.com/office/drawing/2014/main" id="{B2AEDE01-54E4-4C82-B54A-3F5FBB932E81}"/>
                  </a:ext>
                </a:extLst>
              </p:cNvPr>
              <p:cNvSpPr/>
              <p:nvPr/>
            </p:nvSpPr>
            <p:spPr>
              <a:xfrm>
                <a:off x="9010792" y="5559633"/>
                <a:ext cx="135642" cy="2713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337" name="Freeform: Shape 336">
                <a:extLst>
                  <a:ext uri="{FF2B5EF4-FFF2-40B4-BE49-F238E27FC236}">
                    <a16:creationId xmlns:a16="http://schemas.microsoft.com/office/drawing/2014/main" id="{4051E13A-3D62-4F05-9669-7CB65381827A}"/>
                  </a:ext>
                </a:extLst>
              </p:cNvPr>
              <p:cNvSpPr/>
              <p:nvPr/>
            </p:nvSpPr>
            <p:spPr>
              <a:xfrm>
                <a:off x="9157827" y="4767456"/>
                <a:ext cx="135642" cy="54263"/>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338" name="Freeform: Shape 337">
                <a:extLst>
                  <a:ext uri="{FF2B5EF4-FFF2-40B4-BE49-F238E27FC236}">
                    <a16:creationId xmlns:a16="http://schemas.microsoft.com/office/drawing/2014/main" id="{84B40C0C-C657-4B15-A1D9-E6BD2926CD63}"/>
                  </a:ext>
                </a:extLst>
              </p:cNvPr>
              <p:cNvSpPr/>
              <p:nvPr/>
            </p:nvSpPr>
            <p:spPr>
              <a:xfrm>
                <a:off x="9023545" y="5357787"/>
                <a:ext cx="135642" cy="2713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339" name="Freeform: Shape 338">
                <a:extLst>
                  <a:ext uri="{FF2B5EF4-FFF2-40B4-BE49-F238E27FC236}">
                    <a16:creationId xmlns:a16="http://schemas.microsoft.com/office/drawing/2014/main" id="{2F9E9C47-4114-4DEC-8243-FF447561F538}"/>
                  </a:ext>
                </a:extLst>
              </p:cNvPr>
              <p:cNvSpPr/>
              <p:nvPr/>
            </p:nvSpPr>
            <p:spPr>
              <a:xfrm>
                <a:off x="9052567" y="5157582"/>
                <a:ext cx="135642" cy="2713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340" name="Freeform: Shape 339">
                <a:extLst>
                  <a:ext uri="{FF2B5EF4-FFF2-40B4-BE49-F238E27FC236}">
                    <a16:creationId xmlns:a16="http://schemas.microsoft.com/office/drawing/2014/main" id="{88DECEAD-C452-4D67-909B-0E586D037A87}"/>
                  </a:ext>
                </a:extLst>
              </p:cNvPr>
              <p:cNvSpPr/>
              <p:nvPr/>
            </p:nvSpPr>
            <p:spPr>
              <a:xfrm>
                <a:off x="10020537" y="7543335"/>
                <a:ext cx="108526" cy="135642"/>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341" name="Freeform: Shape 340">
                <a:extLst>
                  <a:ext uri="{FF2B5EF4-FFF2-40B4-BE49-F238E27FC236}">
                    <a16:creationId xmlns:a16="http://schemas.microsoft.com/office/drawing/2014/main" id="{95C84816-37B9-4F76-90DF-FF152EBBBF25}"/>
                  </a:ext>
                </a:extLst>
              </p:cNvPr>
              <p:cNvSpPr/>
              <p:nvPr/>
            </p:nvSpPr>
            <p:spPr>
              <a:xfrm>
                <a:off x="9863999" y="7422868"/>
                <a:ext cx="108526" cy="108526"/>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342" name="Freeform: Shape 341">
                <a:extLst>
                  <a:ext uri="{FF2B5EF4-FFF2-40B4-BE49-F238E27FC236}">
                    <a16:creationId xmlns:a16="http://schemas.microsoft.com/office/drawing/2014/main" id="{DA6F428C-2200-4EC9-850C-A9C2FFC3BBC5}"/>
                  </a:ext>
                </a:extLst>
              </p:cNvPr>
              <p:cNvSpPr/>
              <p:nvPr/>
            </p:nvSpPr>
            <p:spPr>
              <a:xfrm>
                <a:off x="10186577" y="7652111"/>
                <a:ext cx="81395" cy="135642"/>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343" name="Freeform: Shape 342">
                <a:extLst>
                  <a:ext uri="{FF2B5EF4-FFF2-40B4-BE49-F238E27FC236}">
                    <a16:creationId xmlns:a16="http://schemas.microsoft.com/office/drawing/2014/main" id="{BFC70B5D-F914-40F8-9636-FEBBA2D072AD}"/>
                  </a:ext>
                </a:extLst>
              </p:cNvPr>
              <p:cNvSpPr/>
              <p:nvPr/>
            </p:nvSpPr>
            <p:spPr>
              <a:xfrm>
                <a:off x="9258742" y="6669763"/>
                <a:ext cx="135642" cy="81395"/>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344" name="Freeform: Shape 343">
                <a:extLst>
                  <a:ext uri="{FF2B5EF4-FFF2-40B4-BE49-F238E27FC236}">
                    <a16:creationId xmlns:a16="http://schemas.microsoft.com/office/drawing/2014/main" id="{790D41CB-21A2-4E27-B237-AF378D928F28}"/>
                  </a:ext>
                </a:extLst>
              </p:cNvPr>
              <p:cNvSpPr/>
              <p:nvPr/>
            </p:nvSpPr>
            <p:spPr>
              <a:xfrm>
                <a:off x="10361557" y="7748150"/>
                <a:ext cx="81395" cy="135642"/>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345" name="Freeform: Shape 344">
                <a:extLst>
                  <a:ext uri="{FF2B5EF4-FFF2-40B4-BE49-F238E27FC236}">
                    <a16:creationId xmlns:a16="http://schemas.microsoft.com/office/drawing/2014/main" id="{82D9F8A0-88AE-40BB-9B3E-664EACA83B8D}"/>
                  </a:ext>
                </a:extLst>
              </p:cNvPr>
              <p:cNvSpPr/>
              <p:nvPr/>
            </p:nvSpPr>
            <p:spPr>
              <a:xfrm>
                <a:off x="9718042" y="7291023"/>
                <a:ext cx="108526" cy="108526"/>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424BB5FF-7E28-4C36-AC76-6B7D35C99540}"/>
                  </a:ext>
                </a:extLst>
              </p:cNvPr>
              <p:cNvSpPr/>
              <p:nvPr/>
            </p:nvSpPr>
            <p:spPr>
              <a:xfrm>
                <a:off x="9353437" y="6837147"/>
                <a:ext cx="135642" cy="81395"/>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5978FA31-53D6-44A5-8558-D8AE111FCB10}"/>
                  </a:ext>
                </a:extLst>
              </p:cNvPr>
              <p:cNvSpPr/>
              <p:nvPr/>
            </p:nvSpPr>
            <p:spPr>
              <a:xfrm>
                <a:off x="9462214" y="6997217"/>
                <a:ext cx="135642" cy="81395"/>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348" name="Freeform: Shape 347">
                <a:extLst>
                  <a:ext uri="{FF2B5EF4-FFF2-40B4-BE49-F238E27FC236}">
                    <a16:creationId xmlns:a16="http://schemas.microsoft.com/office/drawing/2014/main" id="{1F6F9106-9FCE-4BE3-830B-563FAF64D8C0}"/>
                  </a:ext>
                </a:extLst>
              </p:cNvPr>
              <p:cNvSpPr/>
              <p:nvPr/>
            </p:nvSpPr>
            <p:spPr>
              <a:xfrm>
                <a:off x="9584025" y="7148864"/>
                <a:ext cx="108526" cy="108526"/>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349" name="Freeform: Shape 348">
                <a:extLst>
                  <a:ext uri="{FF2B5EF4-FFF2-40B4-BE49-F238E27FC236}">
                    <a16:creationId xmlns:a16="http://schemas.microsoft.com/office/drawing/2014/main" id="{0D44B473-13CA-4F36-AFBB-5BDCE4E2F75A}"/>
                  </a:ext>
                </a:extLst>
              </p:cNvPr>
              <p:cNvSpPr/>
              <p:nvPr/>
            </p:nvSpPr>
            <p:spPr>
              <a:xfrm>
                <a:off x="9063961" y="6131522"/>
                <a:ext cx="135642" cy="2713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350" name="Freeform: Shape 349">
                <a:extLst>
                  <a:ext uri="{FF2B5EF4-FFF2-40B4-BE49-F238E27FC236}">
                    <a16:creationId xmlns:a16="http://schemas.microsoft.com/office/drawing/2014/main" id="{3E04713B-11B1-4DC7-8ED7-E296ABFD11A7}"/>
                  </a:ext>
                </a:extLst>
              </p:cNvPr>
              <p:cNvSpPr/>
              <p:nvPr/>
            </p:nvSpPr>
            <p:spPr>
              <a:xfrm>
                <a:off x="13333577" y="3953852"/>
                <a:ext cx="108526" cy="108526"/>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351" name="Freeform: Shape 350">
                <a:extLst>
                  <a:ext uri="{FF2B5EF4-FFF2-40B4-BE49-F238E27FC236}">
                    <a16:creationId xmlns:a16="http://schemas.microsoft.com/office/drawing/2014/main" id="{BFA5B625-608F-4079-B10C-3F86BE905461}"/>
                  </a:ext>
                </a:extLst>
              </p:cNvPr>
              <p:cNvSpPr/>
              <p:nvPr/>
            </p:nvSpPr>
            <p:spPr>
              <a:xfrm>
                <a:off x="13658312" y="4450864"/>
                <a:ext cx="135642" cy="81395"/>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352" name="Freeform: Shape 351">
                <a:extLst>
                  <a:ext uri="{FF2B5EF4-FFF2-40B4-BE49-F238E27FC236}">
                    <a16:creationId xmlns:a16="http://schemas.microsoft.com/office/drawing/2014/main" id="{02730746-817A-4EF0-BE5E-87CC7B0A63FE}"/>
                  </a:ext>
                </a:extLst>
              </p:cNvPr>
              <p:cNvSpPr/>
              <p:nvPr/>
            </p:nvSpPr>
            <p:spPr>
              <a:xfrm>
                <a:off x="13740785" y="4633173"/>
                <a:ext cx="135642" cy="54263"/>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353" name="Freeform: Shape 352">
                <a:extLst>
                  <a:ext uri="{FF2B5EF4-FFF2-40B4-BE49-F238E27FC236}">
                    <a16:creationId xmlns:a16="http://schemas.microsoft.com/office/drawing/2014/main" id="{56FB5D2E-F87B-4FEF-93CB-F484B52FDADB}"/>
                  </a:ext>
                </a:extLst>
              </p:cNvPr>
              <p:cNvSpPr/>
              <p:nvPr/>
            </p:nvSpPr>
            <p:spPr>
              <a:xfrm>
                <a:off x="13454028" y="4110390"/>
                <a:ext cx="135642" cy="108526"/>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354" name="Freeform: Shape 353">
                <a:extLst>
                  <a:ext uri="{FF2B5EF4-FFF2-40B4-BE49-F238E27FC236}">
                    <a16:creationId xmlns:a16="http://schemas.microsoft.com/office/drawing/2014/main" id="{46CB6B49-3BB0-44FA-8940-4C11C20BE855}"/>
                  </a:ext>
                </a:extLst>
              </p:cNvPr>
              <p:cNvSpPr/>
              <p:nvPr/>
            </p:nvSpPr>
            <p:spPr>
              <a:xfrm>
                <a:off x="13809161" y="4821719"/>
                <a:ext cx="135642" cy="54263"/>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355" name="Freeform: Shape 354">
                <a:extLst>
                  <a:ext uri="{FF2B5EF4-FFF2-40B4-BE49-F238E27FC236}">
                    <a16:creationId xmlns:a16="http://schemas.microsoft.com/office/drawing/2014/main" id="{1A11A244-1E62-4A2A-9E62-D95F5DEC4526}"/>
                  </a:ext>
                </a:extLst>
              </p:cNvPr>
              <p:cNvSpPr/>
              <p:nvPr/>
            </p:nvSpPr>
            <p:spPr>
              <a:xfrm>
                <a:off x="13863143" y="5015970"/>
                <a:ext cx="135642" cy="54263"/>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356" name="Freeform: Shape 355">
                <a:extLst>
                  <a:ext uri="{FF2B5EF4-FFF2-40B4-BE49-F238E27FC236}">
                    <a16:creationId xmlns:a16="http://schemas.microsoft.com/office/drawing/2014/main" id="{DF61B1DD-03D0-42DF-A294-5D7B7D05B11A}"/>
                  </a:ext>
                </a:extLst>
              </p:cNvPr>
              <p:cNvSpPr/>
              <p:nvPr/>
            </p:nvSpPr>
            <p:spPr>
              <a:xfrm>
                <a:off x="13936114" y="5616866"/>
                <a:ext cx="135642" cy="2713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357" name="Freeform: Shape 356">
                <a:extLst>
                  <a:ext uri="{FF2B5EF4-FFF2-40B4-BE49-F238E27FC236}">
                    <a16:creationId xmlns:a16="http://schemas.microsoft.com/office/drawing/2014/main" id="{37490309-AD37-459F-A0EB-F7B5591FAECF}"/>
                  </a:ext>
                </a:extLst>
              </p:cNvPr>
              <p:cNvSpPr/>
              <p:nvPr/>
            </p:nvSpPr>
            <p:spPr>
              <a:xfrm>
                <a:off x="13926627" y="5414489"/>
                <a:ext cx="135642" cy="2713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358" name="Freeform: Shape 357">
                <a:extLst>
                  <a:ext uri="{FF2B5EF4-FFF2-40B4-BE49-F238E27FC236}">
                    <a16:creationId xmlns:a16="http://schemas.microsoft.com/office/drawing/2014/main" id="{2AC4E1D0-56B7-4591-9460-E0CBC9C67258}"/>
                  </a:ext>
                </a:extLst>
              </p:cNvPr>
              <p:cNvSpPr/>
              <p:nvPr/>
            </p:nvSpPr>
            <p:spPr>
              <a:xfrm>
                <a:off x="13902481" y="5214002"/>
                <a:ext cx="135642" cy="2713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359" name="Freeform: Shape 358">
                <a:extLst>
                  <a:ext uri="{FF2B5EF4-FFF2-40B4-BE49-F238E27FC236}">
                    <a16:creationId xmlns:a16="http://schemas.microsoft.com/office/drawing/2014/main" id="{F533FA88-A5A0-432A-928D-EA4D427DE924}"/>
                  </a:ext>
                </a:extLst>
              </p:cNvPr>
              <p:cNvSpPr/>
              <p:nvPr/>
            </p:nvSpPr>
            <p:spPr>
              <a:xfrm>
                <a:off x="10137737" y="3518965"/>
                <a:ext cx="81395" cy="135642"/>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360" name="Freeform: Shape 359">
                <a:extLst>
                  <a:ext uri="{FF2B5EF4-FFF2-40B4-BE49-F238E27FC236}">
                    <a16:creationId xmlns:a16="http://schemas.microsoft.com/office/drawing/2014/main" id="{B65D566D-8631-4BE3-A385-DD4FD50EA484}"/>
                  </a:ext>
                </a:extLst>
              </p:cNvPr>
              <p:cNvSpPr/>
              <p:nvPr/>
            </p:nvSpPr>
            <p:spPr>
              <a:xfrm>
                <a:off x="9429393" y="4227309"/>
                <a:ext cx="135642" cy="81395"/>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361" name="Freeform: Shape 360">
                <a:extLst>
                  <a:ext uri="{FF2B5EF4-FFF2-40B4-BE49-F238E27FC236}">
                    <a16:creationId xmlns:a16="http://schemas.microsoft.com/office/drawing/2014/main" id="{7086F2C8-A120-4387-868D-659F8E12F988}"/>
                  </a:ext>
                </a:extLst>
              </p:cNvPr>
              <p:cNvSpPr/>
              <p:nvPr/>
            </p:nvSpPr>
            <p:spPr>
              <a:xfrm>
                <a:off x="9547672" y="4063722"/>
                <a:ext cx="108526" cy="108526"/>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362" name="Freeform: Shape 361">
                <a:extLst>
                  <a:ext uri="{FF2B5EF4-FFF2-40B4-BE49-F238E27FC236}">
                    <a16:creationId xmlns:a16="http://schemas.microsoft.com/office/drawing/2014/main" id="{18E1DBFF-DE98-43B2-9CCD-55AC638597E5}"/>
                  </a:ext>
                </a:extLst>
              </p:cNvPr>
              <p:cNvSpPr/>
              <p:nvPr/>
            </p:nvSpPr>
            <p:spPr>
              <a:xfrm>
                <a:off x="9324399" y="4399585"/>
                <a:ext cx="135642" cy="81395"/>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363" name="Freeform: Shape 362">
                <a:extLst>
                  <a:ext uri="{FF2B5EF4-FFF2-40B4-BE49-F238E27FC236}">
                    <a16:creationId xmlns:a16="http://schemas.microsoft.com/office/drawing/2014/main" id="{238796EF-B361-40BA-B847-43749446AEE1}"/>
                  </a:ext>
                </a:extLst>
              </p:cNvPr>
              <p:cNvSpPr/>
              <p:nvPr/>
            </p:nvSpPr>
            <p:spPr>
              <a:xfrm>
                <a:off x="9678438" y="3910185"/>
                <a:ext cx="108526" cy="108526"/>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364" name="Freeform: Shape 363">
                <a:extLst>
                  <a:ext uri="{FF2B5EF4-FFF2-40B4-BE49-F238E27FC236}">
                    <a16:creationId xmlns:a16="http://schemas.microsoft.com/office/drawing/2014/main" id="{FB09A901-4977-4887-8C88-83AFE1A85333}"/>
                  </a:ext>
                </a:extLst>
              </p:cNvPr>
              <p:cNvSpPr/>
              <p:nvPr/>
            </p:nvSpPr>
            <p:spPr>
              <a:xfrm>
                <a:off x="9820863" y="3767744"/>
                <a:ext cx="108526" cy="108526"/>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365" name="Freeform: Shape 364">
                <a:extLst>
                  <a:ext uri="{FF2B5EF4-FFF2-40B4-BE49-F238E27FC236}">
                    <a16:creationId xmlns:a16="http://schemas.microsoft.com/office/drawing/2014/main" id="{3A6C9318-3747-486C-B73B-FBB8FAC3C6BF}"/>
                  </a:ext>
                </a:extLst>
              </p:cNvPr>
              <p:cNvSpPr/>
              <p:nvPr/>
            </p:nvSpPr>
            <p:spPr>
              <a:xfrm>
                <a:off x="13201998" y="3807895"/>
                <a:ext cx="108526" cy="108526"/>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366" name="Freeform: Shape 365">
                <a:extLst>
                  <a:ext uri="{FF2B5EF4-FFF2-40B4-BE49-F238E27FC236}">
                    <a16:creationId xmlns:a16="http://schemas.microsoft.com/office/drawing/2014/main" id="{E353010F-CBF5-4052-A595-9A33F45E6A56}"/>
                  </a:ext>
                </a:extLst>
              </p:cNvPr>
              <p:cNvSpPr/>
              <p:nvPr/>
            </p:nvSpPr>
            <p:spPr>
              <a:xfrm>
                <a:off x="10309732" y="3414252"/>
                <a:ext cx="81395" cy="135642"/>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367" name="Freeform: Shape 366">
                <a:extLst>
                  <a:ext uri="{FF2B5EF4-FFF2-40B4-BE49-F238E27FC236}">
                    <a16:creationId xmlns:a16="http://schemas.microsoft.com/office/drawing/2014/main" id="{EEE77AD3-8B43-4E29-BE76-79345EB63415}"/>
                  </a:ext>
                </a:extLst>
              </p:cNvPr>
              <p:cNvSpPr/>
              <p:nvPr/>
            </p:nvSpPr>
            <p:spPr>
              <a:xfrm>
                <a:off x="9233783" y="4580270"/>
                <a:ext cx="135642" cy="81395"/>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368" name="Freeform: Shape 367">
                <a:extLst>
                  <a:ext uri="{FF2B5EF4-FFF2-40B4-BE49-F238E27FC236}">
                    <a16:creationId xmlns:a16="http://schemas.microsoft.com/office/drawing/2014/main" id="{D7E1E232-682D-4495-9AD4-F35953D66451}"/>
                  </a:ext>
                </a:extLst>
              </p:cNvPr>
              <p:cNvSpPr/>
              <p:nvPr/>
            </p:nvSpPr>
            <p:spPr>
              <a:xfrm>
                <a:off x="9974151" y="3636712"/>
                <a:ext cx="108526" cy="108526"/>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369" name="Freeform: Shape 368">
                <a:extLst>
                  <a:ext uri="{FF2B5EF4-FFF2-40B4-BE49-F238E27FC236}">
                    <a16:creationId xmlns:a16="http://schemas.microsoft.com/office/drawing/2014/main" id="{27003917-A3D0-4AF3-96A8-2DF63EB36095}"/>
                  </a:ext>
                </a:extLst>
              </p:cNvPr>
              <p:cNvSpPr/>
              <p:nvPr/>
            </p:nvSpPr>
            <p:spPr>
              <a:xfrm>
                <a:off x="13562554" y="4276415"/>
                <a:ext cx="135642" cy="81395"/>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370" name="Freeform: Shape 369">
                <a:extLst>
                  <a:ext uri="{FF2B5EF4-FFF2-40B4-BE49-F238E27FC236}">
                    <a16:creationId xmlns:a16="http://schemas.microsoft.com/office/drawing/2014/main" id="{EEE58F5C-1698-4319-A706-9292E4750E4E}"/>
                  </a:ext>
                </a:extLst>
              </p:cNvPr>
              <p:cNvSpPr/>
              <p:nvPr/>
            </p:nvSpPr>
            <p:spPr>
              <a:xfrm>
                <a:off x="13059573" y="3673612"/>
                <a:ext cx="108526" cy="108526"/>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371" name="Freeform: Shape 370">
                <a:extLst>
                  <a:ext uri="{FF2B5EF4-FFF2-40B4-BE49-F238E27FC236}">
                    <a16:creationId xmlns:a16="http://schemas.microsoft.com/office/drawing/2014/main" id="{43486E3B-2817-4BF2-9639-4639E392D43D}"/>
                  </a:ext>
                </a:extLst>
              </p:cNvPr>
              <p:cNvSpPr/>
              <p:nvPr/>
            </p:nvSpPr>
            <p:spPr>
              <a:xfrm>
                <a:off x="12928259" y="7576421"/>
                <a:ext cx="81395" cy="135642"/>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372" name="Freeform: Shape 371">
                <a:extLst>
                  <a:ext uri="{FF2B5EF4-FFF2-40B4-BE49-F238E27FC236}">
                    <a16:creationId xmlns:a16="http://schemas.microsoft.com/office/drawing/2014/main" id="{4C1509B3-4006-4231-A5C3-C3FB66AAE526}"/>
                  </a:ext>
                </a:extLst>
              </p:cNvPr>
              <p:cNvSpPr/>
              <p:nvPr/>
            </p:nvSpPr>
            <p:spPr>
              <a:xfrm>
                <a:off x="12907911" y="3551801"/>
                <a:ext cx="81395" cy="135642"/>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373" name="Freeform: Shape 372">
                <a:extLst>
                  <a:ext uri="{FF2B5EF4-FFF2-40B4-BE49-F238E27FC236}">
                    <a16:creationId xmlns:a16="http://schemas.microsoft.com/office/drawing/2014/main" id="{91039057-3A1C-42D9-AC4D-AEF7C9A47F68}"/>
                  </a:ext>
                </a:extLst>
              </p:cNvPr>
              <p:cNvSpPr/>
              <p:nvPr/>
            </p:nvSpPr>
            <p:spPr>
              <a:xfrm>
                <a:off x="13078562" y="7459220"/>
                <a:ext cx="108526" cy="108526"/>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374" name="Freeform: Shape 373">
                <a:extLst>
                  <a:ext uri="{FF2B5EF4-FFF2-40B4-BE49-F238E27FC236}">
                    <a16:creationId xmlns:a16="http://schemas.microsoft.com/office/drawing/2014/main" id="{92CEA6F0-B557-4D7A-BED7-F5C34CBE681A}"/>
                  </a:ext>
                </a:extLst>
              </p:cNvPr>
              <p:cNvSpPr/>
              <p:nvPr/>
            </p:nvSpPr>
            <p:spPr>
              <a:xfrm>
                <a:off x="12769283" y="7681149"/>
                <a:ext cx="81395" cy="135642"/>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375" name="Freeform: Shape 374">
                <a:extLst>
                  <a:ext uri="{FF2B5EF4-FFF2-40B4-BE49-F238E27FC236}">
                    <a16:creationId xmlns:a16="http://schemas.microsoft.com/office/drawing/2014/main" id="{8D0ECEA1-89E9-4629-BB63-47B1285F6700}"/>
                  </a:ext>
                </a:extLst>
              </p:cNvPr>
              <p:cNvSpPr/>
              <p:nvPr/>
            </p:nvSpPr>
            <p:spPr>
              <a:xfrm>
                <a:off x="12602446" y="7773109"/>
                <a:ext cx="81395" cy="135642"/>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376" name="Freeform: Shape 375">
                <a:extLst>
                  <a:ext uri="{FF2B5EF4-FFF2-40B4-BE49-F238E27FC236}">
                    <a16:creationId xmlns:a16="http://schemas.microsoft.com/office/drawing/2014/main" id="{B299F6E4-6AB7-4389-83FF-0CAB9A8A7B73}"/>
                  </a:ext>
                </a:extLst>
              </p:cNvPr>
              <p:cNvSpPr/>
              <p:nvPr/>
            </p:nvSpPr>
            <p:spPr>
              <a:xfrm>
                <a:off x="13219643" y="7330361"/>
                <a:ext cx="108526" cy="108526"/>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377" name="Freeform: Shape 376">
                <a:extLst>
                  <a:ext uri="{FF2B5EF4-FFF2-40B4-BE49-F238E27FC236}">
                    <a16:creationId xmlns:a16="http://schemas.microsoft.com/office/drawing/2014/main" id="{DC52DEE3-15FA-4BDA-8E49-3F21F53D08DA}"/>
                  </a:ext>
                </a:extLst>
              </p:cNvPr>
              <p:cNvSpPr/>
              <p:nvPr/>
            </p:nvSpPr>
            <p:spPr>
              <a:xfrm>
                <a:off x="12579378" y="3348064"/>
                <a:ext cx="81395" cy="135642"/>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378" name="Freeform: Shape 377">
                <a:extLst>
                  <a:ext uri="{FF2B5EF4-FFF2-40B4-BE49-F238E27FC236}">
                    <a16:creationId xmlns:a16="http://schemas.microsoft.com/office/drawing/2014/main" id="{2796ED24-52C7-4358-87D5-56D2A80A2DD6}"/>
                  </a:ext>
                </a:extLst>
              </p:cNvPr>
              <p:cNvSpPr/>
              <p:nvPr/>
            </p:nvSpPr>
            <p:spPr>
              <a:xfrm>
                <a:off x="12747591" y="3443009"/>
                <a:ext cx="81395" cy="135642"/>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379" name="Freeform: Shape 378">
                <a:extLst>
                  <a:ext uri="{FF2B5EF4-FFF2-40B4-BE49-F238E27FC236}">
                    <a16:creationId xmlns:a16="http://schemas.microsoft.com/office/drawing/2014/main" id="{692AAFB8-98B2-4D97-96A7-8979729F761C}"/>
                  </a:ext>
                </a:extLst>
              </p:cNvPr>
              <p:cNvSpPr/>
              <p:nvPr/>
            </p:nvSpPr>
            <p:spPr>
              <a:xfrm>
                <a:off x="13669987" y="6718321"/>
                <a:ext cx="135642" cy="81395"/>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380" name="Freeform: Shape 379">
                <a:extLst>
                  <a:ext uri="{FF2B5EF4-FFF2-40B4-BE49-F238E27FC236}">
                    <a16:creationId xmlns:a16="http://schemas.microsoft.com/office/drawing/2014/main" id="{450A7D08-1B2B-4AB5-8FF3-2FFA2DA20C8B}"/>
                  </a:ext>
                </a:extLst>
              </p:cNvPr>
              <p:cNvSpPr/>
              <p:nvPr/>
            </p:nvSpPr>
            <p:spPr>
              <a:xfrm>
                <a:off x="13817554" y="6367267"/>
                <a:ext cx="135642" cy="54263"/>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381" name="Freeform: Shape 380">
                <a:extLst>
                  <a:ext uri="{FF2B5EF4-FFF2-40B4-BE49-F238E27FC236}">
                    <a16:creationId xmlns:a16="http://schemas.microsoft.com/office/drawing/2014/main" id="{5BBE698C-578B-4FBE-BDB6-C30D8C45D6E8}"/>
                  </a:ext>
                </a:extLst>
              </p:cNvPr>
              <p:cNvSpPr/>
              <p:nvPr/>
            </p:nvSpPr>
            <p:spPr>
              <a:xfrm>
                <a:off x="13906825" y="5997505"/>
                <a:ext cx="135642" cy="2713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382" name="Freeform: Shape 381">
                <a:extLst>
                  <a:ext uri="{FF2B5EF4-FFF2-40B4-BE49-F238E27FC236}">
                    <a16:creationId xmlns:a16="http://schemas.microsoft.com/office/drawing/2014/main" id="{9D574CBE-4271-4DB3-AB0A-88E4EE0B278F}"/>
                  </a:ext>
                </a:extLst>
              </p:cNvPr>
              <p:cNvSpPr/>
              <p:nvPr/>
            </p:nvSpPr>
            <p:spPr>
              <a:xfrm>
                <a:off x="13869379" y="6183879"/>
                <a:ext cx="135642" cy="54263"/>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383" name="Freeform: Shape 382">
                <a:extLst>
                  <a:ext uri="{FF2B5EF4-FFF2-40B4-BE49-F238E27FC236}">
                    <a16:creationId xmlns:a16="http://schemas.microsoft.com/office/drawing/2014/main" id="{48F71D17-4546-438C-9DAB-E8D86DDEE14B}"/>
                  </a:ext>
                </a:extLst>
              </p:cNvPr>
              <p:cNvSpPr/>
              <p:nvPr/>
            </p:nvSpPr>
            <p:spPr>
              <a:xfrm>
                <a:off x="13928784" y="5808413"/>
                <a:ext cx="135642" cy="2713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384" name="Freeform: Shape 383">
                <a:extLst>
                  <a:ext uri="{FF2B5EF4-FFF2-40B4-BE49-F238E27FC236}">
                    <a16:creationId xmlns:a16="http://schemas.microsoft.com/office/drawing/2014/main" id="{A6F5ADCC-E9B9-4475-B6E5-FCF688400163}"/>
                  </a:ext>
                </a:extLst>
              </p:cNvPr>
              <p:cNvSpPr/>
              <p:nvPr/>
            </p:nvSpPr>
            <p:spPr>
              <a:xfrm>
                <a:off x="12429091" y="7851519"/>
                <a:ext cx="54263" cy="135642"/>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385" name="Freeform: Shape 384">
                <a:extLst>
                  <a:ext uri="{FF2B5EF4-FFF2-40B4-BE49-F238E27FC236}">
                    <a16:creationId xmlns:a16="http://schemas.microsoft.com/office/drawing/2014/main" id="{D95DED1B-4FC2-4426-9323-BD31A2AD71DD}"/>
                  </a:ext>
                </a:extLst>
              </p:cNvPr>
              <p:cNvSpPr/>
              <p:nvPr/>
            </p:nvSpPr>
            <p:spPr>
              <a:xfrm>
                <a:off x="13468953" y="7042244"/>
                <a:ext cx="135642" cy="108526"/>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386" name="Freeform: Shape 385">
                <a:extLst>
                  <a:ext uri="{FF2B5EF4-FFF2-40B4-BE49-F238E27FC236}">
                    <a16:creationId xmlns:a16="http://schemas.microsoft.com/office/drawing/2014/main" id="{D1A4B28D-6B41-4FA4-A6DD-2F1C0E6FE289}"/>
                  </a:ext>
                </a:extLst>
              </p:cNvPr>
              <p:cNvSpPr/>
              <p:nvPr/>
            </p:nvSpPr>
            <p:spPr>
              <a:xfrm>
                <a:off x="13750819" y="6545514"/>
                <a:ext cx="135642" cy="54263"/>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387" name="Freeform: Shape 386">
                <a:extLst>
                  <a:ext uri="{FF2B5EF4-FFF2-40B4-BE49-F238E27FC236}">
                    <a16:creationId xmlns:a16="http://schemas.microsoft.com/office/drawing/2014/main" id="{1D9A1E3E-AD89-4E61-9506-B8001E0E4DE5}"/>
                  </a:ext>
                </a:extLst>
              </p:cNvPr>
              <p:cNvSpPr/>
              <p:nvPr/>
            </p:nvSpPr>
            <p:spPr>
              <a:xfrm>
                <a:off x="13575839" y="6884362"/>
                <a:ext cx="135642" cy="81395"/>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388" name="Freeform: Shape 387">
                <a:extLst>
                  <a:ext uri="{FF2B5EF4-FFF2-40B4-BE49-F238E27FC236}">
                    <a16:creationId xmlns:a16="http://schemas.microsoft.com/office/drawing/2014/main" id="{E94E9F05-33DE-4D5C-A15F-CF105BEC3CBE}"/>
                  </a:ext>
                </a:extLst>
              </p:cNvPr>
              <p:cNvSpPr/>
              <p:nvPr/>
            </p:nvSpPr>
            <p:spPr>
              <a:xfrm>
                <a:off x="13349846" y="7191186"/>
                <a:ext cx="108526" cy="108526"/>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389" name="Freeform: Shape 388">
                <a:extLst>
                  <a:ext uri="{FF2B5EF4-FFF2-40B4-BE49-F238E27FC236}">
                    <a16:creationId xmlns:a16="http://schemas.microsoft.com/office/drawing/2014/main" id="{0F880B22-6997-4074-9D24-03623FEDBE3B}"/>
                  </a:ext>
                </a:extLst>
              </p:cNvPr>
              <p:cNvSpPr/>
              <p:nvPr/>
            </p:nvSpPr>
            <p:spPr>
              <a:xfrm>
                <a:off x="10927476" y="7952981"/>
                <a:ext cx="54263" cy="135642"/>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390" name="Freeform: Shape 389">
                <a:extLst>
                  <a:ext uri="{FF2B5EF4-FFF2-40B4-BE49-F238E27FC236}">
                    <a16:creationId xmlns:a16="http://schemas.microsoft.com/office/drawing/2014/main" id="{D7741BF4-A7C8-42E6-A04E-0B1DA46C980E}"/>
                  </a:ext>
                </a:extLst>
              </p:cNvPr>
              <p:cNvSpPr/>
              <p:nvPr/>
            </p:nvSpPr>
            <p:spPr>
              <a:xfrm>
                <a:off x="11125790" y="7992319"/>
                <a:ext cx="27132" cy="135642"/>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391" name="Freeform: Shape 390">
                <a:extLst>
                  <a:ext uri="{FF2B5EF4-FFF2-40B4-BE49-F238E27FC236}">
                    <a16:creationId xmlns:a16="http://schemas.microsoft.com/office/drawing/2014/main" id="{8BD3944B-7EB2-421D-AB53-99111A037C7E}"/>
                  </a:ext>
                </a:extLst>
              </p:cNvPr>
              <p:cNvSpPr/>
              <p:nvPr/>
            </p:nvSpPr>
            <p:spPr>
              <a:xfrm>
                <a:off x="11266856" y="3113382"/>
                <a:ext cx="27132" cy="135642"/>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392" name="Freeform: Shape 391">
                <a:extLst>
                  <a:ext uri="{FF2B5EF4-FFF2-40B4-BE49-F238E27FC236}">
                    <a16:creationId xmlns:a16="http://schemas.microsoft.com/office/drawing/2014/main" id="{3ED7A732-6F24-4593-8757-3328EF86DC24}"/>
                  </a:ext>
                </a:extLst>
              </p:cNvPr>
              <p:cNvSpPr/>
              <p:nvPr/>
            </p:nvSpPr>
            <p:spPr>
              <a:xfrm>
                <a:off x="11326542" y="8016465"/>
                <a:ext cx="27132" cy="135642"/>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393" name="Freeform: Shape 392">
                <a:extLst>
                  <a:ext uri="{FF2B5EF4-FFF2-40B4-BE49-F238E27FC236}">
                    <a16:creationId xmlns:a16="http://schemas.microsoft.com/office/drawing/2014/main" id="{28580C0D-11F4-4FC1-89D7-A8C10078581B}"/>
                  </a:ext>
                </a:extLst>
              </p:cNvPr>
              <p:cNvSpPr/>
              <p:nvPr/>
            </p:nvSpPr>
            <p:spPr>
              <a:xfrm>
                <a:off x="11066651" y="3142155"/>
                <a:ext cx="27132" cy="135642"/>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394" name="Freeform: Shape 393">
                <a:extLst>
                  <a:ext uri="{FF2B5EF4-FFF2-40B4-BE49-F238E27FC236}">
                    <a16:creationId xmlns:a16="http://schemas.microsoft.com/office/drawing/2014/main" id="{CF8B79AB-50F3-439C-B18F-707996450AC5}"/>
                  </a:ext>
                </a:extLst>
              </p:cNvPr>
              <p:cNvSpPr/>
              <p:nvPr/>
            </p:nvSpPr>
            <p:spPr>
              <a:xfrm>
                <a:off x="11468702" y="3100363"/>
                <a:ext cx="27132" cy="135642"/>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395" name="Freeform: Shape 394">
                <a:extLst>
                  <a:ext uri="{FF2B5EF4-FFF2-40B4-BE49-F238E27FC236}">
                    <a16:creationId xmlns:a16="http://schemas.microsoft.com/office/drawing/2014/main" id="{6F20FF20-8AA0-4D94-B013-E5707C721019}"/>
                  </a:ext>
                </a:extLst>
              </p:cNvPr>
              <p:cNvSpPr/>
              <p:nvPr/>
            </p:nvSpPr>
            <p:spPr>
              <a:xfrm>
                <a:off x="10676806" y="3247680"/>
                <a:ext cx="54263" cy="135642"/>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396" name="Freeform: Shape 395">
                <a:extLst>
                  <a:ext uri="{FF2B5EF4-FFF2-40B4-BE49-F238E27FC236}">
                    <a16:creationId xmlns:a16="http://schemas.microsoft.com/office/drawing/2014/main" id="{C19E183D-79AF-48E0-8630-E6B42BFE4C7F}"/>
                  </a:ext>
                </a:extLst>
              </p:cNvPr>
              <p:cNvSpPr/>
              <p:nvPr/>
            </p:nvSpPr>
            <p:spPr>
              <a:xfrm>
                <a:off x="10733226" y="7899265"/>
                <a:ext cx="54263" cy="135642"/>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397" name="Freeform: Shape 396">
                <a:extLst>
                  <a:ext uri="{FF2B5EF4-FFF2-40B4-BE49-F238E27FC236}">
                    <a16:creationId xmlns:a16="http://schemas.microsoft.com/office/drawing/2014/main" id="{F2DE7894-1F86-4C3B-A874-C2457DA3FDAD}"/>
                  </a:ext>
                </a:extLst>
              </p:cNvPr>
              <p:cNvSpPr/>
              <p:nvPr/>
            </p:nvSpPr>
            <p:spPr>
              <a:xfrm>
                <a:off x="10869697" y="3187181"/>
                <a:ext cx="54263" cy="135642"/>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398" name="Freeform: Shape 397">
                <a:extLst>
                  <a:ext uri="{FF2B5EF4-FFF2-40B4-BE49-F238E27FC236}">
                    <a16:creationId xmlns:a16="http://schemas.microsoft.com/office/drawing/2014/main" id="{91AEA01C-7870-4B7C-B50D-81ADD5E10130}"/>
                  </a:ext>
                </a:extLst>
              </p:cNvPr>
              <p:cNvSpPr/>
              <p:nvPr/>
            </p:nvSpPr>
            <p:spPr>
              <a:xfrm>
                <a:off x="10544133" y="7830623"/>
                <a:ext cx="54263" cy="135642"/>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399" name="Freeform: Shape 398">
                <a:extLst>
                  <a:ext uri="{FF2B5EF4-FFF2-40B4-BE49-F238E27FC236}">
                    <a16:creationId xmlns:a16="http://schemas.microsoft.com/office/drawing/2014/main" id="{7BA30FEA-CF77-4708-902F-497FB657EA04}"/>
                  </a:ext>
                </a:extLst>
              </p:cNvPr>
              <p:cNvSpPr/>
              <p:nvPr/>
            </p:nvSpPr>
            <p:spPr>
              <a:xfrm>
                <a:off x="11528654" y="8025405"/>
                <a:ext cx="27132" cy="135642"/>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400" name="Freeform: Shape 399">
                <a:extLst>
                  <a:ext uri="{FF2B5EF4-FFF2-40B4-BE49-F238E27FC236}">
                    <a16:creationId xmlns:a16="http://schemas.microsoft.com/office/drawing/2014/main" id="{4955C62B-5619-4FAA-ACBC-EA8AFC919D7A}"/>
                  </a:ext>
                </a:extLst>
              </p:cNvPr>
              <p:cNvSpPr/>
              <p:nvPr/>
            </p:nvSpPr>
            <p:spPr>
              <a:xfrm>
                <a:off x="12040325" y="3153267"/>
                <a:ext cx="27132" cy="135642"/>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401" name="Freeform: Shape 400">
                <a:extLst>
                  <a:ext uri="{FF2B5EF4-FFF2-40B4-BE49-F238E27FC236}">
                    <a16:creationId xmlns:a16="http://schemas.microsoft.com/office/drawing/2014/main" id="{00E1A5B7-CBEA-4D44-874F-C6323372882D}"/>
                  </a:ext>
                </a:extLst>
              </p:cNvPr>
              <p:cNvSpPr/>
              <p:nvPr/>
            </p:nvSpPr>
            <p:spPr>
              <a:xfrm>
                <a:off x="12066362" y="7965453"/>
                <a:ext cx="27132" cy="135642"/>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402" name="Freeform: Shape 401">
                <a:extLst>
                  <a:ext uri="{FF2B5EF4-FFF2-40B4-BE49-F238E27FC236}">
                    <a16:creationId xmlns:a16="http://schemas.microsoft.com/office/drawing/2014/main" id="{F33472AE-B179-4641-B6CD-4E4099F72FED}"/>
                  </a:ext>
                </a:extLst>
              </p:cNvPr>
              <p:cNvSpPr/>
              <p:nvPr/>
            </p:nvSpPr>
            <p:spPr>
              <a:xfrm>
                <a:off x="12224792" y="3202638"/>
                <a:ext cx="54263" cy="135642"/>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403" name="Freeform: Shape 402">
                <a:extLst>
                  <a:ext uri="{FF2B5EF4-FFF2-40B4-BE49-F238E27FC236}">
                    <a16:creationId xmlns:a16="http://schemas.microsoft.com/office/drawing/2014/main" id="{6E1C153E-35BD-4585-8BBD-09E7DEB839F8}"/>
                  </a:ext>
                </a:extLst>
              </p:cNvPr>
              <p:cNvSpPr/>
              <p:nvPr/>
            </p:nvSpPr>
            <p:spPr>
              <a:xfrm>
                <a:off x="12250032" y="7915816"/>
                <a:ext cx="54263" cy="135642"/>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404" name="Freeform: Shape 403">
                <a:extLst>
                  <a:ext uri="{FF2B5EF4-FFF2-40B4-BE49-F238E27FC236}">
                    <a16:creationId xmlns:a16="http://schemas.microsoft.com/office/drawing/2014/main" id="{83AE68ED-23CE-4C2B-A1C7-03AF54E95886}"/>
                  </a:ext>
                </a:extLst>
              </p:cNvPr>
              <p:cNvSpPr/>
              <p:nvPr/>
            </p:nvSpPr>
            <p:spPr>
              <a:xfrm>
                <a:off x="12404663" y="3267748"/>
                <a:ext cx="54263" cy="135642"/>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405" name="Freeform: Shape 404">
                <a:extLst>
                  <a:ext uri="{FF2B5EF4-FFF2-40B4-BE49-F238E27FC236}">
                    <a16:creationId xmlns:a16="http://schemas.microsoft.com/office/drawing/2014/main" id="{36D81F40-9A3B-4356-8705-B2D64ACD27D8}"/>
                  </a:ext>
                </a:extLst>
              </p:cNvPr>
              <p:cNvSpPr/>
              <p:nvPr/>
            </p:nvSpPr>
            <p:spPr>
              <a:xfrm>
                <a:off x="11879442" y="8000461"/>
                <a:ext cx="27132" cy="135642"/>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406" name="Freeform: Shape 405">
                <a:extLst>
                  <a:ext uri="{FF2B5EF4-FFF2-40B4-BE49-F238E27FC236}">
                    <a16:creationId xmlns:a16="http://schemas.microsoft.com/office/drawing/2014/main" id="{4B196F19-52C9-406F-83AB-0B955DBB4BA9}"/>
                  </a:ext>
                </a:extLst>
              </p:cNvPr>
              <p:cNvSpPr/>
              <p:nvPr/>
            </p:nvSpPr>
            <p:spPr>
              <a:xfrm>
                <a:off x="11690349" y="8020263"/>
                <a:ext cx="27132" cy="135642"/>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407" name="Freeform: Shape 406">
                <a:extLst>
                  <a:ext uri="{FF2B5EF4-FFF2-40B4-BE49-F238E27FC236}">
                    <a16:creationId xmlns:a16="http://schemas.microsoft.com/office/drawing/2014/main" id="{3390D830-6D02-4E5C-9B88-13DB32CB0A22}"/>
                  </a:ext>
                </a:extLst>
              </p:cNvPr>
              <p:cNvSpPr/>
              <p:nvPr/>
            </p:nvSpPr>
            <p:spPr>
              <a:xfrm>
                <a:off x="11664030" y="3102536"/>
                <a:ext cx="27132" cy="135642"/>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408" name="Freeform: Shape 407">
                <a:extLst>
                  <a:ext uri="{FF2B5EF4-FFF2-40B4-BE49-F238E27FC236}">
                    <a16:creationId xmlns:a16="http://schemas.microsoft.com/office/drawing/2014/main" id="{BD93F08E-A29F-411B-B65D-070F1F22B390}"/>
                  </a:ext>
                </a:extLst>
              </p:cNvPr>
              <p:cNvSpPr/>
              <p:nvPr/>
            </p:nvSpPr>
            <p:spPr>
              <a:xfrm>
                <a:off x="11853139" y="3119899"/>
                <a:ext cx="27132" cy="135642"/>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409" name="Freeform: Shape 408">
                <a:extLst>
                  <a:ext uri="{FF2B5EF4-FFF2-40B4-BE49-F238E27FC236}">
                    <a16:creationId xmlns:a16="http://schemas.microsoft.com/office/drawing/2014/main" id="{A2612C18-5DE5-4A5D-943D-DBEE8CF7865C}"/>
                  </a:ext>
                </a:extLst>
              </p:cNvPr>
              <p:cNvSpPr/>
              <p:nvPr/>
            </p:nvSpPr>
            <p:spPr>
              <a:xfrm>
                <a:off x="9455712" y="3545284"/>
                <a:ext cx="4177922" cy="4177907"/>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0" name="Freeform: Shape 409">
                <a:extLst>
                  <a:ext uri="{FF2B5EF4-FFF2-40B4-BE49-F238E27FC236}">
                    <a16:creationId xmlns:a16="http://schemas.microsoft.com/office/drawing/2014/main" id="{E9462D55-149C-4DCA-90CE-0EC1E80D434F}"/>
                  </a:ext>
                </a:extLst>
              </p:cNvPr>
              <p:cNvSpPr/>
              <p:nvPr/>
            </p:nvSpPr>
            <p:spPr>
              <a:xfrm>
                <a:off x="11551722" y="3480174"/>
                <a:ext cx="1519244" cy="73249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1" name="Freeform: Shape 410">
                <a:extLst>
                  <a:ext uri="{FF2B5EF4-FFF2-40B4-BE49-F238E27FC236}">
                    <a16:creationId xmlns:a16="http://schemas.microsoft.com/office/drawing/2014/main" id="{DA408A4E-D8E5-4EB7-B61B-3CA26732F55B}"/>
                  </a:ext>
                </a:extLst>
              </p:cNvPr>
              <p:cNvSpPr/>
              <p:nvPr/>
            </p:nvSpPr>
            <p:spPr>
              <a:xfrm>
                <a:off x="9390868" y="5641028"/>
                <a:ext cx="488322" cy="1193681"/>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2" name="Freeform: Shape 411">
                <a:extLst>
                  <a:ext uri="{FF2B5EF4-FFF2-40B4-BE49-F238E27FC236}">
                    <a16:creationId xmlns:a16="http://schemas.microsoft.com/office/drawing/2014/main" id="{6AC69FD7-D0EF-4E94-9EA1-1394ED91ED1F}"/>
                  </a:ext>
                </a:extLst>
              </p:cNvPr>
              <p:cNvSpPr/>
              <p:nvPr/>
            </p:nvSpPr>
            <p:spPr>
              <a:xfrm>
                <a:off x="10711252" y="7488790"/>
                <a:ext cx="813885" cy="298416"/>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413" name="Group 412">
                <a:extLst>
                  <a:ext uri="{FF2B5EF4-FFF2-40B4-BE49-F238E27FC236}">
                    <a16:creationId xmlns:a16="http://schemas.microsoft.com/office/drawing/2014/main" id="{01945117-D589-4336-A9C3-1D93E234B321}"/>
                  </a:ext>
                </a:extLst>
              </p:cNvPr>
              <p:cNvGrpSpPr/>
              <p:nvPr/>
            </p:nvGrpSpPr>
            <p:grpSpPr>
              <a:xfrm>
                <a:off x="8587298" y="2727960"/>
                <a:ext cx="5865457" cy="5832794"/>
                <a:chOff x="8587298" y="2727960"/>
                <a:chExt cx="5865457" cy="5832794"/>
              </a:xfrm>
            </p:grpSpPr>
            <p:sp>
              <p:nvSpPr>
                <p:cNvPr id="416" name="Freeform: Shape 415">
                  <a:extLst>
                    <a:ext uri="{FF2B5EF4-FFF2-40B4-BE49-F238E27FC236}">
                      <a16:creationId xmlns:a16="http://schemas.microsoft.com/office/drawing/2014/main" id="{BAF38FFA-CB1E-4507-93E4-66FAEF9B1DAE}"/>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7" name="Freeform: Shape 416">
                  <a:extLst>
                    <a:ext uri="{FF2B5EF4-FFF2-40B4-BE49-F238E27FC236}">
                      <a16:creationId xmlns:a16="http://schemas.microsoft.com/office/drawing/2014/main" id="{C5E40EAD-A678-4FDC-8CCF-5B2CF6A3B8CA}"/>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8" name="Freeform: Shape 417">
                  <a:extLst>
                    <a:ext uri="{FF2B5EF4-FFF2-40B4-BE49-F238E27FC236}">
                      <a16:creationId xmlns:a16="http://schemas.microsoft.com/office/drawing/2014/main" id="{84A2D0FE-6FA9-4E77-89F5-E8823176DAFF}"/>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414" name="Freeform: Shape 413">
                <a:extLst>
                  <a:ext uri="{FF2B5EF4-FFF2-40B4-BE49-F238E27FC236}">
                    <a16:creationId xmlns:a16="http://schemas.microsoft.com/office/drawing/2014/main" id="{4DC64828-7F1C-4C1A-B0EB-2D03083F031F}"/>
                  </a:ext>
                </a:extLst>
              </p:cNvPr>
              <p:cNvSpPr/>
              <p:nvPr/>
            </p:nvSpPr>
            <p:spPr>
              <a:xfrm>
                <a:off x="9727810" y="3817116"/>
                <a:ext cx="3635337" cy="363532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dirty="0">
                  <a:solidFill>
                    <a:srgbClr val="FFFFFF"/>
                  </a:solidFill>
                </a:endParaRPr>
              </a:p>
            </p:txBody>
          </p:sp>
          <p:sp>
            <p:nvSpPr>
              <p:cNvPr id="415" name="Freeform: Shape 414">
                <a:extLst>
                  <a:ext uri="{FF2B5EF4-FFF2-40B4-BE49-F238E27FC236}">
                    <a16:creationId xmlns:a16="http://schemas.microsoft.com/office/drawing/2014/main" id="{94A2EEFE-2C6D-4805-B9F1-EBF1EF8CB7A4}"/>
                  </a:ext>
                </a:extLst>
              </p:cNvPr>
              <p:cNvSpPr/>
              <p:nvPr/>
            </p:nvSpPr>
            <p:spPr>
              <a:xfrm>
                <a:off x="8950292" y="3039598"/>
                <a:ext cx="5181697" cy="5181698"/>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grpSp>
        <p:grpSp>
          <p:nvGrpSpPr>
            <p:cNvPr id="286" name="Group 37">
              <a:extLst>
                <a:ext uri="{FF2B5EF4-FFF2-40B4-BE49-F238E27FC236}">
                  <a16:creationId xmlns:a16="http://schemas.microsoft.com/office/drawing/2014/main" id="{B5C0ED2E-54F3-4572-9910-E543BDBAC7FD}"/>
                </a:ext>
              </a:extLst>
            </p:cNvPr>
            <p:cNvGrpSpPr>
              <a:grpSpLocks noChangeAspect="1"/>
            </p:cNvGrpSpPr>
            <p:nvPr/>
          </p:nvGrpSpPr>
          <p:grpSpPr bwMode="auto">
            <a:xfrm>
              <a:off x="7795773" y="2993792"/>
              <a:ext cx="1245823" cy="1175184"/>
              <a:chOff x="528" y="843"/>
              <a:chExt cx="776" cy="732"/>
            </a:xfrm>
            <a:solidFill>
              <a:schemeClr val="bg1"/>
            </a:solidFill>
          </p:grpSpPr>
          <p:sp>
            <p:nvSpPr>
              <p:cNvPr id="317" name="Freeform 38">
                <a:extLst>
                  <a:ext uri="{FF2B5EF4-FFF2-40B4-BE49-F238E27FC236}">
                    <a16:creationId xmlns:a16="http://schemas.microsoft.com/office/drawing/2014/main" id="{DF9A71F9-6E80-4367-B06B-345683F999A6}"/>
                  </a:ext>
                </a:extLst>
              </p:cNvPr>
              <p:cNvSpPr>
                <a:spLocks noEditPoints="1"/>
              </p:cNvSpPr>
              <p:nvPr/>
            </p:nvSpPr>
            <p:spPr bwMode="auto">
              <a:xfrm>
                <a:off x="714" y="1467"/>
                <a:ext cx="404" cy="108"/>
              </a:xfrm>
              <a:custGeom>
                <a:avLst/>
                <a:gdLst>
                  <a:gd name="T0" fmla="*/ 404 w 404"/>
                  <a:gd name="T1" fmla="*/ 108 h 108"/>
                  <a:gd name="T2" fmla="*/ 0 w 404"/>
                  <a:gd name="T3" fmla="*/ 108 h 108"/>
                  <a:gd name="T4" fmla="*/ 0 w 404"/>
                  <a:gd name="T5" fmla="*/ 84 h 108"/>
                  <a:gd name="T6" fmla="*/ 0 w 404"/>
                  <a:gd name="T7" fmla="*/ 84 h 108"/>
                  <a:gd name="T8" fmla="*/ 2 w 404"/>
                  <a:gd name="T9" fmla="*/ 68 h 108"/>
                  <a:gd name="T10" fmla="*/ 8 w 404"/>
                  <a:gd name="T11" fmla="*/ 52 h 108"/>
                  <a:gd name="T12" fmla="*/ 16 w 404"/>
                  <a:gd name="T13" fmla="*/ 38 h 108"/>
                  <a:gd name="T14" fmla="*/ 26 w 404"/>
                  <a:gd name="T15" fmla="*/ 24 h 108"/>
                  <a:gd name="T16" fmla="*/ 38 w 404"/>
                  <a:gd name="T17" fmla="*/ 14 h 108"/>
                  <a:gd name="T18" fmla="*/ 52 w 404"/>
                  <a:gd name="T19" fmla="*/ 6 h 108"/>
                  <a:gd name="T20" fmla="*/ 68 w 404"/>
                  <a:gd name="T21" fmla="*/ 2 h 108"/>
                  <a:gd name="T22" fmla="*/ 86 w 404"/>
                  <a:gd name="T23" fmla="*/ 0 h 108"/>
                  <a:gd name="T24" fmla="*/ 320 w 404"/>
                  <a:gd name="T25" fmla="*/ 0 h 108"/>
                  <a:gd name="T26" fmla="*/ 320 w 404"/>
                  <a:gd name="T27" fmla="*/ 0 h 108"/>
                  <a:gd name="T28" fmla="*/ 336 w 404"/>
                  <a:gd name="T29" fmla="*/ 2 h 108"/>
                  <a:gd name="T30" fmla="*/ 352 w 404"/>
                  <a:gd name="T31" fmla="*/ 6 h 108"/>
                  <a:gd name="T32" fmla="*/ 366 w 404"/>
                  <a:gd name="T33" fmla="*/ 14 h 108"/>
                  <a:gd name="T34" fmla="*/ 380 w 404"/>
                  <a:gd name="T35" fmla="*/ 24 h 108"/>
                  <a:gd name="T36" fmla="*/ 390 w 404"/>
                  <a:gd name="T37" fmla="*/ 38 h 108"/>
                  <a:gd name="T38" fmla="*/ 398 w 404"/>
                  <a:gd name="T39" fmla="*/ 52 h 108"/>
                  <a:gd name="T40" fmla="*/ 402 w 404"/>
                  <a:gd name="T41" fmla="*/ 68 h 108"/>
                  <a:gd name="T42" fmla="*/ 404 w 404"/>
                  <a:gd name="T43" fmla="*/ 84 h 108"/>
                  <a:gd name="T44" fmla="*/ 404 w 404"/>
                  <a:gd name="T45" fmla="*/ 108 h 108"/>
                  <a:gd name="T46" fmla="*/ 18 w 404"/>
                  <a:gd name="T47" fmla="*/ 90 h 108"/>
                  <a:gd name="T48" fmla="*/ 386 w 404"/>
                  <a:gd name="T49" fmla="*/ 90 h 108"/>
                  <a:gd name="T50" fmla="*/ 386 w 404"/>
                  <a:gd name="T51" fmla="*/ 84 h 108"/>
                  <a:gd name="T52" fmla="*/ 386 w 404"/>
                  <a:gd name="T53" fmla="*/ 84 h 108"/>
                  <a:gd name="T54" fmla="*/ 384 w 404"/>
                  <a:gd name="T55" fmla="*/ 70 h 108"/>
                  <a:gd name="T56" fmla="*/ 380 w 404"/>
                  <a:gd name="T57" fmla="*/ 58 h 108"/>
                  <a:gd name="T58" fmla="*/ 374 w 404"/>
                  <a:gd name="T59" fmla="*/ 48 h 108"/>
                  <a:gd name="T60" fmla="*/ 366 w 404"/>
                  <a:gd name="T61" fmla="*/ 38 h 108"/>
                  <a:gd name="T62" fmla="*/ 356 w 404"/>
                  <a:gd name="T63" fmla="*/ 30 h 108"/>
                  <a:gd name="T64" fmla="*/ 346 w 404"/>
                  <a:gd name="T65" fmla="*/ 24 h 108"/>
                  <a:gd name="T66" fmla="*/ 334 w 404"/>
                  <a:gd name="T67" fmla="*/ 20 h 108"/>
                  <a:gd name="T68" fmla="*/ 320 w 404"/>
                  <a:gd name="T69" fmla="*/ 18 h 108"/>
                  <a:gd name="T70" fmla="*/ 86 w 404"/>
                  <a:gd name="T71" fmla="*/ 18 h 108"/>
                  <a:gd name="T72" fmla="*/ 86 w 404"/>
                  <a:gd name="T73" fmla="*/ 18 h 108"/>
                  <a:gd name="T74" fmla="*/ 72 w 404"/>
                  <a:gd name="T75" fmla="*/ 20 h 108"/>
                  <a:gd name="T76" fmla="*/ 60 w 404"/>
                  <a:gd name="T77" fmla="*/ 24 h 108"/>
                  <a:gd name="T78" fmla="*/ 48 w 404"/>
                  <a:gd name="T79" fmla="*/ 30 h 108"/>
                  <a:gd name="T80" fmla="*/ 38 w 404"/>
                  <a:gd name="T81" fmla="*/ 38 h 108"/>
                  <a:gd name="T82" fmla="*/ 30 w 404"/>
                  <a:gd name="T83" fmla="*/ 48 h 108"/>
                  <a:gd name="T84" fmla="*/ 24 w 404"/>
                  <a:gd name="T85" fmla="*/ 58 h 108"/>
                  <a:gd name="T86" fmla="*/ 20 w 404"/>
                  <a:gd name="T87" fmla="*/ 70 h 108"/>
                  <a:gd name="T88" fmla="*/ 18 w 404"/>
                  <a:gd name="T89" fmla="*/ 84 h 108"/>
                  <a:gd name="T90" fmla="*/ 18 w 404"/>
                  <a:gd name="T91" fmla="*/ 9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108">
                    <a:moveTo>
                      <a:pt x="404" y="108"/>
                    </a:moveTo>
                    <a:lnTo>
                      <a:pt x="0" y="108"/>
                    </a:lnTo>
                    <a:lnTo>
                      <a:pt x="0" y="84"/>
                    </a:lnTo>
                    <a:lnTo>
                      <a:pt x="0" y="84"/>
                    </a:lnTo>
                    <a:lnTo>
                      <a:pt x="2" y="68"/>
                    </a:lnTo>
                    <a:lnTo>
                      <a:pt x="8" y="52"/>
                    </a:lnTo>
                    <a:lnTo>
                      <a:pt x="16" y="38"/>
                    </a:lnTo>
                    <a:lnTo>
                      <a:pt x="26" y="24"/>
                    </a:lnTo>
                    <a:lnTo>
                      <a:pt x="38" y="14"/>
                    </a:lnTo>
                    <a:lnTo>
                      <a:pt x="52" y="6"/>
                    </a:lnTo>
                    <a:lnTo>
                      <a:pt x="68" y="2"/>
                    </a:lnTo>
                    <a:lnTo>
                      <a:pt x="86" y="0"/>
                    </a:lnTo>
                    <a:lnTo>
                      <a:pt x="320" y="0"/>
                    </a:lnTo>
                    <a:lnTo>
                      <a:pt x="320" y="0"/>
                    </a:lnTo>
                    <a:lnTo>
                      <a:pt x="336" y="2"/>
                    </a:lnTo>
                    <a:lnTo>
                      <a:pt x="352" y="6"/>
                    </a:lnTo>
                    <a:lnTo>
                      <a:pt x="366" y="14"/>
                    </a:lnTo>
                    <a:lnTo>
                      <a:pt x="380" y="24"/>
                    </a:lnTo>
                    <a:lnTo>
                      <a:pt x="390" y="38"/>
                    </a:lnTo>
                    <a:lnTo>
                      <a:pt x="398" y="52"/>
                    </a:lnTo>
                    <a:lnTo>
                      <a:pt x="402" y="68"/>
                    </a:lnTo>
                    <a:lnTo>
                      <a:pt x="404" y="84"/>
                    </a:lnTo>
                    <a:lnTo>
                      <a:pt x="404" y="108"/>
                    </a:lnTo>
                    <a:close/>
                    <a:moveTo>
                      <a:pt x="18" y="90"/>
                    </a:moveTo>
                    <a:lnTo>
                      <a:pt x="386" y="90"/>
                    </a:lnTo>
                    <a:lnTo>
                      <a:pt x="386" y="84"/>
                    </a:lnTo>
                    <a:lnTo>
                      <a:pt x="386" y="84"/>
                    </a:lnTo>
                    <a:lnTo>
                      <a:pt x="384" y="70"/>
                    </a:lnTo>
                    <a:lnTo>
                      <a:pt x="380" y="58"/>
                    </a:lnTo>
                    <a:lnTo>
                      <a:pt x="374" y="48"/>
                    </a:lnTo>
                    <a:lnTo>
                      <a:pt x="366" y="38"/>
                    </a:lnTo>
                    <a:lnTo>
                      <a:pt x="356" y="30"/>
                    </a:lnTo>
                    <a:lnTo>
                      <a:pt x="346" y="24"/>
                    </a:lnTo>
                    <a:lnTo>
                      <a:pt x="334" y="20"/>
                    </a:lnTo>
                    <a:lnTo>
                      <a:pt x="320" y="18"/>
                    </a:lnTo>
                    <a:lnTo>
                      <a:pt x="86" y="18"/>
                    </a:lnTo>
                    <a:lnTo>
                      <a:pt x="86" y="18"/>
                    </a:lnTo>
                    <a:lnTo>
                      <a:pt x="72" y="20"/>
                    </a:lnTo>
                    <a:lnTo>
                      <a:pt x="60" y="24"/>
                    </a:lnTo>
                    <a:lnTo>
                      <a:pt x="48" y="30"/>
                    </a:lnTo>
                    <a:lnTo>
                      <a:pt x="38" y="38"/>
                    </a:lnTo>
                    <a:lnTo>
                      <a:pt x="30" y="48"/>
                    </a:lnTo>
                    <a:lnTo>
                      <a:pt x="24" y="58"/>
                    </a:lnTo>
                    <a:lnTo>
                      <a:pt x="20" y="70"/>
                    </a:lnTo>
                    <a:lnTo>
                      <a:pt x="18" y="84"/>
                    </a:lnTo>
                    <a:lnTo>
                      <a:pt x="1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39">
                <a:extLst>
                  <a:ext uri="{FF2B5EF4-FFF2-40B4-BE49-F238E27FC236}">
                    <a16:creationId xmlns:a16="http://schemas.microsoft.com/office/drawing/2014/main" id="{F9EE210F-5A79-42D7-955A-70B2BF97D84E}"/>
                  </a:ext>
                </a:extLst>
              </p:cNvPr>
              <p:cNvSpPr>
                <a:spLocks noEditPoints="1"/>
              </p:cNvSpPr>
              <p:nvPr/>
            </p:nvSpPr>
            <p:spPr bwMode="auto">
              <a:xfrm>
                <a:off x="846" y="1421"/>
                <a:ext cx="142" cy="64"/>
              </a:xfrm>
              <a:custGeom>
                <a:avLst/>
                <a:gdLst>
                  <a:gd name="T0" fmla="*/ 142 w 142"/>
                  <a:gd name="T1" fmla="*/ 64 h 64"/>
                  <a:gd name="T2" fmla="*/ 0 w 142"/>
                  <a:gd name="T3" fmla="*/ 64 h 64"/>
                  <a:gd name="T4" fmla="*/ 0 w 142"/>
                  <a:gd name="T5" fmla="*/ 0 h 64"/>
                  <a:gd name="T6" fmla="*/ 142 w 142"/>
                  <a:gd name="T7" fmla="*/ 0 h 64"/>
                  <a:gd name="T8" fmla="*/ 142 w 142"/>
                  <a:gd name="T9" fmla="*/ 64 h 64"/>
                  <a:gd name="T10" fmla="*/ 18 w 142"/>
                  <a:gd name="T11" fmla="*/ 46 h 64"/>
                  <a:gd name="T12" fmla="*/ 124 w 142"/>
                  <a:gd name="T13" fmla="*/ 46 h 64"/>
                  <a:gd name="T14" fmla="*/ 124 w 142"/>
                  <a:gd name="T15" fmla="*/ 18 h 64"/>
                  <a:gd name="T16" fmla="*/ 18 w 142"/>
                  <a:gd name="T17" fmla="*/ 18 h 64"/>
                  <a:gd name="T18" fmla="*/ 18 w 14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4">
                    <a:moveTo>
                      <a:pt x="142" y="64"/>
                    </a:moveTo>
                    <a:lnTo>
                      <a:pt x="0" y="64"/>
                    </a:lnTo>
                    <a:lnTo>
                      <a:pt x="0" y="0"/>
                    </a:lnTo>
                    <a:lnTo>
                      <a:pt x="142" y="0"/>
                    </a:lnTo>
                    <a:lnTo>
                      <a:pt x="142" y="64"/>
                    </a:lnTo>
                    <a:close/>
                    <a:moveTo>
                      <a:pt x="18" y="46"/>
                    </a:moveTo>
                    <a:lnTo>
                      <a:pt x="124" y="46"/>
                    </a:lnTo>
                    <a:lnTo>
                      <a:pt x="124"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40">
                <a:extLst>
                  <a:ext uri="{FF2B5EF4-FFF2-40B4-BE49-F238E27FC236}">
                    <a16:creationId xmlns:a16="http://schemas.microsoft.com/office/drawing/2014/main" id="{9A3785DD-368F-4B30-B66A-FB3BC1E3D834}"/>
                  </a:ext>
                </a:extLst>
              </p:cNvPr>
              <p:cNvSpPr>
                <a:spLocks noEditPoints="1"/>
              </p:cNvSpPr>
              <p:nvPr/>
            </p:nvSpPr>
            <p:spPr bwMode="auto">
              <a:xfrm>
                <a:off x="878" y="1015"/>
                <a:ext cx="76" cy="424"/>
              </a:xfrm>
              <a:custGeom>
                <a:avLst/>
                <a:gdLst>
                  <a:gd name="T0" fmla="*/ 76 w 76"/>
                  <a:gd name="T1" fmla="*/ 424 h 424"/>
                  <a:gd name="T2" fmla="*/ 0 w 76"/>
                  <a:gd name="T3" fmla="*/ 424 h 424"/>
                  <a:gd name="T4" fmla="*/ 0 w 76"/>
                  <a:gd name="T5" fmla="*/ 0 h 424"/>
                  <a:gd name="T6" fmla="*/ 12 w 76"/>
                  <a:gd name="T7" fmla="*/ 6 h 424"/>
                  <a:gd name="T8" fmla="*/ 12 w 76"/>
                  <a:gd name="T9" fmla="*/ 6 h 424"/>
                  <a:gd name="T10" fmla="*/ 26 w 76"/>
                  <a:gd name="T11" fmla="*/ 10 h 424"/>
                  <a:gd name="T12" fmla="*/ 38 w 76"/>
                  <a:gd name="T13" fmla="*/ 12 h 424"/>
                  <a:gd name="T14" fmla="*/ 52 w 76"/>
                  <a:gd name="T15" fmla="*/ 10 h 424"/>
                  <a:gd name="T16" fmla="*/ 64 w 76"/>
                  <a:gd name="T17" fmla="*/ 6 h 424"/>
                  <a:gd name="T18" fmla="*/ 76 w 76"/>
                  <a:gd name="T19" fmla="*/ 0 h 424"/>
                  <a:gd name="T20" fmla="*/ 76 w 76"/>
                  <a:gd name="T21" fmla="*/ 424 h 424"/>
                  <a:gd name="T22" fmla="*/ 18 w 76"/>
                  <a:gd name="T23" fmla="*/ 406 h 424"/>
                  <a:gd name="T24" fmla="*/ 58 w 76"/>
                  <a:gd name="T25" fmla="*/ 406 h 424"/>
                  <a:gd name="T26" fmla="*/ 58 w 76"/>
                  <a:gd name="T27" fmla="*/ 28 h 424"/>
                  <a:gd name="T28" fmla="*/ 58 w 76"/>
                  <a:gd name="T29" fmla="*/ 28 h 424"/>
                  <a:gd name="T30" fmla="*/ 48 w 76"/>
                  <a:gd name="T31" fmla="*/ 30 h 424"/>
                  <a:gd name="T32" fmla="*/ 38 w 76"/>
                  <a:gd name="T33" fmla="*/ 30 h 424"/>
                  <a:gd name="T34" fmla="*/ 28 w 76"/>
                  <a:gd name="T35" fmla="*/ 30 h 424"/>
                  <a:gd name="T36" fmla="*/ 18 w 76"/>
                  <a:gd name="T37" fmla="*/ 28 h 424"/>
                  <a:gd name="T38" fmla="*/ 18 w 76"/>
                  <a:gd name="T3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424">
                    <a:moveTo>
                      <a:pt x="76" y="424"/>
                    </a:moveTo>
                    <a:lnTo>
                      <a:pt x="0" y="424"/>
                    </a:lnTo>
                    <a:lnTo>
                      <a:pt x="0" y="0"/>
                    </a:lnTo>
                    <a:lnTo>
                      <a:pt x="12" y="6"/>
                    </a:lnTo>
                    <a:lnTo>
                      <a:pt x="12" y="6"/>
                    </a:lnTo>
                    <a:lnTo>
                      <a:pt x="26" y="10"/>
                    </a:lnTo>
                    <a:lnTo>
                      <a:pt x="38" y="12"/>
                    </a:lnTo>
                    <a:lnTo>
                      <a:pt x="52" y="10"/>
                    </a:lnTo>
                    <a:lnTo>
                      <a:pt x="64" y="6"/>
                    </a:lnTo>
                    <a:lnTo>
                      <a:pt x="76" y="0"/>
                    </a:lnTo>
                    <a:lnTo>
                      <a:pt x="76" y="424"/>
                    </a:lnTo>
                    <a:close/>
                    <a:moveTo>
                      <a:pt x="18" y="406"/>
                    </a:moveTo>
                    <a:lnTo>
                      <a:pt x="58" y="406"/>
                    </a:lnTo>
                    <a:lnTo>
                      <a:pt x="58" y="28"/>
                    </a:lnTo>
                    <a:lnTo>
                      <a:pt x="58" y="28"/>
                    </a:lnTo>
                    <a:lnTo>
                      <a:pt x="48" y="30"/>
                    </a:lnTo>
                    <a:lnTo>
                      <a:pt x="38" y="30"/>
                    </a:lnTo>
                    <a:lnTo>
                      <a:pt x="28" y="30"/>
                    </a:lnTo>
                    <a:lnTo>
                      <a:pt x="18" y="28"/>
                    </a:lnTo>
                    <a:lnTo>
                      <a:pt x="1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41">
                <a:extLst>
                  <a:ext uri="{FF2B5EF4-FFF2-40B4-BE49-F238E27FC236}">
                    <a16:creationId xmlns:a16="http://schemas.microsoft.com/office/drawing/2014/main" id="{2D68E40C-3943-4936-9AFE-395631D66FF6}"/>
                  </a:ext>
                </a:extLst>
              </p:cNvPr>
              <p:cNvSpPr>
                <a:spLocks noEditPoints="1"/>
              </p:cNvSpPr>
              <p:nvPr/>
            </p:nvSpPr>
            <p:spPr bwMode="auto">
              <a:xfrm>
                <a:off x="964" y="929"/>
                <a:ext cx="280" cy="76"/>
              </a:xfrm>
              <a:custGeom>
                <a:avLst/>
                <a:gdLst>
                  <a:gd name="T0" fmla="*/ 240 w 280"/>
                  <a:gd name="T1" fmla="*/ 76 h 76"/>
                  <a:gd name="T2" fmla="*/ 0 w 280"/>
                  <a:gd name="T3" fmla="*/ 76 h 76"/>
                  <a:gd name="T4" fmla="*/ 6 w 280"/>
                  <a:gd name="T5" fmla="*/ 64 h 76"/>
                  <a:gd name="T6" fmla="*/ 6 w 280"/>
                  <a:gd name="T7" fmla="*/ 64 h 76"/>
                  <a:gd name="T8" fmla="*/ 12 w 280"/>
                  <a:gd name="T9" fmla="*/ 50 h 76"/>
                  <a:gd name="T10" fmla="*/ 12 w 280"/>
                  <a:gd name="T11" fmla="*/ 38 h 76"/>
                  <a:gd name="T12" fmla="*/ 12 w 280"/>
                  <a:gd name="T13" fmla="*/ 38 h 76"/>
                  <a:gd name="T14" fmla="*/ 12 w 280"/>
                  <a:gd name="T15" fmla="*/ 24 h 76"/>
                  <a:gd name="T16" fmla="*/ 6 w 280"/>
                  <a:gd name="T17" fmla="*/ 12 h 76"/>
                  <a:gd name="T18" fmla="*/ 0 w 280"/>
                  <a:gd name="T19" fmla="*/ 0 h 76"/>
                  <a:gd name="T20" fmla="*/ 240 w 280"/>
                  <a:gd name="T21" fmla="*/ 0 h 76"/>
                  <a:gd name="T22" fmla="*/ 240 w 280"/>
                  <a:gd name="T23" fmla="*/ 0 h 76"/>
                  <a:gd name="T24" fmla="*/ 248 w 280"/>
                  <a:gd name="T25" fmla="*/ 0 h 76"/>
                  <a:gd name="T26" fmla="*/ 256 w 280"/>
                  <a:gd name="T27" fmla="*/ 2 h 76"/>
                  <a:gd name="T28" fmla="*/ 262 w 280"/>
                  <a:gd name="T29" fmla="*/ 6 h 76"/>
                  <a:gd name="T30" fmla="*/ 268 w 280"/>
                  <a:gd name="T31" fmla="*/ 10 h 76"/>
                  <a:gd name="T32" fmla="*/ 272 w 280"/>
                  <a:gd name="T33" fmla="*/ 16 h 76"/>
                  <a:gd name="T34" fmla="*/ 276 w 280"/>
                  <a:gd name="T35" fmla="*/ 24 h 76"/>
                  <a:gd name="T36" fmla="*/ 278 w 280"/>
                  <a:gd name="T37" fmla="*/ 30 h 76"/>
                  <a:gd name="T38" fmla="*/ 280 w 280"/>
                  <a:gd name="T39" fmla="*/ 38 h 76"/>
                  <a:gd name="T40" fmla="*/ 280 w 280"/>
                  <a:gd name="T41" fmla="*/ 38 h 76"/>
                  <a:gd name="T42" fmla="*/ 278 w 280"/>
                  <a:gd name="T43" fmla="*/ 46 h 76"/>
                  <a:gd name="T44" fmla="*/ 276 w 280"/>
                  <a:gd name="T45" fmla="*/ 52 h 76"/>
                  <a:gd name="T46" fmla="*/ 272 w 280"/>
                  <a:gd name="T47" fmla="*/ 60 h 76"/>
                  <a:gd name="T48" fmla="*/ 268 w 280"/>
                  <a:gd name="T49" fmla="*/ 64 h 76"/>
                  <a:gd name="T50" fmla="*/ 262 w 280"/>
                  <a:gd name="T51" fmla="*/ 70 h 76"/>
                  <a:gd name="T52" fmla="*/ 256 w 280"/>
                  <a:gd name="T53" fmla="*/ 74 h 76"/>
                  <a:gd name="T54" fmla="*/ 248 w 280"/>
                  <a:gd name="T55" fmla="*/ 76 h 76"/>
                  <a:gd name="T56" fmla="*/ 240 w 280"/>
                  <a:gd name="T57" fmla="*/ 76 h 76"/>
                  <a:gd name="T58" fmla="*/ 240 w 280"/>
                  <a:gd name="T59" fmla="*/ 76 h 76"/>
                  <a:gd name="T60" fmla="*/ 28 w 280"/>
                  <a:gd name="T61" fmla="*/ 58 h 76"/>
                  <a:gd name="T62" fmla="*/ 240 w 280"/>
                  <a:gd name="T63" fmla="*/ 58 h 76"/>
                  <a:gd name="T64" fmla="*/ 240 w 280"/>
                  <a:gd name="T65" fmla="*/ 58 h 76"/>
                  <a:gd name="T66" fmla="*/ 248 w 280"/>
                  <a:gd name="T67" fmla="*/ 56 h 76"/>
                  <a:gd name="T68" fmla="*/ 256 w 280"/>
                  <a:gd name="T69" fmla="*/ 52 h 76"/>
                  <a:gd name="T70" fmla="*/ 260 w 280"/>
                  <a:gd name="T71" fmla="*/ 46 h 76"/>
                  <a:gd name="T72" fmla="*/ 262 w 280"/>
                  <a:gd name="T73" fmla="*/ 38 h 76"/>
                  <a:gd name="T74" fmla="*/ 262 w 280"/>
                  <a:gd name="T75" fmla="*/ 38 h 76"/>
                  <a:gd name="T76" fmla="*/ 260 w 280"/>
                  <a:gd name="T77" fmla="*/ 30 h 76"/>
                  <a:gd name="T78" fmla="*/ 256 w 280"/>
                  <a:gd name="T79" fmla="*/ 24 h 76"/>
                  <a:gd name="T80" fmla="*/ 248 w 280"/>
                  <a:gd name="T81" fmla="*/ 20 h 76"/>
                  <a:gd name="T82" fmla="*/ 240 w 280"/>
                  <a:gd name="T83" fmla="*/ 18 h 76"/>
                  <a:gd name="T84" fmla="*/ 28 w 280"/>
                  <a:gd name="T85" fmla="*/ 18 h 76"/>
                  <a:gd name="T86" fmla="*/ 28 w 280"/>
                  <a:gd name="T87" fmla="*/ 18 h 76"/>
                  <a:gd name="T88" fmla="*/ 30 w 280"/>
                  <a:gd name="T89" fmla="*/ 28 h 76"/>
                  <a:gd name="T90" fmla="*/ 30 w 280"/>
                  <a:gd name="T91" fmla="*/ 38 h 76"/>
                  <a:gd name="T92" fmla="*/ 30 w 280"/>
                  <a:gd name="T93" fmla="*/ 38 h 76"/>
                  <a:gd name="T94" fmla="*/ 30 w 280"/>
                  <a:gd name="T95" fmla="*/ 48 h 76"/>
                  <a:gd name="T96" fmla="*/ 28 w 280"/>
                  <a:gd name="T97" fmla="*/ 58 h 76"/>
                  <a:gd name="T98" fmla="*/ 28 w 280"/>
                  <a:gd name="T9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76">
                    <a:moveTo>
                      <a:pt x="240" y="76"/>
                    </a:moveTo>
                    <a:lnTo>
                      <a:pt x="0" y="76"/>
                    </a:lnTo>
                    <a:lnTo>
                      <a:pt x="6" y="64"/>
                    </a:lnTo>
                    <a:lnTo>
                      <a:pt x="6" y="64"/>
                    </a:lnTo>
                    <a:lnTo>
                      <a:pt x="12" y="50"/>
                    </a:lnTo>
                    <a:lnTo>
                      <a:pt x="12" y="38"/>
                    </a:lnTo>
                    <a:lnTo>
                      <a:pt x="12" y="38"/>
                    </a:lnTo>
                    <a:lnTo>
                      <a:pt x="12" y="24"/>
                    </a:lnTo>
                    <a:lnTo>
                      <a:pt x="6" y="12"/>
                    </a:lnTo>
                    <a:lnTo>
                      <a:pt x="0" y="0"/>
                    </a:lnTo>
                    <a:lnTo>
                      <a:pt x="240" y="0"/>
                    </a:lnTo>
                    <a:lnTo>
                      <a:pt x="240" y="0"/>
                    </a:lnTo>
                    <a:lnTo>
                      <a:pt x="248" y="0"/>
                    </a:lnTo>
                    <a:lnTo>
                      <a:pt x="256" y="2"/>
                    </a:lnTo>
                    <a:lnTo>
                      <a:pt x="262" y="6"/>
                    </a:lnTo>
                    <a:lnTo>
                      <a:pt x="268" y="10"/>
                    </a:lnTo>
                    <a:lnTo>
                      <a:pt x="272" y="16"/>
                    </a:lnTo>
                    <a:lnTo>
                      <a:pt x="276" y="24"/>
                    </a:lnTo>
                    <a:lnTo>
                      <a:pt x="278" y="30"/>
                    </a:lnTo>
                    <a:lnTo>
                      <a:pt x="280" y="38"/>
                    </a:lnTo>
                    <a:lnTo>
                      <a:pt x="280" y="38"/>
                    </a:lnTo>
                    <a:lnTo>
                      <a:pt x="278" y="46"/>
                    </a:lnTo>
                    <a:lnTo>
                      <a:pt x="276" y="52"/>
                    </a:lnTo>
                    <a:lnTo>
                      <a:pt x="272" y="60"/>
                    </a:lnTo>
                    <a:lnTo>
                      <a:pt x="268" y="64"/>
                    </a:lnTo>
                    <a:lnTo>
                      <a:pt x="262" y="70"/>
                    </a:lnTo>
                    <a:lnTo>
                      <a:pt x="256" y="74"/>
                    </a:lnTo>
                    <a:lnTo>
                      <a:pt x="248" y="76"/>
                    </a:lnTo>
                    <a:lnTo>
                      <a:pt x="240" y="76"/>
                    </a:lnTo>
                    <a:lnTo>
                      <a:pt x="240" y="76"/>
                    </a:lnTo>
                    <a:close/>
                    <a:moveTo>
                      <a:pt x="28" y="58"/>
                    </a:moveTo>
                    <a:lnTo>
                      <a:pt x="240" y="58"/>
                    </a:lnTo>
                    <a:lnTo>
                      <a:pt x="240" y="58"/>
                    </a:lnTo>
                    <a:lnTo>
                      <a:pt x="248" y="56"/>
                    </a:lnTo>
                    <a:lnTo>
                      <a:pt x="256" y="52"/>
                    </a:lnTo>
                    <a:lnTo>
                      <a:pt x="260" y="46"/>
                    </a:lnTo>
                    <a:lnTo>
                      <a:pt x="262" y="38"/>
                    </a:lnTo>
                    <a:lnTo>
                      <a:pt x="262" y="38"/>
                    </a:lnTo>
                    <a:lnTo>
                      <a:pt x="260" y="30"/>
                    </a:lnTo>
                    <a:lnTo>
                      <a:pt x="256" y="24"/>
                    </a:lnTo>
                    <a:lnTo>
                      <a:pt x="248" y="20"/>
                    </a:lnTo>
                    <a:lnTo>
                      <a:pt x="240" y="18"/>
                    </a:lnTo>
                    <a:lnTo>
                      <a:pt x="28" y="18"/>
                    </a:lnTo>
                    <a:lnTo>
                      <a:pt x="28" y="18"/>
                    </a:lnTo>
                    <a:lnTo>
                      <a:pt x="30" y="28"/>
                    </a:lnTo>
                    <a:lnTo>
                      <a:pt x="30" y="38"/>
                    </a:lnTo>
                    <a:lnTo>
                      <a:pt x="30" y="38"/>
                    </a:lnTo>
                    <a:lnTo>
                      <a:pt x="30" y="48"/>
                    </a:lnTo>
                    <a:lnTo>
                      <a:pt x="28" y="58"/>
                    </a:lnTo>
                    <a:lnTo>
                      <a:pt x="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1" name="Freeform 42">
                <a:extLst>
                  <a:ext uri="{FF2B5EF4-FFF2-40B4-BE49-F238E27FC236}">
                    <a16:creationId xmlns:a16="http://schemas.microsoft.com/office/drawing/2014/main" id="{16572AD0-AEB2-4015-9CB5-4D2BD1E15FA1}"/>
                  </a:ext>
                </a:extLst>
              </p:cNvPr>
              <p:cNvSpPr>
                <a:spLocks noEditPoints="1"/>
              </p:cNvSpPr>
              <p:nvPr/>
            </p:nvSpPr>
            <p:spPr bwMode="auto">
              <a:xfrm>
                <a:off x="590" y="929"/>
                <a:ext cx="278" cy="76"/>
              </a:xfrm>
              <a:custGeom>
                <a:avLst/>
                <a:gdLst>
                  <a:gd name="T0" fmla="*/ 278 w 278"/>
                  <a:gd name="T1" fmla="*/ 76 h 76"/>
                  <a:gd name="T2" fmla="*/ 38 w 278"/>
                  <a:gd name="T3" fmla="*/ 76 h 76"/>
                  <a:gd name="T4" fmla="*/ 38 w 278"/>
                  <a:gd name="T5" fmla="*/ 76 h 76"/>
                  <a:gd name="T6" fmla="*/ 30 w 278"/>
                  <a:gd name="T7" fmla="*/ 76 h 76"/>
                  <a:gd name="T8" fmla="*/ 22 w 278"/>
                  <a:gd name="T9" fmla="*/ 74 h 76"/>
                  <a:gd name="T10" fmla="*/ 16 w 278"/>
                  <a:gd name="T11" fmla="*/ 70 h 76"/>
                  <a:gd name="T12" fmla="*/ 10 w 278"/>
                  <a:gd name="T13" fmla="*/ 64 h 76"/>
                  <a:gd name="T14" fmla="*/ 6 w 278"/>
                  <a:gd name="T15" fmla="*/ 60 h 76"/>
                  <a:gd name="T16" fmla="*/ 2 w 278"/>
                  <a:gd name="T17" fmla="*/ 52 h 76"/>
                  <a:gd name="T18" fmla="*/ 0 w 278"/>
                  <a:gd name="T19" fmla="*/ 46 h 76"/>
                  <a:gd name="T20" fmla="*/ 0 w 278"/>
                  <a:gd name="T21" fmla="*/ 38 h 76"/>
                  <a:gd name="T22" fmla="*/ 0 w 278"/>
                  <a:gd name="T23" fmla="*/ 38 h 76"/>
                  <a:gd name="T24" fmla="*/ 0 w 278"/>
                  <a:gd name="T25" fmla="*/ 30 h 76"/>
                  <a:gd name="T26" fmla="*/ 2 w 278"/>
                  <a:gd name="T27" fmla="*/ 24 h 76"/>
                  <a:gd name="T28" fmla="*/ 6 w 278"/>
                  <a:gd name="T29" fmla="*/ 16 h 76"/>
                  <a:gd name="T30" fmla="*/ 10 w 278"/>
                  <a:gd name="T31" fmla="*/ 10 h 76"/>
                  <a:gd name="T32" fmla="*/ 16 w 278"/>
                  <a:gd name="T33" fmla="*/ 6 h 76"/>
                  <a:gd name="T34" fmla="*/ 22 w 278"/>
                  <a:gd name="T35" fmla="*/ 2 h 76"/>
                  <a:gd name="T36" fmla="*/ 30 w 278"/>
                  <a:gd name="T37" fmla="*/ 0 h 76"/>
                  <a:gd name="T38" fmla="*/ 38 w 278"/>
                  <a:gd name="T39" fmla="*/ 0 h 76"/>
                  <a:gd name="T40" fmla="*/ 278 w 278"/>
                  <a:gd name="T41" fmla="*/ 0 h 76"/>
                  <a:gd name="T42" fmla="*/ 272 w 278"/>
                  <a:gd name="T43" fmla="*/ 12 h 76"/>
                  <a:gd name="T44" fmla="*/ 272 w 278"/>
                  <a:gd name="T45" fmla="*/ 12 h 76"/>
                  <a:gd name="T46" fmla="*/ 268 w 278"/>
                  <a:gd name="T47" fmla="*/ 24 h 76"/>
                  <a:gd name="T48" fmla="*/ 266 w 278"/>
                  <a:gd name="T49" fmla="*/ 38 h 76"/>
                  <a:gd name="T50" fmla="*/ 266 w 278"/>
                  <a:gd name="T51" fmla="*/ 38 h 76"/>
                  <a:gd name="T52" fmla="*/ 268 w 278"/>
                  <a:gd name="T53" fmla="*/ 50 h 76"/>
                  <a:gd name="T54" fmla="*/ 272 w 278"/>
                  <a:gd name="T55" fmla="*/ 64 h 76"/>
                  <a:gd name="T56" fmla="*/ 278 w 278"/>
                  <a:gd name="T57" fmla="*/ 76 h 76"/>
                  <a:gd name="T58" fmla="*/ 38 w 278"/>
                  <a:gd name="T59" fmla="*/ 18 h 76"/>
                  <a:gd name="T60" fmla="*/ 38 w 278"/>
                  <a:gd name="T61" fmla="*/ 18 h 76"/>
                  <a:gd name="T62" fmla="*/ 30 w 278"/>
                  <a:gd name="T63" fmla="*/ 20 h 76"/>
                  <a:gd name="T64" fmla="*/ 24 w 278"/>
                  <a:gd name="T65" fmla="*/ 24 h 76"/>
                  <a:gd name="T66" fmla="*/ 20 w 278"/>
                  <a:gd name="T67" fmla="*/ 30 h 76"/>
                  <a:gd name="T68" fmla="*/ 18 w 278"/>
                  <a:gd name="T69" fmla="*/ 38 h 76"/>
                  <a:gd name="T70" fmla="*/ 18 w 278"/>
                  <a:gd name="T71" fmla="*/ 38 h 76"/>
                  <a:gd name="T72" fmla="*/ 20 w 278"/>
                  <a:gd name="T73" fmla="*/ 46 h 76"/>
                  <a:gd name="T74" fmla="*/ 24 w 278"/>
                  <a:gd name="T75" fmla="*/ 52 h 76"/>
                  <a:gd name="T76" fmla="*/ 30 w 278"/>
                  <a:gd name="T77" fmla="*/ 56 h 76"/>
                  <a:gd name="T78" fmla="*/ 38 w 278"/>
                  <a:gd name="T79" fmla="*/ 58 h 76"/>
                  <a:gd name="T80" fmla="*/ 252 w 278"/>
                  <a:gd name="T81" fmla="*/ 58 h 76"/>
                  <a:gd name="T82" fmla="*/ 252 w 278"/>
                  <a:gd name="T83" fmla="*/ 58 h 76"/>
                  <a:gd name="T84" fmla="*/ 250 w 278"/>
                  <a:gd name="T85" fmla="*/ 48 h 76"/>
                  <a:gd name="T86" fmla="*/ 248 w 278"/>
                  <a:gd name="T87" fmla="*/ 38 h 76"/>
                  <a:gd name="T88" fmla="*/ 248 w 278"/>
                  <a:gd name="T89" fmla="*/ 38 h 76"/>
                  <a:gd name="T90" fmla="*/ 250 w 278"/>
                  <a:gd name="T91" fmla="*/ 28 h 76"/>
                  <a:gd name="T92" fmla="*/ 252 w 278"/>
                  <a:gd name="T93" fmla="*/ 18 h 76"/>
                  <a:gd name="T94" fmla="*/ 38 w 278"/>
                  <a:gd name="T95"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8" h="76">
                    <a:moveTo>
                      <a:pt x="278" y="76"/>
                    </a:moveTo>
                    <a:lnTo>
                      <a:pt x="38" y="76"/>
                    </a:lnTo>
                    <a:lnTo>
                      <a:pt x="38" y="76"/>
                    </a:lnTo>
                    <a:lnTo>
                      <a:pt x="30" y="76"/>
                    </a:lnTo>
                    <a:lnTo>
                      <a:pt x="22" y="74"/>
                    </a:lnTo>
                    <a:lnTo>
                      <a:pt x="16" y="70"/>
                    </a:lnTo>
                    <a:lnTo>
                      <a:pt x="10" y="64"/>
                    </a:lnTo>
                    <a:lnTo>
                      <a:pt x="6" y="60"/>
                    </a:lnTo>
                    <a:lnTo>
                      <a:pt x="2" y="52"/>
                    </a:lnTo>
                    <a:lnTo>
                      <a:pt x="0" y="46"/>
                    </a:lnTo>
                    <a:lnTo>
                      <a:pt x="0" y="38"/>
                    </a:lnTo>
                    <a:lnTo>
                      <a:pt x="0" y="38"/>
                    </a:lnTo>
                    <a:lnTo>
                      <a:pt x="0" y="30"/>
                    </a:lnTo>
                    <a:lnTo>
                      <a:pt x="2" y="24"/>
                    </a:lnTo>
                    <a:lnTo>
                      <a:pt x="6" y="16"/>
                    </a:lnTo>
                    <a:lnTo>
                      <a:pt x="10" y="10"/>
                    </a:lnTo>
                    <a:lnTo>
                      <a:pt x="16" y="6"/>
                    </a:lnTo>
                    <a:lnTo>
                      <a:pt x="22" y="2"/>
                    </a:lnTo>
                    <a:lnTo>
                      <a:pt x="30" y="0"/>
                    </a:lnTo>
                    <a:lnTo>
                      <a:pt x="38" y="0"/>
                    </a:lnTo>
                    <a:lnTo>
                      <a:pt x="278" y="0"/>
                    </a:lnTo>
                    <a:lnTo>
                      <a:pt x="272" y="12"/>
                    </a:lnTo>
                    <a:lnTo>
                      <a:pt x="272" y="12"/>
                    </a:lnTo>
                    <a:lnTo>
                      <a:pt x="268" y="24"/>
                    </a:lnTo>
                    <a:lnTo>
                      <a:pt x="266" y="38"/>
                    </a:lnTo>
                    <a:lnTo>
                      <a:pt x="266" y="38"/>
                    </a:lnTo>
                    <a:lnTo>
                      <a:pt x="268" y="50"/>
                    </a:lnTo>
                    <a:lnTo>
                      <a:pt x="272" y="64"/>
                    </a:lnTo>
                    <a:lnTo>
                      <a:pt x="278" y="76"/>
                    </a:lnTo>
                    <a:close/>
                    <a:moveTo>
                      <a:pt x="38" y="18"/>
                    </a:moveTo>
                    <a:lnTo>
                      <a:pt x="38" y="18"/>
                    </a:lnTo>
                    <a:lnTo>
                      <a:pt x="30" y="20"/>
                    </a:lnTo>
                    <a:lnTo>
                      <a:pt x="24" y="24"/>
                    </a:lnTo>
                    <a:lnTo>
                      <a:pt x="20" y="30"/>
                    </a:lnTo>
                    <a:lnTo>
                      <a:pt x="18" y="38"/>
                    </a:lnTo>
                    <a:lnTo>
                      <a:pt x="18" y="38"/>
                    </a:lnTo>
                    <a:lnTo>
                      <a:pt x="20" y="46"/>
                    </a:lnTo>
                    <a:lnTo>
                      <a:pt x="24" y="52"/>
                    </a:lnTo>
                    <a:lnTo>
                      <a:pt x="30" y="56"/>
                    </a:lnTo>
                    <a:lnTo>
                      <a:pt x="38" y="58"/>
                    </a:lnTo>
                    <a:lnTo>
                      <a:pt x="252" y="58"/>
                    </a:lnTo>
                    <a:lnTo>
                      <a:pt x="252" y="58"/>
                    </a:lnTo>
                    <a:lnTo>
                      <a:pt x="250" y="48"/>
                    </a:lnTo>
                    <a:lnTo>
                      <a:pt x="248" y="38"/>
                    </a:lnTo>
                    <a:lnTo>
                      <a:pt x="248" y="38"/>
                    </a:lnTo>
                    <a:lnTo>
                      <a:pt x="250" y="28"/>
                    </a:lnTo>
                    <a:lnTo>
                      <a:pt x="252" y="18"/>
                    </a:lnTo>
                    <a:lnTo>
                      <a:pt x="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2" name="Freeform 43">
                <a:extLst>
                  <a:ext uri="{FF2B5EF4-FFF2-40B4-BE49-F238E27FC236}">
                    <a16:creationId xmlns:a16="http://schemas.microsoft.com/office/drawing/2014/main" id="{08D16694-995A-4924-863B-3EB02D013E98}"/>
                  </a:ext>
                </a:extLst>
              </p:cNvPr>
              <p:cNvSpPr>
                <a:spLocks/>
              </p:cNvSpPr>
              <p:nvPr/>
            </p:nvSpPr>
            <p:spPr bwMode="auto">
              <a:xfrm>
                <a:off x="842" y="889"/>
                <a:ext cx="148" cy="60"/>
              </a:xfrm>
              <a:custGeom>
                <a:avLst/>
                <a:gdLst>
                  <a:gd name="T0" fmla="*/ 16 w 148"/>
                  <a:gd name="T1" fmla="*/ 60 h 60"/>
                  <a:gd name="T2" fmla="*/ 0 w 148"/>
                  <a:gd name="T3" fmla="*/ 52 h 60"/>
                  <a:gd name="T4" fmla="*/ 4 w 148"/>
                  <a:gd name="T5" fmla="*/ 44 h 60"/>
                  <a:gd name="T6" fmla="*/ 4 w 148"/>
                  <a:gd name="T7" fmla="*/ 44 h 60"/>
                  <a:gd name="T8" fmla="*/ 10 w 148"/>
                  <a:gd name="T9" fmla="*/ 36 h 60"/>
                  <a:gd name="T10" fmla="*/ 16 w 148"/>
                  <a:gd name="T11" fmla="*/ 26 h 60"/>
                  <a:gd name="T12" fmla="*/ 24 w 148"/>
                  <a:gd name="T13" fmla="*/ 18 h 60"/>
                  <a:gd name="T14" fmla="*/ 32 w 148"/>
                  <a:gd name="T15" fmla="*/ 12 h 60"/>
                  <a:gd name="T16" fmla="*/ 42 w 148"/>
                  <a:gd name="T17" fmla="*/ 6 h 60"/>
                  <a:gd name="T18" fmla="*/ 52 w 148"/>
                  <a:gd name="T19" fmla="*/ 2 h 60"/>
                  <a:gd name="T20" fmla="*/ 64 w 148"/>
                  <a:gd name="T21" fmla="*/ 0 h 60"/>
                  <a:gd name="T22" fmla="*/ 74 w 148"/>
                  <a:gd name="T23" fmla="*/ 0 h 60"/>
                  <a:gd name="T24" fmla="*/ 74 w 148"/>
                  <a:gd name="T25" fmla="*/ 0 h 60"/>
                  <a:gd name="T26" fmla="*/ 86 w 148"/>
                  <a:gd name="T27" fmla="*/ 0 h 60"/>
                  <a:gd name="T28" fmla="*/ 96 w 148"/>
                  <a:gd name="T29" fmla="*/ 2 h 60"/>
                  <a:gd name="T30" fmla="*/ 106 w 148"/>
                  <a:gd name="T31" fmla="*/ 6 h 60"/>
                  <a:gd name="T32" fmla="*/ 116 w 148"/>
                  <a:gd name="T33" fmla="*/ 12 h 60"/>
                  <a:gd name="T34" fmla="*/ 126 w 148"/>
                  <a:gd name="T35" fmla="*/ 18 h 60"/>
                  <a:gd name="T36" fmla="*/ 132 w 148"/>
                  <a:gd name="T37" fmla="*/ 26 h 60"/>
                  <a:gd name="T38" fmla="*/ 140 w 148"/>
                  <a:gd name="T39" fmla="*/ 36 h 60"/>
                  <a:gd name="T40" fmla="*/ 146 w 148"/>
                  <a:gd name="T41" fmla="*/ 44 h 60"/>
                  <a:gd name="T42" fmla="*/ 148 w 148"/>
                  <a:gd name="T43" fmla="*/ 52 h 60"/>
                  <a:gd name="T44" fmla="*/ 132 w 148"/>
                  <a:gd name="T45" fmla="*/ 60 h 60"/>
                  <a:gd name="T46" fmla="*/ 128 w 148"/>
                  <a:gd name="T47" fmla="*/ 52 h 60"/>
                  <a:gd name="T48" fmla="*/ 128 w 148"/>
                  <a:gd name="T49" fmla="*/ 52 h 60"/>
                  <a:gd name="T50" fmla="*/ 124 w 148"/>
                  <a:gd name="T51" fmla="*/ 44 h 60"/>
                  <a:gd name="T52" fmla="*/ 120 w 148"/>
                  <a:gd name="T53" fmla="*/ 38 h 60"/>
                  <a:gd name="T54" fmla="*/ 106 w 148"/>
                  <a:gd name="T55" fmla="*/ 28 h 60"/>
                  <a:gd name="T56" fmla="*/ 92 w 148"/>
                  <a:gd name="T57" fmla="*/ 20 h 60"/>
                  <a:gd name="T58" fmla="*/ 84 w 148"/>
                  <a:gd name="T59" fmla="*/ 18 h 60"/>
                  <a:gd name="T60" fmla="*/ 74 w 148"/>
                  <a:gd name="T61" fmla="*/ 18 h 60"/>
                  <a:gd name="T62" fmla="*/ 74 w 148"/>
                  <a:gd name="T63" fmla="*/ 18 h 60"/>
                  <a:gd name="T64" fmla="*/ 66 w 148"/>
                  <a:gd name="T65" fmla="*/ 18 h 60"/>
                  <a:gd name="T66" fmla="*/ 58 w 148"/>
                  <a:gd name="T67" fmla="*/ 20 h 60"/>
                  <a:gd name="T68" fmla="*/ 42 w 148"/>
                  <a:gd name="T69" fmla="*/ 28 h 60"/>
                  <a:gd name="T70" fmla="*/ 30 w 148"/>
                  <a:gd name="T71" fmla="*/ 38 h 60"/>
                  <a:gd name="T72" fmla="*/ 24 w 148"/>
                  <a:gd name="T73" fmla="*/ 44 h 60"/>
                  <a:gd name="T74" fmla="*/ 20 w 148"/>
                  <a:gd name="T75" fmla="*/ 52 h 60"/>
                  <a:gd name="T76" fmla="*/ 16 w 148"/>
                  <a:gd name="T7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60">
                    <a:moveTo>
                      <a:pt x="16" y="60"/>
                    </a:moveTo>
                    <a:lnTo>
                      <a:pt x="0" y="52"/>
                    </a:lnTo>
                    <a:lnTo>
                      <a:pt x="4" y="44"/>
                    </a:lnTo>
                    <a:lnTo>
                      <a:pt x="4" y="44"/>
                    </a:lnTo>
                    <a:lnTo>
                      <a:pt x="10" y="36"/>
                    </a:lnTo>
                    <a:lnTo>
                      <a:pt x="16" y="26"/>
                    </a:lnTo>
                    <a:lnTo>
                      <a:pt x="24" y="18"/>
                    </a:lnTo>
                    <a:lnTo>
                      <a:pt x="32" y="12"/>
                    </a:lnTo>
                    <a:lnTo>
                      <a:pt x="42" y="6"/>
                    </a:lnTo>
                    <a:lnTo>
                      <a:pt x="52" y="2"/>
                    </a:lnTo>
                    <a:lnTo>
                      <a:pt x="64" y="0"/>
                    </a:lnTo>
                    <a:lnTo>
                      <a:pt x="74" y="0"/>
                    </a:lnTo>
                    <a:lnTo>
                      <a:pt x="74" y="0"/>
                    </a:lnTo>
                    <a:lnTo>
                      <a:pt x="86" y="0"/>
                    </a:lnTo>
                    <a:lnTo>
                      <a:pt x="96" y="2"/>
                    </a:lnTo>
                    <a:lnTo>
                      <a:pt x="106" y="6"/>
                    </a:lnTo>
                    <a:lnTo>
                      <a:pt x="116" y="12"/>
                    </a:lnTo>
                    <a:lnTo>
                      <a:pt x="126" y="18"/>
                    </a:lnTo>
                    <a:lnTo>
                      <a:pt x="132" y="26"/>
                    </a:lnTo>
                    <a:lnTo>
                      <a:pt x="140" y="36"/>
                    </a:lnTo>
                    <a:lnTo>
                      <a:pt x="146" y="44"/>
                    </a:lnTo>
                    <a:lnTo>
                      <a:pt x="148" y="52"/>
                    </a:lnTo>
                    <a:lnTo>
                      <a:pt x="132" y="60"/>
                    </a:lnTo>
                    <a:lnTo>
                      <a:pt x="128" y="52"/>
                    </a:lnTo>
                    <a:lnTo>
                      <a:pt x="128" y="52"/>
                    </a:lnTo>
                    <a:lnTo>
                      <a:pt x="124" y="44"/>
                    </a:lnTo>
                    <a:lnTo>
                      <a:pt x="120" y="38"/>
                    </a:lnTo>
                    <a:lnTo>
                      <a:pt x="106" y="28"/>
                    </a:lnTo>
                    <a:lnTo>
                      <a:pt x="92" y="20"/>
                    </a:lnTo>
                    <a:lnTo>
                      <a:pt x="84" y="18"/>
                    </a:lnTo>
                    <a:lnTo>
                      <a:pt x="74" y="18"/>
                    </a:lnTo>
                    <a:lnTo>
                      <a:pt x="74" y="18"/>
                    </a:lnTo>
                    <a:lnTo>
                      <a:pt x="66" y="18"/>
                    </a:lnTo>
                    <a:lnTo>
                      <a:pt x="58" y="20"/>
                    </a:lnTo>
                    <a:lnTo>
                      <a:pt x="42" y="28"/>
                    </a:lnTo>
                    <a:lnTo>
                      <a:pt x="30" y="38"/>
                    </a:lnTo>
                    <a:lnTo>
                      <a:pt x="24" y="44"/>
                    </a:lnTo>
                    <a:lnTo>
                      <a:pt x="20" y="52"/>
                    </a:lnTo>
                    <a:lnTo>
                      <a:pt x="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44">
                <a:extLst>
                  <a:ext uri="{FF2B5EF4-FFF2-40B4-BE49-F238E27FC236}">
                    <a16:creationId xmlns:a16="http://schemas.microsoft.com/office/drawing/2014/main" id="{50FCB019-3FAD-49ED-9A43-3691C87A1693}"/>
                  </a:ext>
                </a:extLst>
              </p:cNvPr>
              <p:cNvSpPr>
                <a:spLocks/>
              </p:cNvSpPr>
              <p:nvPr/>
            </p:nvSpPr>
            <p:spPr bwMode="auto">
              <a:xfrm>
                <a:off x="934" y="985"/>
                <a:ext cx="56" cy="56"/>
              </a:xfrm>
              <a:custGeom>
                <a:avLst/>
                <a:gdLst>
                  <a:gd name="T0" fmla="*/ 8 w 56"/>
                  <a:gd name="T1" fmla="*/ 56 h 56"/>
                  <a:gd name="T2" fmla="*/ 0 w 56"/>
                  <a:gd name="T3" fmla="*/ 40 h 56"/>
                  <a:gd name="T4" fmla="*/ 8 w 56"/>
                  <a:gd name="T5" fmla="*/ 36 h 56"/>
                  <a:gd name="T6" fmla="*/ 8 w 56"/>
                  <a:gd name="T7" fmla="*/ 36 h 56"/>
                  <a:gd name="T8" fmla="*/ 16 w 56"/>
                  <a:gd name="T9" fmla="*/ 32 h 56"/>
                  <a:gd name="T10" fmla="*/ 24 w 56"/>
                  <a:gd name="T11" fmla="*/ 24 h 56"/>
                  <a:gd name="T12" fmla="*/ 32 w 56"/>
                  <a:gd name="T13" fmla="*/ 16 h 56"/>
                  <a:gd name="T14" fmla="*/ 36 w 56"/>
                  <a:gd name="T15" fmla="*/ 8 h 56"/>
                  <a:gd name="T16" fmla="*/ 40 w 56"/>
                  <a:gd name="T17" fmla="*/ 0 h 56"/>
                  <a:gd name="T18" fmla="*/ 56 w 56"/>
                  <a:gd name="T19" fmla="*/ 6 h 56"/>
                  <a:gd name="T20" fmla="*/ 54 w 56"/>
                  <a:gd name="T21" fmla="*/ 16 h 56"/>
                  <a:gd name="T22" fmla="*/ 54 w 56"/>
                  <a:gd name="T23" fmla="*/ 16 h 56"/>
                  <a:gd name="T24" fmla="*/ 46 w 56"/>
                  <a:gd name="T25" fmla="*/ 26 h 56"/>
                  <a:gd name="T26" fmla="*/ 38 w 56"/>
                  <a:gd name="T27" fmla="*/ 38 h 56"/>
                  <a:gd name="T28" fmla="*/ 28 w 56"/>
                  <a:gd name="T29" fmla="*/ 46 h 56"/>
                  <a:gd name="T30" fmla="*/ 16 w 56"/>
                  <a:gd name="T31" fmla="*/ 52 h 56"/>
                  <a:gd name="T32" fmla="*/ 8 w 56"/>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8" y="56"/>
                    </a:moveTo>
                    <a:lnTo>
                      <a:pt x="0" y="40"/>
                    </a:lnTo>
                    <a:lnTo>
                      <a:pt x="8" y="36"/>
                    </a:lnTo>
                    <a:lnTo>
                      <a:pt x="8" y="36"/>
                    </a:lnTo>
                    <a:lnTo>
                      <a:pt x="16" y="32"/>
                    </a:lnTo>
                    <a:lnTo>
                      <a:pt x="24" y="24"/>
                    </a:lnTo>
                    <a:lnTo>
                      <a:pt x="32" y="16"/>
                    </a:lnTo>
                    <a:lnTo>
                      <a:pt x="36" y="8"/>
                    </a:lnTo>
                    <a:lnTo>
                      <a:pt x="40" y="0"/>
                    </a:lnTo>
                    <a:lnTo>
                      <a:pt x="56" y="6"/>
                    </a:lnTo>
                    <a:lnTo>
                      <a:pt x="54" y="16"/>
                    </a:lnTo>
                    <a:lnTo>
                      <a:pt x="54" y="16"/>
                    </a:lnTo>
                    <a:lnTo>
                      <a:pt x="46" y="26"/>
                    </a:lnTo>
                    <a:lnTo>
                      <a:pt x="38" y="38"/>
                    </a:lnTo>
                    <a:lnTo>
                      <a:pt x="28" y="46"/>
                    </a:lnTo>
                    <a:lnTo>
                      <a:pt x="16" y="52"/>
                    </a:lnTo>
                    <a:lnTo>
                      <a:pt x="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45">
                <a:extLst>
                  <a:ext uri="{FF2B5EF4-FFF2-40B4-BE49-F238E27FC236}">
                    <a16:creationId xmlns:a16="http://schemas.microsoft.com/office/drawing/2014/main" id="{9E18EA9A-E36F-4E95-B309-CFF05B28625F}"/>
                  </a:ext>
                </a:extLst>
              </p:cNvPr>
              <p:cNvSpPr>
                <a:spLocks/>
              </p:cNvSpPr>
              <p:nvPr/>
            </p:nvSpPr>
            <p:spPr bwMode="auto">
              <a:xfrm>
                <a:off x="842" y="985"/>
                <a:ext cx="58" cy="56"/>
              </a:xfrm>
              <a:custGeom>
                <a:avLst/>
                <a:gdLst>
                  <a:gd name="T0" fmla="*/ 50 w 58"/>
                  <a:gd name="T1" fmla="*/ 56 h 56"/>
                  <a:gd name="T2" fmla="*/ 42 w 58"/>
                  <a:gd name="T3" fmla="*/ 52 h 56"/>
                  <a:gd name="T4" fmla="*/ 42 w 58"/>
                  <a:gd name="T5" fmla="*/ 52 h 56"/>
                  <a:gd name="T6" fmla="*/ 30 w 58"/>
                  <a:gd name="T7" fmla="*/ 46 h 56"/>
                  <a:gd name="T8" fmla="*/ 20 w 58"/>
                  <a:gd name="T9" fmla="*/ 38 h 56"/>
                  <a:gd name="T10" fmla="*/ 10 w 58"/>
                  <a:gd name="T11" fmla="*/ 26 h 56"/>
                  <a:gd name="T12" fmla="*/ 4 w 58"/>
                  <a:gd name="T13" fmla="*/ 16 h 56"/>
                  <a:gd name="T14" fmla="*/ 0 w 58"/>
                  <a:gd name="T15" fmla="*/ 6 h 56"/>
                  <a:gd name="T16" fmla="*/ 16 w 58"/>
                  <a:gd name="T17" fmla="*/ 0 h 56"/>
                  <a:gd name="T18" fmla="*/ 20 w 58"/>
                  <a:gd name="T19" fmla="*/ 8 h 56"/>
                  <a:gd name="T20" fmla="*/ 20 w 58"/>
                  <a:gd name="T21" fmla="*/ 8 h 56"/>
                  <a:gd name="T22" fmla="*/ 26 w 58"/>
                  <a:gd name="T23" fmla="*/ 16 h 56"/>
                  <a:gd name="T24" fmla="*/ 32 w 58"/>
                  <a:gd name="T25" fmla="*/ 24 h 56"/>
                  <a:gd name="T26" fmla="*/ 40 w 58"/>
                  <a:gd name="T27" fmla="*/ 32 h 56"/>
                  <a:gd name="T28" fmla="*/ 48 w 58"/>
                  <a:gd name="T29" fmla="*/ 36 h 56"/>
                  <a:gd name="T30" fmla="*/ 58 w 58"/>
                  <a:gd name="T31" fmla="*/ 40 h 56"/>
                  <a:gd name="T32" fmla="*/ 50 w 58"/>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6">
                    <a:moveTo>
                      <a:pt x="50" y="56"/>
                    </a:moveTo>
                    <a:lnTo>
                      <a:pt x="42" y="52"/>
                    </a:lnTo>
                    <a:lnTo>
                      <a:pt x="42" y="52"/>
                    </a:lnTo>
                    <a:lnTo>
                      <a:pt x="30" y="46"/>
                    </a:lnTo>
                    <a:lnTo>
                      <a:pt x="20" y="38"/>
                    </a:lnTo>
                    <a:lnTo>
                      <a:pt x="10" y="26"/>
                    </a:lnTo>
                    <a:lnTo>
                      <a:pt x="4" y="16"/>
                    </a:lnTo>
                    <a:lnTo>
                      <a:pt x="0" y="6"/>
                    </a:lnTo>
                    <a:lnTo>
                      <a:pt x="16" y="0"/>
                    </a:lnTo>
                    <a:lnTo>
                      <a:pt x="20" y="8"/>
                    </a:lnTo>
                    <a:lnTo>
                      <a:pt x="20" y="8"/>
                    </a:lnTo>
                    <a:lnTo>
                      <a:pt x="26" y="16"/>
                    </a:lnTo>
                    <a:lnTo>
                      <a:pt x="32" y="24"/>
                    </a:lnTo>
                    <a:lnTo>
                      <a:pt x="40" y="32"/>
                    </a:lnTo>
                    <a:lnTo>
                      <a:pt x="48" y="36"/>
                    </a:lnTo>
                    <a:lnTo>
                      <a:pt x="58" y="40"/>
                    </a:lnTo>
                    <a:lnTo>
                      <a:pt x="5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46">
                <a:extLst>
                  <a:ext uri="{FF2B5EF4-FFF2-40B4-BE49-F238E27FC236}">
                    <a16:creationId xmlns:a16="http://schemas.microsoft.com/office/drawing/2014/main" id="{13955BD6-E33B-4EC8-AB47-325267C1EFC1}"/>
                  </a:ext>
                </a:extLst>
              </p:cNvPr>
              <p:cNvSpPr>
                <a:spLocks noEditPoints="1"/>
              </p:cNvSpPr>
              <p:nvPr/>
            </p:nvSpPr>
            <p:spPr bwMode="auto">
              <a:xfrm>
                <a:off x="576" y="993"/>
                <a:ext cx="154" cy="228"/>
              </a:xfrm>
              <a:custGeom>
                <a:avLst/>
                <a:gdLst>
                  <a:gd name="T0" fmla="*/ 146 w 154"/>
                  <a:gd name="T1" fmla="*/ 228 h 228"/>
                  <a:gd name="T2" fmla="*/ 8 w 154"/>
                  <a:gd name="T3" fmla="*/ 228 h 228"/>
                  <a:gd name="T4" fmla="*/ 0 w 154"/>
                  <a:gd name="T5" fmla="*/ 216 h 228"/>
                  <a:gd name="T6" fmla="*/ 68 w 154"/>
                  <a:gd name="T7" fmla="*/ 0 h 228"/>
                  <a:gd name="T8" fmla="*/ 86 w 154"/>
                  <a:gd name="T9" fmla="*/ 0 h 228"/>
                  <a:gd name="T10" fmla="*/ 154 w 154"/>
                  <a:gd name="T11" fmla="*/ 216 h 228"/>
                  <a:gd name="T12" fmla="*/ 146 w 154"/>
                  <a:gd name="T13" fmla="*/ 228 h 228"/>
                  <a:gd name="T14" fmla="*/ 20 w 154"/>
                  <a:gd name="T15" fmla="*/ 210 h 228"/>
                  <a:gd name="T16" fmla="*/ 134 w 154"/>
                  <a:gd name="T17" fmla="*/ 210 h 228"/>
                  <a:gd name="T18" fmla="*/ 76 w 154"/>
                  <a:gd name="T19" fmla="*/ 32 h 228"/>
                  <a:gd name="T20" fmla="*/ 20 w 154"/>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28">
                    <a:moveTo>
                      <a:pt x="146" y="228"/>
                    </a:moveTo>
                    <a:lnTo>
                      <a:pt x="8" y="228"/>
                    </a:lnTo>
                    <a:lnTo>
                      <a:pt x="0" y="216"/>
                    </a:lnTo>
                    <a:lnTo>
                      <a:pt x="68" y="0"/>
                    </a:lnTo>
                    <a:lnTo>
                      <a:pt x="86" y="0"/>
                    </a:lnTo>
                    <a:lnTo>
                      <a:pt x="154" y="216"/>
                    </a:lnTo>
                    <a:lnTo>
                      <a:pt x="146" y="228"/>
                    </a:lnTo>
                    <a:close/>
                    <a:moveTo>
                      <a:pt x="20" y="210"/>
                    </a:moveTo>
                    <a:lnTo>
                      <a:pt x="134" y="210"/>
                    </a:lnTo>
                    <a:lnTo>
                      <a:pt x="76" y="32"/>
                    </a:lnTo>
                    <a:lnTo>
                      <a:pt x="2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6" name="Freeform 47">
                <a:extLst>
                  <a:ext uri="{FF2B5EF4-FFF2-40B4-BE49-F238E27FC236}">
                    <a16:creationId xmlns:a16="http://schemas.microsoft.com/office/drawing/2014/main" id="{7748F18C-CEF6-4B7B-BF05-5EDF951111AA}"/>
                  </a:ext>
                </a:extLst>
              </p:cNvPr>
              <p:cNvSpPr>
                <a:spLocks noEditPoints="1"/>
              </p:cNvSpPr>
              <p:nvPr/>
            </p:nvSpPr>
            <p:spPr bwMode="auto">
              <a:xfrm>
                <a:off x="1102" y="993"/>
                <a:ext cx="156" cy="228"/>
              </a:xfrm>
              <a:custGeom>
                <a:avLst/>
                <a:gdLst>
                  <a:gd name="T0" fmla="*/ 146 w 156"/>
                  <a:gd name="T1" fmla="*/ 228 h 228"/>
                  <a:gd name="T2" fmla="*/ 10 w 156"/>
                  <a:gd name="T3" fmla="*/ 228 h 228"/>
                  <a:gd name="T4" fmla="*/ 0 w 156"/>
                  <a:gd name="T5" fmla="*/ 216 h 228"/>
                  <a:gd name="T6" fmla="*/ 70 w 156"/>
                  <a:gd name="T7" fmla="*/ 0 h 228"/>
                  <a:gd name="T8" fmla="*/ 86 w 156"/>
                  <a:gd name="T9" fmla="*/ 0 h 228"/>
                  <a:gd name="T10" fmla="*/ 156 w 156"/>
                  <a:gd name="T11" fmla="*/ 216 h 228"/>
                  <a:gd name="T12" fmla="*/ 146 w 156"/>
                  <a:gd name="T13" fmla="*/ 228 h 228"/>
                  <a:gd name="T14" fmla="*/ 22 w 156"/>
                  <a:gd name="T15" fmla="*/ 210 h 228"/>
                  <a:gd name="T16" fmla="*/ 134 w 156"/>
                  <a:gd name="T17" fmla="*/ 210 h 228"/>
                  <a:gd name="T18" fmla="*/ 78 w 156"/>
                  <a:gd name="T19" fmla="*/ 32 h 228"/>
                  <a:gd name="T20" fmla="*/ 22 w 156"/>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28">
                    <a:moveTo>
                      <a:pt x="146" y="228"/>
                    </a:moveTo>
                    <a:lnTo>
                      <a:pt x="10" y="228"/>
                    </a:lnTo>
                    <a:lnTo>
                      <a:pt x="0" y="216"/>
                    </a:lnTo>
                    <a:lnTo>
                      <a:pt x="70" y="0"/>
                    </a:lnTo>
                    <a:lnTo>
                      <a:pt x="86" y="0"/>
                    </a:lnTo>
                    <a:lnTo>
                      <a:pt x="156" y="216"/>
                    </a:lnTo>
                    <a:lnTo>
                      <a:pt x="146" y="228"/>
                    </a:lnTo>
                    <a:close/>
                    <a:moveTo>
                      <a:pt x="22" y="210"/>
                    </a:moveTo>
                    <a:lnTo>
                      <a:pt x="134" y="210"/>
                    </a:lnTo>
                    <a:lnTo>
                      <a:pt x="78" y="32"/>
                    </a:lnTo>
                    <a:lnTo>
                      <a:pt x="22"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7" name="Freeform 48">
                <a:extLst>
                  <a:ext uri="{FF2B5EF4-FFF2-40B4-BE49-F238E27FC236}">
                    <a16:creationId xmlns:a16="http://schemas.microsoft.com/office/drawing/2014/main" id="{7BF41B90-7220-44D6-9D87-C0669781ECB9}"/>
                  </a:ext>
                </a:extLst>
              </p:cNvPr>
              <p:cNvSpPr>
                <a:spLocks noEditPoints="1"/>
              </p:cNvSpPr>
              <p:nvPr/>
            </p:nvSpPr>
            <p:spPr bwMode="auto">
              <a:xfrm>
                <a:off x="528" y="1203"/>
                <a:ext cx="250" cy="134"/>
              </a:xfrm>
              <a:custGeom>
                <a:avLst/>
                <a:gdLst>
                  <a:gd name="T0" fmla="*/ 124 w 250"/>
                  <a:gd name="T1" fmla="*/ 134 h 134"/>
                  <a:gd name="T2" fmla="*/ 124 w 250"/>
                  <a:gd name="T3" fmla="*/ 134 h 134"/>
                  <a:gd name="T4" fmla="*/ 112 w 250"/>
                  <a:gd name="T5" fmla="*/ 134 h 134"/>
                  <a:gd name="T6" fmla="*/ 100 w 250"/>
                  <a:gd name="T7" fmla="*/ 132 h 134"/>
                  <a:gd name="T8" fmla="*/ 88 w 250"/>
                  <a:gd name="T9" fmla="*/ 128 h 134"/>
                  <a:gd name="T10" fmla="*/ 76 w 250"/>
                  <a:gd name="T11" fmla="*/ 124 h 134"/>
                  <a:gd name="T12" fmla="*/ 56 w 250"/>
                  <a:gd name="T13" fmla="*/ 114 h 134"/>
                  <a:gd name="T14" fmla="*/ 36 w 250"/>
                  <a:gd name="T15" fmla="*/ 98 h 134"/>
                  <a:gd name="T16" fmla="*/ 22 w 250"/>
                  <a:gd name="T17" fmla="*/ 80 h 134"/>
                  <a:gd name="T18" fmla="*/ 10 w 250"/>
                  <a:gd name="T19" fmla="*/ 58 h 134"/>
                  <a:gd name="T20" fmla="*/ 6 w 250"/>
                  <a:gd name="T21" fmla="*/ 46 h 134"/>
                  <a:gd name="T22" fmla="*/ 2 w 250"/>
                  <a:gd name="T23" fmla="*/ 34 h 134"/>
                  <a:gd name="T24" fmla="*/ 0 w 250"/>
                  <a:gd name="T25" fmla="*/ 22 h 134"/>
                  <a:gd name="T26" fmla="*/ 0 w 250"/>
                  <a:gd name="T27" fmla="*/ 10 h 134"/>
                  <a:gd name="T28" fmla="*/ 0 w 250"/>
                  <a:gd name="T29" fmla="*/ 0 h 134"/>
                  <a:gd name="T30" fmla="*/ 250 w 250"/>
                  <a:gd name="T31" fmla="*/ 0 h 134"/>
                  <a:gd name="T32" fmla="*/ 250 w 250"/>
                  <a:gd name="T33" fmla="*/ 10 h 134"/>
                  <a:gd name="T34" fmla="*/ 250 w 250"/>
                  <a:gd name="T35" fmla="*/ 10 h 134"/>
                  <a:gd name="T36" fmla="*/ 250 w 250"/>
                  <a:gd name="T37" fmla="*/ 22 h 134"/>
                  <a:gd name="T38" fmla="*/ 248 w 250"/>
                  <a:gd name="T39" fmla="*/ 34 h 134"/>
                  <a:gd name="T40" fmla="*/ 244 w 250"/>
                  <a:gd name="T41" fmla="*/ 46 h 134"/>
                  <a:gd name="T42" fmla="*/ 240 w 250"/>
                  <a:gd name="T43" fmla="*/ 58 h 134"/>
                  <a:gd name="T44" fmla="*/ 228 w 250"/>
                  <a:gd name="T45" fmla="*/ 80 h 134"/>
                  <a:gd name="T46" fmla="*/ 214 w 250"/>
                  <a:gd name="T47" fmla="*/ 98 h 134"/>
                  <a:gd name="T48" fmla="*/ 194 w 250"/>
                  <a:gd name="T49" fmla="*/ 114 h 134"/>
                  <a:gd name="T50" fmla="*/ 174 w 250"/>
                  <a:gd name="T51" fmla="*/ 124 h 134"/>
                  <a:gd name="T52" fmla="*/ 162 w 250"/>
                  <a:gd name="T53" fmla="*/ 128 h 134"/>
                  <a:gd name="T54" fmla="*/ 150 w 250"/>
                  <a:gd name="T55" fmla="*/ 132 h 134"/>
                  <a:gd name="T56" fmla="*/ 138 w 250"/>
                  <a:gd name="T57" fmla="*/ 134 h 134"/>
                  <a:gd name="T58" fmla="*/ 124 w 250"/>
                  <a:gd name="T59" fmla="*/ 134 h 134"/>
                  <a:gd name="T60" fmla="*/ 124 w 250"/>
                  <a:gd name="T61" fmla="*/ 134 h 134"/>
                  <a:gd name="T62" fmla="*/ 18 w 250"/>
                  <a:gd name="T63" fmla="*/ 18 h 134"/>
                  <a:gd name="T64" fmla="*/ 18 w 250"/>
                  <a:gd name="T65" fmla="*/ 18 h 134"/>
                  <a:gd name="T66" fmla="*/ 22 w 250"/>
                  <a:gd name="T67" fmla="*/ 38 h 134"/>
                  <a:gd name="T68" fmla="*/ 30 w 250"/>
                  <a:gd name="T69" fmla="*/ 56 h 134"/>
                  <a:gd name="T70" fmla="*/ 40 w 250"/>
                  <a:gd name="T71" fmla="*/ 74 h 134"/>
                  <a:gd name="T72" fmla="*/ 52 w 250"/>
                  <a:gd name="T73" fmla="*/ 88 h 134"/>
                  <a:gd name="T74" fmla="*/ 68 w 250"/>
                  <a:gd name="T75" fmla="*/ 100 h 134"/>
                  <a:gd name="T76" fmla="*/ 86 w 250"/>
                  <a:gd name="T77" fmla="*/ 108 h 134"/>
                  <a:gd name="T78" fmla="*/ 104 w 250"/>
                  <a:gd name="T79" fmla="*/ 114 h 134"/>
                  <a:gd name="T80" fmla="*/ 124 w 250"/>
                  <a:gd name="T81" fmla="*/ 116 h 134"/>
                  <a:gd name="T82" fmla="*/ 124 w 250"/>
                  <a:gd name="T83" fmla="*/ 116 h 134"/>
                  <a:gd name="T84" fmla="*/ 146 w 250"/>
                  <a:gd name="T85" fmla="*/ 114 h 134"/>
                  <a:gd name="T86" fmla="*/ 164 w 250"/>
                  <a:gd name="T87" fmla="*/ 108 h 134"/>
                  <a:gd name="T88" fmla="*/ 182 w 250"/>
                  <a:gd name="T89" fmla="*/ 100 h 134"/>
                  <a:gd name="T90" fmla="*/ 198 w 250"/>
                  <a:gd name="T91" fmla="*/ 88 h 134"/>
                  <a:gd name="T92" fmla="*/ 210 w 250"/>
                  <a:gd name="T93" fmla="*/ 74 h 134"/>
                  <a:gd name="T94" fmla="*/ 220 w 250"/>
                  <a:gd name="T95" fmla="*/ 56 h 134"/>
                  <a:gd name="T96" fmla="*/ 228 w 250"/>
                  <a:gd name="T97" fmla="*/ 38 h 134"/>
                  <a:gd name="T98" fmla="*/ 232 w 250"/>
                  <a:gd name="T99" fmla="*/ 18 h 134"/>
                  <a:gd name="T100" fmla="*/ 18 w 250"/>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134">
                    <a:moveTo>
                      <a:pt x="124" y="134"/>
                    </a:moveTo>
                    <a:lnTo>
                      <a:pt x="124" y="134"/>
                    </a:lnTo>
                    <a:lnTo>
                      <a:pt x="112" y="134"/>
                    </a:lnTo>
                    <a:lnTo>
                      <a:pt x="100" y="132"/>
                    </a:lnTo>
                    <a:lnTo>
                      <a:pt x="88" y="128"/>
                    </a:lnTo>
                    <a:lnTo>
                      <a:pt x="76" y="124"/>
                    </a:lnTo>
                    <a:lnTo>
                      <a:pt x="56" y="114"/>
                    </a:lnTo>
                    <a:lnTo>
                      <a:pt x="36" y="98"/>
                    </a:lnTo>
                    <a:lnTo>
                      <a:pt x="22" y="80"/>
                    </a:lnTo>
                    <a:lnTo>
                      <a:pt x="10" y="58"/>
                    </a:lnTo>
                    <a:lnTo>
                      <a:pt x="6" y="46"/>
                    </a:lnTo>
                    <a:lnTo>
                      <a:pt x="2" y="34"/>
                    </a:lnTo>
                    <a:lnTo>
                      <a:pt x="0" y="22"/>
                    </a:lnTo>
                    <a:lnTo>
                      <a:pt x="0" y="10"/>
                    </a:lnTo>
                    <a:lnTo>
                      <a:pt x="0" y="0"/>
                    </a:lnTo>
                    <a:lnTo>
                      <a:pt x="250" y="0"/>
                    </a:lnTo>
                    <a:lnTo>
                      <a:pt x="250" y="10"/>
                    </a:lnTo>
                    <a:lnTo>
                      <a:pt x="250" y="10"/>
                    </a:lnTo>
                    <a:lnTo>
                      <a:pt x="250" y="22"/>
                    </a:lnTo>
                    <a:lnTo>
                      <a:pt x="248" y="34"/>
                    </a:lnTo>
                    <a:lnTo>
                      <a:pt x="244" y="46"/>
                    </a:lnTo>
                    <a:lnTo>
                      <a:pt x="240" y="58"/>
                    </a:lnTo>
                    <a:lnTo>
                      <a:pt x="228" y="80"/>
                    </a:lnTo>
                    <a:lnTo>
                      <a:pt x="214" y="98"/>
                    </a:lnTo>
                    <a:lnTo>
                      <a:pt x="194" y="114"/>
                    </a:lnTo>
                    <a:lnTo>
                      <a:pt x="174" y="124"/>
                    </a:lnTo>
                    <a:lnTo>
                      <a:pt x="162" y="128"/>
                    </a:lnTo>
                    <a:lnTo>
                      <a:pt x="150" y="132"/>
                    </a:lnTo>
                    <a:lnTo>
                      <a:pt x="138" y="134"/>
                    </a:lnTo>
                    <a:lnTo>
                      <a:pt x="124" y="134"/>
                    </a:lnTo>
                    <a:lnTo>
                      <a:pt x="124" y="134"/>
                    </a:lnTo>
                    <a:close/>
                    <a:moveTo>
                      <a:pt x="18" y="18"/>
                    </a:moveTo>
                    <a:lnTo>
                      <a:pt x="18" y="18"/>
                    </a:lnTo>
                    <a:lnTo>
                      <a:pt x="22" y="38"/>
                    </a:lnTo>
                    <a:lnTo>
                      <a:pt x="30" y="56"/>
                    </a:lnTo>
                    <a:lnTo>
                      <a:pt x="40" y="74"/>
                    </a:lnTo>
                    <a:lnTo>
                      <a:pt x="52" y="88"/>
                    </a:lnTo>
                    <a:lnTo>
                      <a:pt x="68" y="100"/>
                    </a:lnTo>
                    <a:lnTo>
                      <a:pt x="86" y="108"/>
                    </a:lnTo>
                    <a:lnTo>
                      <a:pt x="104" y="114"/>
                    </a:lnTo>
                    <a:lnTo>
                      <a:pt x="124" y="116"/>
                    </a:lnTo>
                    <a:lnTo>
                      <a:pt x="124" y="116"/>
                    </a:lnTo>
                    <a:lnTo>
                      <a:pt x="146" y="114"/>
                    </a:lnTo>
                    <a:lnTo>
                      <a:pt x="164" y="108"/>
                    </a:lnTo>
                    <a:lnTo>
                      <a:pt x="182" y="100"/>
                    </a:lnTo>
                    <a:lnTo>
                      <a:pt x="198" y="88"/>
                    </a:lnTo>
                    <a:lnTo>
                      <a:pt x="210" y="74"/>
                    </a:lnTo>
                    <a:lnTo>
                      <a:pt x="220" y="56"/>
                    </a:lnTo>
                    <a:lnTo>
                      <a:pt x="228" y="38"/>
                    </a:lnTo>
                    <a:lnTo>
                      <a:pt x="232"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8" name="Freeform 49">
                <a:extLst>
                  <a:ext uri="{FF2B5EF4-FFF2-40B4-BE49-F238E27FC236}">
                    <a16:creationId xmlns:a16="http://schemas.microsoft.com/office/drawing/2014/main" id="{4FFD0141-97D2-4B3D-9EF5-F913239C1F23}"/>
                  </a:ext>
                </a:extLst>
              </p:cNvPr>
              <p:cNvSpPr>
                <a:spLocks noEditPoints="1"/>
              </p:cNvSpPr>
              <p:nvPr/>
            </p:nvSpPr>
            <p:spPr bwMode="auto">
              <a:xfrm>
                <a:off x="1056" y="1203"/>
                <a:ext cx="248" cy="134"/>
              </a:xfrm>
              <a:custGeom>
                <a:avLst/>
                <a:gdLst>
                  <a:gd name="T0" fmla="*/ 124 w 248"/>
                  <a:gd name="T1" fmla="*/ 134 h 134"/>
                  <a:gd name="T2" fmla="*/ 124 w 248"/>
                  <a:gd name="T3" fmla="*/ 134 h 134"/>
                  <a:gd name="T4" fmla="*/ 112 w 248"/>
                  <a:gd name="T5" fmla="*/ 134 h 134"/>
                  <a:gd name="T6" fmla="*/ 98 w 248"/>
                  <a:gd name="T7" fmla="*/ 132 h 134"/>
                  <a:gd name="T8" fmla="*/ 86 w 248"/>
                  <a:gd name="T9" fmla="*/ 128 h 134"/>
                  <a:gd name="T10" fmla="*/ 76 w 248"/>
                  <a:gd name="T11" fmla="*/ 124 h 134"/>
                  <a:gd name="T12" fmla="*/ 54 w 248"/>
                  <a:gd name="T13" fmla="*/ 114 h 134"/>
                  <a:gd name="T14" fmla="*/ 36 w 248"/>
                  <a:gd name="T15" fmla="*/ 98 h 134"/>
                  <a:gd name="T16" fmla="*/ 20 w 248"/>
                  <a:gd name="T17" fmla="*/ 80 h 134"/>
                  <a:gd name="T18" fmla="*/ 8 w 248"/>
                  <a:gd name="T19" fmla="*/ 58 h 134"/>
                  <a:gd name="T20" fmla="*/ 4 w 248"/>
                  <a:gd name="T21" fmla="*/ 46 h 134"/>
                  <a:gd name="T22" fmla="*/ 2 w 248"/>
                  <a:gd name="T23" fmla="*/ 34 h 134"/>
                  <a:gd name="T24" fmla="*/ 0 w 248"/>
                  <a:gd name="T25" fmla="*/ 22 h 134"/>
                  <a:gd name="T26" fmla="*/ 0 w 248"/>
                  <a:gd name="T27" fmla="*/ 10 h 134"/>
                  <a:gd name="T28" fmla="*/ 0 w 248"/>
                  <a:gd name="T29" fmla="*/ 0 h 134"/>
                  <a:gd name="T30" fmla="*/ 248 w 248"/>
                  <a:gd name="T31" fmla="*/ 0 h 134"/>
                  <a:gd name="T32" fmla="*/ 248 w 248"/>
                  <a:gd name="T33" fmla="*/ 10 h 134"/>
                  <a:gd name="T34" fmla="*/ 248 w 248"/>
                  <a:gd name="T35" fmla="*/ 10 h 134"/>
                  <a:gd name="T36" fmla="*/ 248 w 248"/>
                  <a:gd name="T37" fmla="*/ 22 h 134"/>
                  <a:gd name="T38" fmla="*/ 246 w 248"/>
                  <a:gd name="T39" fmla="*/ 34 h 134"/>
                  <a:gd name="T40" fmla="*/ 244 w 248"/>
                  <a:gd name="T41" fmla="*/ 46 h 134"/>
                  <a:gd name="T42" fmla="*/ 240 w 248"/>
                  <a:gd name="T43" fmla="*/ 58 h 134"/>
                  <a:gd name="T44" fmla="*/ 228 w 248"/>
                  <a:gd name="T45" fmla="*/ 80 h 134"/>
                  <a:gd name="T46" fmla="*/ 212 w 248"/>
                  <a:gd name="T47" fmla="*/ 98 h 134"/>
                  <a:gd name="T48" fmla="*/ 194 w 248"/>
                  <a:gd name="T49" fmla="*/ 114 h 134"/>
                  <a:gd name="T50" fmla="*/ 172 w 248"/>
                  <a:gd name="T51" fmla="*/ 124 h 134"/>
                  <a:gd name="T52" fmla="*/ 162 w 248"/>
                  <a:gd name="T53" fmla="*/ 128 h 134"/>
                  <a:gd name="T54" fmla="*/ 150 w 248"/>
                  <a:gd name="T55" fmla="*/ 132 h 134"/>
                  <a:gd name="T56" fmla="*/ 136 w 248"/>
                  <a:gd name="T57" fmla="*/ 134 h 134"/>
                  <a:gd name="T58" fmla="*/ 124 w 248"/>
                  <a:gd name="T59" fmla="*/ 134 h 134"/>
                  <a:gd name="T60" fmla="*/ 124 w 248"/>
                  <a:gd name="T61" fmla="*/ 134 h 134"/>
                  <a:gd name="T62" fmla="*/ 18 w 248"/>
                  <a:gd name="T63" fmla="*/ 18 h 134"/>
                  <a:gd name="T64" fmla="*/ 18 w 248"/>
                  <a:gd name="T65" fmla="*/ 18 h 134"/>
                  <a:gd name="T66" fmla="*/ 22 w 248"/>
                  <a:gd name="T67" fmla="*/ 38 h 134"/>
                  <a:gd name="T68" fmla="*/ 28 w 248"/>
                  <a:gd name="T69" fmla="*/ 56 h 134"/>
                  <a:gd name="T70" fmla="*/ 38 w 248"/>
                  <a:gd name="T71" fmla="*/ 74 h 134"/>
                  <a:gd name="T72" fmla="*/ 52 w 248"/>
                  <a:gd name="T73" fmla="*/ 88 h 134"/>
                  <a:gd name="T74" fmla="*/ 66 w 248"/>
                  <a:gd name="T75" fmla="*/ 100 h 134"/>
                  <a:gd name="T76" fmla="*/ 84 w 248"/>
                  <a:gd name="T77" fmla="*/ 108 h 134"/>
                  <a:gd name="T78" fmla="*/ 104 w 248"/>
                  <a:gd name="T79" fmla="*/ 114 h 134"/>
                  <a:gd name="T80" fmla="*/ 124 w 248"/>
                  <a:gd name="T81" fmla="*/ 116 h 134"/>
                  <a:gd name="T82" fmla="*/ 124 w 248"/>
                  <a:gd name="T83" fmla="*/ 116 h 134"/>
                  <a:gd name="T84" fmla="*/ 144 w 248"/>
                  <a:gd name="T85" fmla="*/ 114 h 134"/>
                  <a:gd name="T86" fmla="*/ 164 w 248"/>
                  <a:gd name="T87" fmla="*/ 108 h 134"/>
                  <a:gd name="T88" fmla="*/ 182 w 248"/>
                  <a:gd name="T89" fmla="*/ 100 h 134"/>
                  <a:gd name="T90" fmla="*/ 196 w 248"/>
                  <a:gd name="T91" fmla="*/ 88 h 134"/>
                  <a:gd name="T92" fmla="*/ 210 w 248"/>
                  <a:gd name="T93" fmla="*/ 74 h 134"/>
                  <a:gd name="T94" fmla="*/ 220 w 248"/>
                  <a:gd name="T95" fmla="*/ 56 h 134"/>
                  <a:gd name="T96" fmla="*/ 226 w 248"/>
                  <a:gd name="T97" fmla="*/ 38 h 134"/>
                  <a:gd name="T98" fmla="*/ 230 w 248"/>
                  <a:gd name="T99" fmla="*/ 18 h 134"/>
                  <a:gd name="T100" fmla="*/ 18 w 248"/>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34">
                    <a:moveTo>
                      <a:pt x="124" y="134"/>
                    </a:moveTo>
                    <a:lnTo>
                      <a:pt x="124" y="134"/>
                    </a:lnTo>
                    <a:lnTo>
                      <a:pt x="112" y="134"/>
                    </a:lnTo>
                    <a:lnTo>
                      <a:pt x="98" y="132"/>
                    </a:lnTo>
                    <a:lnTo>
                      <a:pt x="86" y="128"/>
                    </a:lnTo>
                    <a:lnTo>
                      <a:pt x="76" y="124"/>
                    </a:lnTo>
                    <a:lnTo>
                      <a:pt x="54" y="114"/>
                    </a:lnTo>
                    <a:lnTo>
                      <a:pt x="36" y="98"/>
                    </a:lnTo>
                    <a:lnTo>
                      <a:pt x="20" y="80"/>
                    </a:lnTo>
                    <a:lnTo>
                      <a:pt x="8" y="58"/>
                    </a:lnTo>
                    <a:lnTo>
                      <a:pt x="4" y="46"/>
                    </a:lnTo>
                    <a:lnTo>
                      <a:pt x="2" y="34"/>
                    </a:lnTo>
                    <a:lnTo>
                      <a:pt x="0" y="22"/>
                    </a:lnTo>
                    <a:lnTo>
                      <a:pt x="0" y="10"/>
                    </a:lnTo>
                    <a:lnTo>
                      <a:pt x="0" y="0"/>
                    </a:lnTo>
                    <a:lnTo>
                      <a:pt x="248" y="0"/>
                    </a:lnTo>
                    <a:lnTo>
                      <a:pt x="248" y="10"/>
                    </a:lnTo>
                    <a:lnTo>
                      <a:pt x="248" y="10"/>
                    </a:lnTo>
                    <a:lnTo>
                      <a:pt x="248" y="22"/>
                    </a:lnTo>
                    <a:lnTo>
                      <a:pt x="246" y="34"/>
                    </a:lnTo>
                    <a:lnTo>
                      <a:pt x="244" y="46"/>
                    </a:lnTo>
                    <a:lnTo>
                      <a:pt x="240" y="58"/>
                    </a:lnTo>
                    <a:lnTo>
                      <a:pt x="228" y="80"/>
                    </a:lnTo>
                    <a:lnTo>
                      <a:pt x="212" y="98"/>
                    </a:lnTo>
                    <a:lnTo>
                      <a:pt x="194" y="114"/>
                    </a:lnTo>
                    <a:lnTo>
                      <a:pt x="172" y="124"/>
                    </a:lnTo>
                    <a:lnTo>
                      <a:pt x="162" y="128"/>
                    </a:lnTo>
                    <a:lnTo>
                      <a:pt x="150" y="132"/>
                    </a:lnTo>
                    <a:lnTo>
                      <a:pt x="136" y="134"/>
                    </a:lnTo>
                    <a:lnTo>
                      <a:pt x="124" y="134"/>
                    </a:lnTo>
                    <a:lnTo>
                      <a:pt x="124" y="134"/>
                    </a:lnTo>
                    <a:close/>
                    <a:moveTo>
                      <a:pt x="18" y="18"/>
                    </a:moveTo>
                    <a:lnTo>
                      <a:pt x="18" y="18"/>
                    </a:lnTo>
                    <a:lnTo>
                      <a:pt x="22" y="38"/>
                    </a:lnTo>
                    <a:lnTo>
                      <a:pt x="28" y="56"/>
                    </a:lnTo>
                    <a:lnTo>
                      <a:pt x="38" y="74"/>
                    </a:lnTo>
                    <a:lnTo>
                      <a:pt x="52" y="88"/>
                    </a:lnTo>
                    <a:lnTo>
                      <a:pt x="66" y="100"/>
                    </a:lnTo>
                    <a:lnTo>
                      <a:pt x="84" y="108"/>
                    </a:lnTo>
                    <a:lnTo>
                      <a:pt x="104" y="114"/>
                    </a:lnTo>
                    <a:lnTo>
                      <a:pt x="124" y="116"/>
                    </a:lnTo>
                    <a:lnTo>
                      <a:pt x="124" y="116"/>
                    </a:lnTo>
                    <a:lnTo>
                      <a:pt x="144" y="114"/>
                    </a:lnTo>
                    <a:lnTo>
                      <a:pt x="164" y="108"/>
                    </a:lnTo>
                    <a:lnTo>
                      <a:pt x="182" y="100"/>
                    </a:lnTo>
                    <a:lnTo>
                      <a:pt x="196" y="88"/>
                    </a:lnTo>
                    <a:lnTo>
                      <a:pt x="210" y="74"/>
                    </a:lnTo>
                    <a:lnTo>
                      <a:pt x="220" y="56"/>
                    </a:lnTo>
                    <a:lnTo>
                      <a:pt x="226" y="38"/>
                    </a:lnTo>
                    <a:lnTo>
                      <a:pt x="230"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9" name="Freeform 50">
                <a:extLst>
                  <a:ext uri="{FF2B5EF4-FFF2-40B4-BE49-F238E27FC236}">
                    <a16:creationId xmlns:a16="http://schemas.microsoft.com/office/drawing/2014/main" id="{95BD89CF-056B-42C6-BDEF-BEF833BEA382}"/>
                  </a:ext>
                </a:extLst>
              </p:cNvPr>
              <p:cNvSpPr>
                <a:spLocks/>
              </p:cNvSpPr>
              <p:nvPr/>
            </p:nvSpPr>
            <p:spPr bwMode="auto">
              <a:xfrm>
                <a:off x="800" y="843"/>
                <a:ext cx="232" cy="86"/>
              </a:xfrm>
              <a:custGeom>
                <a:avLst/>
                <a:gdLst>
                  <a:gd name="T0" fmla="*/ 216 w 232"/>
                  <a:gd name="T1" fmla="*/ 86 h 86"/>
                  <a:gd name="T2" fmla="*/ 212 w 232"/>
                  <a:gd name="T3" fmla="*/ 78 h 86"/>
                  <a:gd name="T4" fmla="*/ 212 w 232"/>
                  <a:gd name="T5" fmla="*/ 78 h 86"/>
                  <a:gd name="T6" fmla="*/ 204 w 232"/>
                  <a:gd name="T7" fmla="*/ 66 h 86"/>
                  <a:gd name="T8" fmla="*/ 196 w 232"/>
                  <a:gd name="T9" fmla="*/ 54 h 86"/>
                  <a:gd name="T10" fmla="*/ 184 w 232"/>
                  <a:gd name="T11" fmla="*/ 44 h 86"/>
                  <a:gd name="T12" fmla="*/ 172 w 232"/>
                  <a:gd name="T13" fmla="*/ 34 h 86"/>
                  <a:gd name="T14" fmla="*/ 160 w 232"/>
                  <a:gd name="T15" fmla="*/ 28 h 86"/>
                  <a:gd name="T16" fmla="*/ 146 w 232"/>
                  <a:gd name="T17" fmla="*/ 22 h 86"/>
                  <a:gd name="T18" fmla="*/ 132 w 232"/>
                  <a:gd name="T19" fmla="*/ 20 h 86"/>
                  <a:gd name="T20" fmla="*/ 116 w 232"/>
                  <a:gd name="T21" fmla="*/ 18 h 86"/>
                  <a:gd name="T22" fmla="*/ 116 w 232"/>
                  <a:gd name="T23" fmla="*/ 18 h 86"/>
                  <a:gd name="T24" fmla="*/ 102 w 232"/>
                  <a:gd name="T25" fmla="*/ 20 h 86"/>
                  <a:gd name="T26" fmla="*/ 86 w 232"/>
                  <a:gd name="T27" fmla="*/ 22 h 86"/>
                  <a:gd name="T28" fmla="*/ 74 w 232"/>
                  <a:gd name="T29" fmla="*/ 28 h 86"/>
                  <a:gd name="T30" fmla="*/ 60 w 232"/>
                  <a:gd name="T31" fmla="*/ 34 h 86"/>
                  <a:gd name="T32" fmla="*/ 48 w 232"/>
                  <a:gd name="T33" fmla="*/ 44 h 86"/>
                  <a:gd name="T34" fmla="*/ 38 w 232"/>
                  <a:gd name="T35" fmla="*/ 54 h 86"/>
                  <a:gd name="T36" fmla="*/ 28 w 232"/>
                  <a:gd name="T37" fmla="*/ 66 h 86"/>
                  <a:gd name="T38" fmla="*/ 20 w 232"/>
                  <a:gd name="T39" fmla="*/ 78 h 86"/>
                  <a:gd name="T40" fmla="*/ 18 w 232"/>
                  <a:gd name="T41" fmla="*/ 86 h 86"/>
                  <a:gd name="T42" fmla="*/ 0 w 232"/>
                  <a:gd name="T43" fmla="*/ 78 h 86"/>
                  <a:gd name="T44" fmla="*/ 4 w 232"/>
                  <a:gd name="T45" fmla="*/ 70 h 86"/>
                  <a:gd name="T46" fmla="*/ 4 w 232"/>
                  <a:gd name="T47" fmla="*/ 70 h 86"/>
                  <a:gd name="T48" fmla="*/ 14 w 232"/>
                  <a:gd name="T49" fmla="*/ 56 h 86"/>
                  <a:gd name="T50" fmla="*/ 24 w 232"/>
                  <a:gd name="T51" fmla="*/ 42 h 86"/>
                  <a:gd name="T52" fmla="*/ 36 w 232"/>
                  <a:gd name="T53" fmla="*/ 30 h 86"/>
                  <a:gd name="T54" fmla="*/ 50 w 232"/>
                  <a:gd name="T55" fmla="*/ 20 h 86"/>
                  <a:gd name="T56" fmla="*/ 66 w 232"/>
                  <a:gd name="T57" fmla="*/ 12 h 86"/>
                  <a:gd name="T58" fmla="*/ 82 w 232"/>
                  <a:gd name="T59" fmla="*/ 6 h 86"/>
                  <a:gd name="T60" fmla="*/ 98 w 232"/>
                  <a:gd name="T61" fmla="*/ 2 h 86"/>
                  <a:gd name="T62" fmla="*/ 116 w 232"/>
                  <a:gd name="T63" fmla="*/ 0 h 86"/>
                  <a:gd name="T64" fmla="*/ 116 w 232"/>
                  <a:gd name="T65" fmla="*/ 0 h 86"/>
                  <a:gd name="T66" fmla="*/ 134 w 232"/>
                  <a:gd name="T67" fmla="*/ 2 h 86"/>
                  <a:gd name="T68" fmla="*/ 152 w 232"/>
                  <a:gd name="T69" fmla="*/ 6 h 86"/>
                  <a:gd name="T70" fmla="*/ 168 w 232"/>
                  <a:gd name="T71" fmla="*/ 12 h 86"/>
                  <a:gd name="T72" fmla="*/ 182 w 232"/>
                  <a:gd name="T73" fmla="*/ 20 h 86"/>
                  <a:gd name="T74" fmla="*/ 196 w 232"/>
                  <a:gd name="T75" fmla="*/ 30 h 86"/>
                  <a:gd name="T76" fmla="*/ 208 w 232"/>
                  <a:gd name="T77" fmla="*/ 42 h 86"/>
                  <a:gd name="T78" fmla="*/ 220 w 232"/>
                  <a:gd name="T79" fmla="*/ 56 h 86"/>
                  <a:gd name="T80" fmla="*/ 228 w 232"/>
                  <a:gd name="T81" fmla="*/ 70 h 86"/>
                  <a:gd name="T82" fmla="*/ 232 w 232"/>
                  <a:gd name="T83" fmla="*/ 78 h 86"/>
                  <a:gd name="T84" fmla="*/ 216 w 232"/>
                  <a:gd name="T8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86">
                    <a:moveTo>
                      <a:pt x="216" y="86"/>
                    </a:moveTo>
                    <a:lnTo>
                      <a:pt x="212" y="78"/>
                    </a:lnTo>
                    <a:lnTo>
                      <a:pt x="212" y="78"/>
                    </a:lnTo>
                    <a:lnTo>
                      <a:pt x="204" y="66"/>
                    </a:lnTo>
                    <a:lnTo>
                      <a:pt x="196" y="54"/>
                    </a:lnTo>
                    <a:lnTo>
                      <a:pt x="184" y="44"/>
                    </a:lnTo>
                    <a:lnTo>
                      <a:pt x="172" y="34"/>
                    </a:lnTo>
                    <a:lnTo>
                      <a:pt x="160" y="28"/>
                    </a:lnTo>
                    <a:lnTo>
                      <a:pt x="146" y="22"/>
                    </a:lnTo>
                    <a:lnTo>
                      <a:pt x="132" y="20"/>
                    </a:lnTo>
                    <a:lnTo>
                      <a:pt x="116" y="18"/>
                    </a:lnTo>
                    <a:lnTo>
                      <a:pt x="116" y="18"/>
                    </a:lnTo>
                    <a:lnTo>
                      <a:pt x="102" y="20"/>
                    </a:lnTo>
                    <a:lnTo>
                      <a:pt x="86" y="22"/>
                    </a:lnTo>
                    <a:lnTo>
                      <a:pt x="74" y="28"/>
                    </a:lnTo>
                    <a:lnTo>
                      <a:pt x="60" y="34"/>
                    </a:lnTo>
                    <a:lnTo>
                      <a:pt x="48" y="44"/>
                    </a:lnTo>
                    <a:lnTo>
                      <a:pt x="38" y="54"/>
                    </a:lnTo>
                    <a:lnTo>
                      <a:pt x="28" y="66"/>
                    </a:lnTo>
                    <a:lnTo>
                      <a:pt x="20" y="78"/>
                    </a:lnTo>
                    <a:lnTo>
                      <a:pt x="18" y="86"/>
                    </a:lnTo>
                    <a:lnTo>
                      <a:pt x="0" y="78"/>
                    </a:lnTo>
                    <a:lnTo>
                      <a:pt x="4" y="70"/>
                    </a:lnTo>
                    <a:lnTo>
                      <a:pt x="4" y="70"/>
                    </a:lnTo>
                    <a:lnTo>
                      <a:pt x="14" y="56"/>
                    </a:lnTo>
                    <a:lnTo>
                      <a:pt x="24" y="42"/>
                    </a:lnTo>
                    <a:lnTo>
                      <a:pt x="36" y="30"/>
                    </a:lnTo>
                    <a:lnTo>
                      <a:pt x="50" y="20"/>
                    </a:lnTo>
                    <a:lnTo>
                      <a:pt x="66" y="12"/>
                    </a:lnTo>
                    <a:lnTo>
                      <a:pt x="82" y="6"/>
                    </a:lnTo>
                    <a:lnTo>
                      <a:pt x="98" y="2"/>
                    </a:lnTo>
                    <a:lnTo>
                      <a:pt x="116" y="0"/>
                    </a:lnTo>
                    <a:lnTo>
                      <a:pt x="116" y="0"/>
                    </a:lnTo>
                    <a:lnTo>
                      <a:pt x="134" y="2"/>
                    </a:lnTo>
                    <a:lnTo>
                      <a:pt x="152" y="6"/>
                    </a:lnTo>
                    <a:lnTo>
                      <a:pt x="168" y="12"/>
                    </a:lnTo>
                    <a:lnTo>
                      <a:pt x="182" y="20"/>
                    </a:lnTo>
                    <a:lnTo>
                      <a:pt x="196" y="30"/>
                    </a:lnTo>
                    <a:lnTo>
                      <a:pt x="208" y="42"/>
                    </a:lnTo>
                    <a:lnTo>
                      <a:pt x="220" y="56"/>
                    </a:lnTo>
                    <a:lnTo>
                      <a:pt x="228" y="70"/>
                    </a:lnTo>
                    <a:lnTo>
                      <a:pt x="232" y="78"/>
                    </a:lnTo>
                    <a:lnTo>
                      <a:pt x="21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287" name="TextBox 286">
              <a:extLst>
                <a:ext uri="{FF2B5EF4-FFF2-40B4-BE49-F238E27FC236}">
                  <a16:creationId xmlns:a16="http://schemas.microsoft.com/office/drawing/2014/main" id="{6EA8C44B-2AA1-4715-BB6B-3FCD847C327F}"/>
                </a:ext>
              </a:extLst>
            </p:cNvPr>
            <p:cNvSpPr txBox="1"/>
            <p:nvPr/>
          </p:nvSpPr>
          <p:spPr>
            <a:xfrm>
              <a:off x="7830812" y="2672736"/>
              <a:ext cx="1045143" cy="186043"/>
            </a:xfrm>
            <a:prstGeom prst="rect">
              <a:avLst/>
            </a:prstGeom>
            <a:noFill/>
            <a:ln w="12700" cap="sq">
              <a:noFill/>
              <a:miter lim="800000"/>
            </a:ln>
          </p:spPr>
          <p:txBody>
            <a:bodyPr wrap="square" lIns="61200" tIns="36576"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AT" sz="1000" b="1" i="0" u="none" strike="noStrike" kern="0" cap="none" spc="0" normalizeH="0" baseline="0" noProof="0" dirty="0">
                  <a:ln>
                    <a:noFill/>
                  </a:ln>
                  <a:solidFill>
                    <a:srgbClr val="FFE600"/>
                  </a:solidFill>
                  <a:effectLst/>
                  <a:uLnTx/>
                  <a:uFillTx/>
                </a:rPr>
                <a:t>Consumer Protection</a:t>
              </a:r>
            </a:p>
          </p:txBody>
        </p:sp>
        <p:grpSp>
          <p:nvGrpSpPr>
            <p:cNvPr id="288" name="Group 49">
              <a:extLst>
                <a:ext uri="{FF2B5EF4-FFF2-40B4-BE49-F238E27FC236}">
                  <a16:creationId xmlns:a16="http://schemas.microsoft.com/office/drawing/2014/main" id="{A65B8428-BA1C-4C0A-AC59-D898C48CDF74}"/>
                </a:ext>
              </a:extLst>
            </p:cNvPr>
            <p:cNvGrpSpPr>
              <a:grpSpLocks noChangeAspect="1"/>
            </p:cNvGrpSpPr>
            <p:nvPr/>
          </p:nvGrpSpPr>
          <p:grpSpPr bwMode="auto">
            <a:xfrm>
              <a:off x="8807688" y="3607696"/>
              <a:ext cx="83073" cy="122013"/>
              <a:chOff x="2027" y="1937"/>
              <a:chExt cx="512" cy="752"/>
            </a:xfrm>
            <a:solidFill>
              <a:srgbClr val="FFE600"/>
            </a:solidFill>
          </p:grpSpPr>
          <p:sp>
            <p:nvSpPr>
              <p:cNvPr id="308" name="Freeform 50">
                <a:extLst>
                  <a:ext uri="{FF2B5EF4-FFF2-40B4-BE49-F238E27FC236}">
                    <a16:creationId xmlns:a16="http://schemas.microsoft.com/office/drawing/2014/main" id="{0ED88C2E-956B-4BB5-B94B-853427179222}"/>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51">
                <a:extLst>
                  <a:ext uri="{FF2B5EF4-FFF2-40B4-BE49-F238E27FC236}">
                    <a16:creationId xmlns:a16="http://schemas.microsoft.com/office/drawing/2014/main" id="{46ED5A2C-9D63-4B3F-AD9D-62FC52BD2BE7}"/>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52">
                <a:extLst>
                  <a:ext uri="{FF2B5EF4-FFF2-40B4-BE49-F238E27FC236}">
                    <a16:creationId xmlns:a16="http://schemas.microsoft.com/office/drawing/2014/main" id="{8DF00EF8-171B-48B4-B37B-DEF4D41E1218}"/>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53">
                <a:extLst>
                  <a:ext uri="{FF2B5EF4-FFF2-40B4-BE49-F238E27FC236}">
                    <a16:creationId xmlns:a16="http://schemas.microsoft.com/office/drawing/2014/main" id="{037742CE-95F7-48D8-907A-FC9B98E6112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12" name="Freeform 54">
                <a:extLst>
                  <a:ext uri="{FF2B5EF4-FFF2-40B4-BE49-F238E27FC236}">
                    <a16:creationId xmlns:a16="http://schemas.microsoft.com/office/drawing/2014/main" id="{8B5DB061-C15B-4D83-9949-620C220ABD87}"/>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55">
                <a:extLst>
                  <a:ext uri="{FF2B5EF4-FFF2-40B4-BE49-F238E27FC236}">
                    <a16:creationId xmlns:a16="http://schemas.microsoft.com/office/drawing/2014/main" id="{2AF36D7A-4A38-4F3B-A8B1-EFDB0FFB4836}"/>
                  </a:ext>
                </a:extLst>
              </p:cNvPr>
              <p:cNvSpPr>
                <a:spLocks noEditPoints="1"/>
              </p:cNvSpPr>
              <p:nvPr/>
            </p:nvSpPr>
            <p:spPr bwMode="auto">
              <a:xfrm>
                <a:off x="2229" y="2581"/>
                <a:ext cx="108" cy="108"/>
              </a:xfrm>
              <a:custGeom>
                <a:avLst/>
                <a:gdLst>
                  <a:gd name="T0" fmla="*/ 54 w 108"/>
                  <a:gd name="T1" fmla="*/ 108 h 108"/>
                  <a:gd name="T2" fmla="*/ 32 w 108"/>
                  <a:gd name="T3" fmla="*/ 104 h 108"/>
                  <a:gd name="T4" fmla="*/ 16 w 108"/>
                  <a:gd name="T5" fmla="*/ 92 h 108"/>
                  <a:gd name="T6" fmla="*/ 4 w 108"/>
                  <a:gd name="T7" fmla="*/ 74 h 108"/>
                  <a:gd name="T8" fmla="*/ 0 w 108"/>
                  <a:gd name="T9" fmla="*/ 54 h 108"/>
                  <a:gd name="T10" fmla="*/ 0 w 108"/>
                  <a:gd name="T11" fmla="*/ 42 h 108"/>
                  <a:gd name="T12" fmla="*/ 10 w 108"/>
                  <a:gd name="T13" fmla="*/ 24 h 108"/>
                  <a:gd name="T14" fmla="*/ 24 w 108"/>
                  <a:gd name="T15" fmla="*/ 8 h 108"/>
                  <a:gd name="T16" fmla="*/ 42 w 108"/>
                  <a:gd name="T17" fmla="*/ 0 h 108"/>
                  <a:gd name="T18" fmla="*/ 54 w 108"/>
                  <a:gd name="T19" fmla="*/ 0 h 108"/>
                  <a:gd name="T20" fmla="*/ 74 w 108"/>
                  <a:gd name="T21" fmla="*/ 4 h 108"/>
                  <a:gd name="T22" fmla="*/ 92 w 108"/>
                  <a:gd name="T23" fmla="*/ 16 h 108"/>
                  <a:gd name="T24" fmla="*/ 104 w 108"/>
                  <a:gd name="T25" fmla="*/ 32 h 108"/>
                  <a:gd name="T26" fmla="*/ 108 w 108"/>
                  <a:gd name="T27" fmla="*/ 54 h 108"/>
                  <a:gd name="T28" fmla="*/ 106 w 108"/>
                  <a:gd name="T29" fmla="*/ 64 h 108"/>
                  <a:gd name="T30" fmla="*/ 98 w 108"/>
                  <a:gd name="T31" fmla="*/ 84 h 108"/>
                  <a:gd name="T32" fmla="*/ 84 w 108"/>
                  <a:gd name="T33" fmla="*/ 98 h 108"/>
                  <a:gd name="T34" fmla="*/ 64 w 108"/>
                  <a:gd name="T35" fmla="*/ 106 h 108"/>
                  <a:gd name="T36" fmla="*/ 54 w 108"/>
                  <a:gd name="T37" fmla="*/ 108 h 108"/>
                  <a:gd name="T38" fmla="*/ 54 w 108"/>
                  <a:gd name="T39" fmla="*/ 18 h 108"/>
                  <a:gd name="T40" fmla="*/ 40 w 108"/>
                  <a:gd name="T41" fmla="*/ 20 h 108"/>
                  <a:gd name="T42" fmla="*/ 28 w 108"/>
                  <a:gd name="T43" fmla="*/ 28 h 108"/>
                  <a:gd name="T44" fmla="*/ 20 w 108"/>
                  <a:gd name="T45" fmla="*/ 40 h 108"/>
                  <a:gd name="T46" fmla="*/ 18 w 108"/>
                  <a:gd name="T47" fmla="*/ 54 h 108"/>
                  <a:gd name="T48" fmla="*/ 18 w 108"/>
                  <a:gd name="T49" fmla="*/ 60 h 108"/>
                  <a:gd name="T50" fmla="*/ 24 w 108"/>
                  <a:gd name="T51" fmla="*/ 74 h 108"/>
                  <a:gd name="T52" fmla="*/ 34 w 108"/>
                  <a:gd name="T53" fmla="*/ 84 h 108"/>
                  <a:gd name="T54" fmla="*/ 46 w 108"/>
                  <a:gd name="T55" fmla="*/ 88 h 108"/>
                  <a:gd name="T56" fmla="*/ 54 w 108"/>
                  <a:gd name="T57" fmla="*/ 90 h 108"/>
                  <a:gd name="T58" fmla="*/ 68 w 108"/>
                  <a:gd name="T59" fmla="*/ 86 h 108"/>
                  <a:gd name="T60" fmla="*/ 80 w 108"/>
                  <a:gd name="T61" fmla="*/ 78 h 108"/>
                  <a:gd name="T62" fmla="*/ 88 w 108"/>
                  <a:gd name="T63" fmla="*/ 68 h 108"/>
                  <a:gd name="T64" fmla="*/ 90 w 108"/>
                  <a:gd name="T65" fmla="*/ 54 h 108"/>
                  <a:gd name="T66" fmla="*/ 90 w 108"/>
                  <a:gd name="T67" fmla="*/ 46 h 108"/>
                  <a:gd name="T68" fmla="*/ 84 w 108"/>
                  <a:gd name="T69" fmla="*/ 34 h 108"/>
                  <a:gd name="T70" fmla="*/ 74 w 108"/>
                  <a:gd name="T71" fmla="*/ 24 h 108"/>
                  <a:gd name="T72" fmla="*/ 62 w 108"/>
                  <a:gd name="T73" fmla="*/ 18 h 108"/>
                  <a:gd name="T74" fmla="*/ 54 w 108"/>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8">
                    <a:moveTo>
                      <a:pt x="54" y="108"/>
                    </a:moveTo>
                    <a:lnTo>
                      <a:pt x="54" y="108"/>
                    </a:lnTo>
                    <a:lnTo>
                      <a:pt x="42" y="106"/>
                    </a:lnTo>
                    <a:lnTo>
                      <a:pt x="32" y="104"/>
                    </a:lnTo>
                    <a:lnTo>
                      <a:pt x="24" y="98"/>
                    </a:lnTo>
                    <a:lnTo>
                      <a:pt x="16" y="92"/>
                    </a:lnTo>
                    <a:lnTo>
                      <a:pt x="10" y="84"/>
                    </a:lnTo>
                    <a:lnTo>
                      <a:pt x="4" y="74"/>
                    </a:lnTo>
                    <a:lnTo>
                      <a:pt x="0" y="64"/>
                    </a:lnTo>
                    <a:lnTo>
                      <a:pt x="0" y="54"/>
                    </a:lnTo>
                    <a:lnTo>
                      <a:pt x="0" y="54"/>
                    </a:lnTo>
                    <a:lnTo>
                      <a:pt x="0" y="42"/>
                    </a:lnTo>
                    <a:lnTo>
                      <a:pt x="4" y="32"/>
                    </a:lnTo>
                    <a:lnTo>
                      <a:pt x="10" y="24"/>
                    </a:lnTo>
                    <a:lnTo>
                      <a:pt x="16" y="16"/>
                    </a:lnTo>
                    <a:lnTo>
                      <a:pt x="24" y="8"/>
                    </a:lnTo>
                    <a:lnTo>
                      <a:pt x="32" y="4"/>
                    </a:lnTo>
                    <a:lnTo>
                      <a:pt x="42" y="0"/>
                    </a:lnTo>
                    <a:lnTo>
                      <a:pt x="54" y="0"/>
                    </a:lnTo>
                    <a:lnTo>
                      <a:pt x="54" y="0"/>
                    </a:lnTo>
                    <a:lnTo>
                      <a:pt x="64" y="0"/>
                    </a:lnTo>
                    <a:lnTo>
                      <a:pt x="74" y="4"/>
                    </a:lnTo>
                    <a:lnTo>
                      <a:pt x="84" y="8"/>
                    </a:lnTo>
                    <a:lnTo>
                      <a:pt x="92" y="16"/>
                    </a:lnTo>
                    <a:lnTo>
                      <a:pt x="98" y="24"/>
                    </a:lnTo>
                    <a:lnTo>
                      <a:pt x="104" y="32"/>
                    </a:lnTo>
                    <a:lnTo>
                      <a:pt x="106" y="42"/>
                    </a:lnTo>
                    <a:lnTo>
                      <a:pt x="108" y="54"/>
                    </a:lnTo>
                    <a:lnTo>
                      <a:pt x="108" y="54"/>
                    </a:lnTo>
                    <a:lnTo>
                      <a:pt x="106" y="64"/>
                    </a:lnTo>
                    <a:lnTo>
                      <a:pt x="104" y="74"/>
                    </a:lnTo>
                    <a:lnTo>
                      <a:pt x="98" y="84"/>
                    </a:lnTo>
                    <a:lnTo>
                      <a:pt x="92" y="92"/>
                    </a:lnTo>
                    <a:lnTo>
                      <a:pt x="84" y="98"/>
                    </a:lnTo>
                    <a:lnTo>
                      <a:pt x="74" y="104"/>
                    </a:lnTo>
                    <a:lnTo>
                      <a:pt x="64" y="106"/>
                    </a:lnTo>
                    <a:lnTo>
                      <a:pt x="54" y="108"/>
                    </a:lnTo>
                    <a:lnTo>
                      <a:pt x="54" y="108"/>
                    </a:lnTo>
                    <a:close/>
                    <a:moveTo>
                      <a:pt x="54" y="18"/>
                    </a:moveTo>
                    <a:lnTo>
                      <a:pt x="54" y="18"/>
                    </a:lnTo>
                    <a:lnTo>
                      <a:pt x="46" y="18"/>
                    </a:lnTo>
                    <a:lnTo>
                      <a:pt x="40" y="20"/>
                    </a:lnTo>
                    <a:lnTo>
                      <a:pt x="34" y="24"/>
                    </a:lnTo>
                    <a:lnTo>
                      <a:pt x="28" y="28"/>
                    </a:lnTo>
                    <a:lnTo>
                      <a:pt x="24" y="34"/>
                    </a:lnTo>
                    <a:lnTo>
                      <a:pt x="20" y="40"/>
                    </a:lnTo>
                    <a:lnTo>
                      <a:pt x="18" y="46"/>
                    </a:lnTo>
                    <a:lnTo>
                      <a:pt x="18" y="54"/>
                    </a:lnTo>
                    <a:lnTo>
                      <a:pt x="18" y="54"/>
                    </a:lnTo>
                    <a:lnTo>
                      <a:pt x="18" y="60"/>
                    </a:lnTo>
                    <a:lnTo>
                      <a:pt x="20" y="68"/>
                    </a:lnTo>
                    <a:lnTo>
                      <a:pt x="24" y="74"/>
                    </a:lnTo>
                    <a:lnTo>
                      <a:pt x="28" y="78"/>
                    </a:lnTo>
                    <a:lnTo>
                      <a:pt x="34" y="84"/>
                    </a:lnTo>
                    <a:lnTo>
                      <a:pt x="40" y="86"/>
                    </a:lnTo>
                    <a:lnTo>
                      <a:pt x="46" y="88"/>
                    </a:lnTo>
                    <a:lnTo>
                      <a:pt x="54" y="90"/>
                    </a:lnTo>
                    <a:lnTo>
                      <a:pt x="54" y="90"/>
                    </a:lnTo>
                    <a:lnTo>
                      <a:pt x="62" y="88"/>
                    </a:lnTo>
                    <a:lnTo>
                      <a:pt x="68" y="86"/>
                    </a:lnTo>
                    <a:lnTo>
                      <a:pt x="74" y="84"/>
                    </a:lnTo>
                    <a:lnTo>
                      <a:pt x="80" y="78"/>
                    </a:lnTo>
                    <a:lnTo>
                      <a:pt x="84" y="74"/>
                    </a:lnTo>
                    <a:lnTo>
                      <a:pt x="88" y="68"/>
                    </a:lnTo>
                    <a:lnTo>
                      <a:pt x="90" y="60"/>
                    </a:lnTo>
                    <a:lnTo>
                      <a:pt x="90" y="54"/>
                    </a:lnTo>
                    <a:lnTo>
                      <a:pt x="90" y="54"/>
                    </a:lnTo>
                    <a:lnTo>
                      <a:pt x="90" y="46"/>
                    </a:lnTo>
                    <a:lnTo>
                      <a:pt x="88" y="40"/>
                    </a:lnTo>
                    <a:lnTo>
                      <a:pt x="84" y="34"/>
                    </a:lnTo>
                    <a:lnTo>
                      <a:pt x="80" y="28"/>
                    </a:lnTo>
                    <a:lnTo>
                      <a:pt x="74" y="24"/>
                    </a:lnTo>
                    <a:lnTo>
                      <a:pt x="68" y="20"/>
                    </a:lnTo>
                    <a:lnTo>
                      <a:pt x="62" y="18"/>
                    </a:lnTo>
                    <a:lnTo>
                      <a:pt x="54" y="18"/>
                    </a:lnTo>
                    <a:lnTo>
                      <a:pt x="5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Rectangle 56">
                <a:extLst>
                  <a:ext uri="{FF2B5EF4-FFF2-40B4-BE49-F238E27FC236}">
                    <a16:creationId xmlns:a16="http://schemas.microsoft.com/office/drawing/2014/main" id="{41BD9D13-D2CB-41CB-ACA6-9B82223715DD}"/>
                  </a:ext>
                </a:extLst>
              </p:cNvPr>
              <p:cNvSpPr>
                <a:spLocks noChangeArrowheads="1"/>
              </p:cNvSpPr>
              <p:nvPr/>
            </p:nvSpPr>
            <p:spPr bwMode="auto">
              <a:xfrm>
                <a:off x="2273" y="25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Rectangle 57">
                <a:extLst>
                  <a:ext uri="{FF2B5EF4-FFF2-40B4-BE49-F238E27FC236}">
                    <a16:creationId xmlns:a16="http://schemas.microsoft.com/office/drawing/2014/main" id="{ED8553FB-B0B5-4279-A994-F6D43D9962E5}"/>
                  </a:ext>
                </a:extLst>
              </p:cNvPr>
              <p:cNvSpPr>
                <a:spLocks noChangeArrowheads="1"/>
              </p:cNvSpPr>
              <p:nvPr/>
            </p:nvSpPr>
            <p:spPr bwMode="auto">
              <a:xfrm>
                <a:off x="2319"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6" name="Rectangle 58">
                <a:extLst>
                  <a:ext uri="{FF2B5EF4-FFF2-40B4-BE49-F238E27FC236}">
                    <a16:creationId xmlns:a16="http://schemas.microsoft.com/office/drawing/2014/main" id="{3A7FFDF3-E644-41CC-ACD0-21BD7269932C}"/>
                  </a:ext>
                </a:extLst>
              </p:cNvPr>
              <p:cNvSpPr>
                <a:spLocks noChangeArrowheads="1"/>
              </p:cNvSpPr>
              <p:nvPr/>
            </p:nvSpPr>
            <p:spPr bwMode="auto">
              <a:xfrm>
                <a:off x="2027"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289" name="Group 288">
              <a:extLst>
                <a:ext uri="{FF2B5EF4-FFF2-40B4-BE49-F238E27FC236}">
                  <a16:creationId xmlns:a16="http://schemas.microsoft.com/office/drawing/2014/main" id="{09CE4AC3-1898-4CB6-BA06-1D169F8A5348}"/>
                </a:ext>
              </a:extLst>
            </p:cNvPr>
            <p:cNvGrpSpPr/>
            <p:nvPr/>
          </p:nvGrpSpPr>
          <p:grpSpPr>
            <a:xfrm>
              <a:off x="7918920" y="3616004"/>
              <a:ext cx="155067" cy="150692"/>
              <a:chOff x="2689225" y="3098800"/>
              <a:chExt cx="1600200" cy="1098550"/>
            </a:xfrm>
            <a:solidFill>
              <a:srgbClr val="FFE600"/>
            </a:solidFill>
          </p:grpSpPr>
          <p:sp>
            <p:nvSpPr>
              <p:cNvPr id="292" name="Freeform 23">
                <a:extLst>
                  <a:ext uri="{FF2B5EF4-FFF2-40B4-BE49-F238E27FC236}">
                    <a16:creationId xmlns:a16="http://schemas.microsoft.com/office/drawing/2014/main" id="{7C1889CD-883A-4209-85AA-F6F334A5FA7B}"/>
                  </a:ext>
                </a:extLst>
              </p:cNvPr>
              <p:cNvSpPr>
                <a:spLocks noEditPoints="1"/>
              </p:cNvSpPr>
              <p:nvPr/>
            </p:nvSpPr>
            <p:spPr bwMode="auto">
              <a:xfrm>
                <a:off x="2689225" y="4016375"/>
                <a:ext cx="1600200" cy="180975"/>
              </a:xfrm>
              <a:custGeom>
                <a:avLst/>
                <a:gdLst>
                  <a:gd name="T0" fmla="*/ 52 w 1008"/>
                  <a:gd name="T1" fmla="*/ 114 h 114"/>
                  <a:gd name="T2" fmla="*/ 42 w 1008"/>
                  <a:gd name="T3" fmla="*/ 114 h 114"/>
                  <a:gd name="T4" fmla="*/ 24 w 1008"/>
                  <a:gd name="T5" fmla="*/ 106 h 114"/>
                  <a:gd name="T6" fmla="*/ 8 w 1008"/>
                  <a:gd name="T7" fmla="*/ 90 h 114"/>
                  <a:gd name="T8" fmla="*/ 0 w 1008"/>
                  <a:gd name="T9" fmla="*/ 72 h 114"/>
                  <a:gd name="T10" fmla="*/ 0 w 1008"/>
                  <a:gd name="T11" fmla="*/ 0 h 114"/>
                  <a:gd name="T12" fmla="*/ 430 w 1008"/>
                  <a:gd name="T13" fmla="*/ 16 h 114"/>
                  <a:gd name="T14" fmla="*/ 432 w 1008"/>
                  <a:gd name="T15" fmla="*/ 26 h 114"/>
                  <a:gd name="T16" fmla="*/ 444 w 1008"/>
                  <a:gd name="T17" fmla="*/ 38 h 114"/>
                  <a:gd name="T18" fmla="*/ 568 w 1008"/>
                  <a:gd name="T19" fmla="*/ 38 h 114"/>
                  <a:gd name="T20" fmla="*/ 576 w 1008"/>
                  <a:gd name="T21" fmla="*/ 38 h 114"/>
                  <a:gd name="T22" fmla="*/ 588 w 1008"/>
                  <a:gd name="T23" fmla="*/ 26 h 114"/>
                  <a:gd name="T24" fmla="*/ 590 w 1008"/>
                  <a:gd name="T25" fmla="*/ 0 h 114"/>
                  <a:gd name="T26" fmla="*/ 1008 w 1008"/>
                  <a:gd name="T27" fmla="*/ 60 h 114"/>
                  <a:gd name="T28" fmla="*/ 1008 w 1008"/>
                  <a:gd name="T29" fmla="*/ 72 h 114"/>
                  <a:gd name="T30" fmla="*/ 1000 w 1008"/>
                  <a:gd name="T31" fmla="*/ 90 h 114"/>
                  <a:gd name="T32" fmla="*/ 984 w 1008"/>
                  <a:gd name="T33" fmla="*/ 106 h 114"/>
                  <a:gd name="T34" fmla="*/ 966 w 1008"/>
                  <a:gd name="T35" fmla="*/ 114 h 114"/>
                  <a:gd name="T36" fmla="*/ 956 w 1008"/>
                  <a:gd name="T37" fmla="*/ 114 h 114"/>
                  <a:gd name="T38" fmla="*/ 18 w 1008"/>
                  <a:gd name="T39" fmla="*/ 60 h 114"/>
                  <a:gd name="T40" fmla="*/ 18 w 1008"/>
                  <a:gd name="T41" fmla="*/ 68 h 114"/>
                  <a:gd name="T42" fmla="*/ 24 w 1008"/>
                  <a:gd name="T43" fmla="*/ 80 h 114"/>
                  <a:gd name="T44" fmla="*/ 34 w 1008"/>
                  <a:gd name="T45" fmla="*/ 90 h 114"/>
                  <a:gd name="T46" fmla="*/ 46 w 1008"/>
                  <a:gd name="T47" fmla="*/ 96 h 114"/>
                  <a:gd name="T48" fmla="*/ 956 w 1008"/>
                  <a:gd name="T49" fmla="*/ 96 h 114"/>
                  <a:gd name="T50" fmla="*/ 962 w 1008"/>
                  <a:gd name="T51" fmla="*/ 96 h 114"/>
                  <a:gd name="T52" fmla="*/ 974 w 1008"/>
                  <a:gd name="T53" fmla="*/ 90 h 114"/>
                  <a:gd name="T54" fmla="*/ 984 w 1008"/>
                  <a:gd name="T55" fmla="*/ 80 h 114"/>
                  <a:gd name="T56" fmla="*/ 990 w 1008"/>
                  <a:gd name="T57" fmla="*/ 68 h 114"/>
                  <a:gd name="T58" fmla="*/ 990 w 1008"/>
                  <a:gd name="T59" fmla="*/ 18 h 114"/>
                  <a:gd name="T60" fmla="*/ 608 w 1008"/>
                  <a:gd name="T61" fmla="*/ 18 h 114"/>
                  <a:gd name="T62" fmla="*/ 604 w 1008"/>
                  <a:gd name="T63" fmla="*/ 34 h 114"/>
                  <a:gd name="T64" fmla="*/ 596 w 1008"/>
                  <a:gd name="T65" fmla="*/ 46 h 114"/>
                  <a:gd name="T66" fmla="*/ 584 w 1008"/>
                  <a:gd name="T67" fmla="*/ 54 h 114"/>
                  <a:gd name="T68" fmla="*/ 568 w 1008"/>
                  <a:gd name="T69" fmla="*/ 56 h 114"/>
                  <a:gd name="T70" fmla="*/ 452 w 1008"/>
                  <a:gd name="T71" fmla="*/ 56 h 114"/>
                  <a:gd name="T72" fmla="*/ 438 w 1008"/>
                  <a:gd name="T73" fmla="*/ 54 h 114"/>
                  <a:gd name="T74" fmla="*/ 426 w 1008"/>
                  <a:gd name="T75" fmla="*/ 46 h 114"/>
                  <a:gd name="T76" fmla="*/ 416 w 1008"/>
                  <a:gd name="T77" fmla="*/ 34 h 114"/>
                  <a:gd name="T78" fmla="*/ 412 w 1008"/>
                  <a:gd name="T7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8" h="114">
                    <a:moveTo>
                      <a:pt x="956" y="114"/>
                    </a:moveTo>
                    <a:lnTo>
                      <a:pt x="52" y="114"/>
                    </a:lnTo>
                    <a:lnTo>
                      <a:pt x="52" y="114"/>
                    </a:lnTo>
                    <a:lnTo>
                      <a:pt x="42" y="114"/>
                    </a:lnTo>
                    <a:lnTo>
                      <a:pt x="32" y="110"/>
                    </a:lnTo>
                    <a:lnTo>
                      <a:pt x="24" y="106"/>
                    </a:lnTo>
                    <a:lnTo>
                      <a:pt x="16" y="98"/>
                    </a:lnTo>
                    <a:lnTo>
                      <a:pt x="8" y="90"/>
                    </a:lnTo>
                    <a:lnTo>
                      <a:pt x="4" y="82"/>
                    </a:lnTo>
                    <a:lnTo>
                      <a:pt x="0" y="72"/>
                    </a:lnTo>
                    <a:lnTo>
                      <a:pt x="0" y="60"/>
                    </a:lnTo>
                    <a:lnTo>
                      <a:pt x="0" y="0"/>
                    </a:lnTo>
                    <a:lnTo>
                      <a:pt x="430" y="0"/>
                    </a:lnTo>
                    <a:lnTo>
                      <a:pt x="430" y="16"/>
                    </a:lnTo>
                    <a:lnTo>
                      <a:pt x="430" y="16"/>
                    </a:lnTo>
                    <a:lnTo>
                      <a:pt x="432" y="26"/>
                    </a:lnTo>
                    <a:lnTo>
                      <a:pt x="438" y="32"/>
                    </a:lnTo>
                    <a:lnTo>
                      <a:pt x="444" y="38"/>
                    </a:lnTo>
                    <a:lnTo>
                      <a:pt x="452" y="38"/>
                    </a:lnTo>
                    <a:lnTo>
                      <a:pt x="568" y="38"/>
                    </a:lnTo>
                    <a:lnTo>
                      <a:pt x="568" y="38"/>
                    </a:lnTo>
                    <a:lnTo>
                      <a:pt x="576" y="38"/>
                    </a:lnTo>
                    <a:lnTo>
                      <a:pt x="584" y="32"/>
                    </a:lnTo>
                    <a:lnTo>
                      <a:pt x="588" y="26"/>
                    </a:lnTo>
                    <a:lnTo>
                      <a:pt x="590" y="16"/>
                    </a:lnTo>
                    <a:lnTo>
                      <a:pt x="590" y="0"/>
                    </a:lnTo>
                    <a:lnTo>
                      <a:pt x="1008" y="0"/>
                    </a:lnTo>
                    <a:lnTo>
                      <a:pt x="1008" y="60"/>
                    </a:lnTo>
                    <a:lnTo>
                      <a:pt x="1008" y="60"/>
                    </a:lnTo>
                    <a:lnTo>
                      <a:pt x="1008" y="72"/>
                    </a:lnTo>
                    <a:lnTo>
                      <a:pt x="1004" y="82"/>
                    </a:lnTo>
                    <a:lnTo>
                      <a:pt x="1000" y="90"/>
                    </a:lnTo>
                    <a:lnTo>
                      <a:pt x="992" y="98"/>
                    </a:lnTo>
                    <a:lnTo>
                      <a:pt x="984" y="106"/>
                    </a:lnTo>
                    <a:lnTo>
                      <a:pt x="976" y="110"/>
                    </a:lnTo>
                    <a:lnTo>
                      <a:pt x="966" y="114"/>
                    </a:lnTo>
                    <a:lnTo>
                      <a:pt x="956" y="114"/>
                    </a:lnTo>
                    <a:lnTo>
                      <a:pt x="956" y="114"/>
                    </a:lnTo>
                    <a:close/>
                    <a:moveTo>
                      <a:pt x="18" y="18"/>
                    </a:moveTo>
                    <a:lnTo>
                      <a:pt x="18" y="60"/>
                    </a:lnTo>
                    <a:lnTo>
                      <a:pt x="18" y="60"/>
                    </a:lnTo>
                    <a:lnTo>
                      <a:pt x="18" y="68"/>
                    </a:lnTo>
                    <a:lnTo>
                      <a:pt x="20" y="74"/>
                    </a:lnTo>
                    <a:lnTo>
                      <a:pt x="24" y="80"/>
                    </a:lnTo>
                    <a:lnTo>
                      <a:pt x="28" y="86"/>
                    </a:lnTo>
                    <a:lnTo>
                      <a:pt x="34" y="90"/>
                    </a:lnTo>
                    <a:lnTo>
                      <a:pt x="40" y="94"/>
                    </a:lnTo>
                    <a:lnTo>
                      <a:pt x="46" y="96"/>
                    </a:lnTo>
                    <a:lnTo>
                      <a:pt x="52" y="96"/>
                    </a:lnTo>
                    <a:lnTo>
                      <a:pt x="956" y="96"/>
                    </a:lnTo>
                    <a:lnTo>
                      <a:pt x="956" y="96"/>
                    </a:lnTo>
                    <a:lnTo>
                      <a:pt x="962" y="96"/>
                    </a:lnTo>
                    <a:lnTo>
                      <a:pt x="968" y="94"/>
                    </a:lnTo>
                    <a:lnTo>
                      <a:pt x="974" y="90"/>
                    </a:lnTo>
                    <a:lnTo>
                      <a:pt x="980" y="86"/>
                    </a:lnTo>
                    <a:lnTo>
                      <a:pt x="984" y="80"/>
                    </a:lnTo>
                    <a:lnTo>
                      <a:pt x="988" y="74"/>
                    </a:lnTo>
                    <a:lnTo>
                      <a:pt x="990" y="68"/>
                    </a:lnTo>
                    <a:lnTo>
                      <a:pt x="990" y="60"/>
                    </a:lnTo>
                    <a:lnTo>
                      <a:pt x="990" y="18"/>
                    </a:lnTo>
                    <a:lnTo>
                      <a:pt x="608" y="18"/>
                    </a:lnTo>
                    <a:lnTo>
                      <a:pt x="608" y="18"/>
                    </a:lnTo>
                    <a:lnTo>
                      <a:pt x="606" y="26"/>
                    </a:lnTo>
                    <a:lnTo>
                      <a:pt x="604" y="34"/>
                    </a:lnTo>
                    <a:lnTo>
                      <a:pt x="600" y="40"/>
                    </a:lnTo>
                    <a:lnTo>
                      <a:pt x="596" y="46"/>
                    </a:lnTo>
                    <a:lnTo>
                      <a:pt x="590" y="50"/>
                    </a:lnTo>
                    <a:lnTo>
                      <a:pt x="584" y="54"/>
                    </a:lnTo>
                    <a:lnTo>
                      <a:pt x="576" y="56"/>
                    </a:lnTo>
                    <a:lnTo>
                      <a:pt x="568" y="56"/>
                    </a:lnTo>
                    <a:lnTo>
                      <a:pt x="452" y="56"/>
                    </a:lnTo>
                    <a:lnTo>
                      <a:pt x="452" y="56"/>
                    </a:lnTo>
                    <a:lnTo>
                      <a:pt x="444" y="56"/>
                    </a:lnTo>
                    <a:lnTo>
                      <a:pt x="438" y="54"/>
                    </a:lnTo>
                    <a:lnTo>
                      <a:pt x="430" y="50"/>
                    </a:lnTo>
                    <a:lnTo>
                      <a:pt x="426" y="46"/>
                    </a:lnTo>
                    <a:lnTo>
                      <a:pt x="420" y="40"/>
                    </a:lnTo>
                    <a:lnTo>
                      <a:pt x="416" y="34"/>
                    </a:lnTo>
                    <a:lnTo>
                      <a:pt x="414" y="26"/>
                    </a:lnTo>
                    <a:lnTo>
                      <a:pt x="41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3" name="Freeform 24">
                <a:extLst>
                  <a:ext uri="{FF2B5EF4-FFF2-40B4-BE49-F238E27FC236}">
                    <a16:creationId xmlns:a16="http://schemas.microsoft.com/office/drawing/2014/main" id="{6FE7D374-2AD5-4FE0-9D00-16F11DAA3A7E}"/>
                  </a:ext>
                </a:extLst>
              </p:cNvPr>
              <p:cNvSpPr>
                <a:spLocks/>
              </p:cNvSpPr>
              <p:nvPr/>
            </p:nvSpPr>
            <p:spPr bwMode="auto">
              <a:xfrm>
                <a:off x="2784475" y="3143250"/>
                <a:ext cx="1409700" cy="901700"/>
              </a:xfrm>
              <a:custGeom>
                <a:avLst/>
                <a:gdLst>
                  <a:gd name="T0" fmla="*/ 888 w 888"/>
                  <a:gd name="T1" fmla="*/ 568 h 568"/>
                  <a:gd name="T2" fmla="*/ 0 w 888"/>
                  <a:gd name="T3" fmla="*/ 568 h 568"/>
                  <a:gd name="T4" fmla="*/ 0 w 888"/>
                  <a:gd name="T5" fmla="*/ 42 h 568"/>
                  <a:gd name="T6" fmla="*/ 0 w 888"/>
                  <a:gd name="T7" fmla="*/ 42 h 568"/>
                  <a:gd name="T8" fmla="*/ 0 w 888"/>
                  <a:gd name="T9" fmla="*/ 34 h 568"/>
                  <a:gd name="T10" fmla="*/ 2 w 888"/>
                  <a:gd name="T11" fmla="*/ 26 h 568"/>
                  <a:gd name="T12" fmla="*/ 6 w 888"/>
                  <a:gd name="T13" fmla="*/ 18 h 568"/>
                  <a:gd name="T14" fmla="*/ 12 w 888"/>
                  <a:gd name="T15" fmla="*/ 12 h 568"/>
                  <a:gd name="T16" fmla="*/ 18 w 888"/>
                  <a:gd name="T17" fmla="*/ 6 h 568"/>
                  <a:gd name="T18" fmla="*/ 24 w 888"/>
                  <a:gd name="T19" fmla="*/ 2 h 568"/>
                  <a:gd name="T20" fmla="*/ 32 w 888"/>
                  <a:gd name="T21" fmla="*/ 0 h 568"/>
                  <a:gd name="T22" fmla="*/ 42 w 888"/>
                  <a:gd name="T23" fmla="*/ 0 h 568"/>
                  <a:gd name="T24" fmla="*/ 142 w 888"/>
                  <a:gd name="T25" fmla="*/ 0 h 568"/>
                  <a:gd name="T26" fmla="*/ 142 w 888"/>
                  <a:gd name="T27" fmla="*/ 18 h 568"/>
                  <a:gd name="T28" fmla="*/ 42 w 888"/>
                  <a:gd name="T29" fmla="*/ 18 h 568"/>
                  <a:gd name="T30" fmla="*/ 42 w 888"/>
                  <a:gd name="T31" fmla="*/ 18 h 568"/>
                  <a:gd name="T32" fmla="*/ 32 w 888"/>
                  <a:gd name="T33" fmla="*/ 20 h 568"/>
                  <a:gd name="T34" fmla="*/ 24 w 888"/>
                  <a:gd name="T35" fmla="*/ 24 h 568"/>
                  <a:gd name="T36" fmla="*/ 20 w 888"/>
                  <a:gd name="T37" fmla="*/ 32 h 568"/>
                  <a:gd name="T38" fmla="*/ 18 w 888"/>
                  <a:gd name="T39" fmla="*/ 42 h 568"/>
                  <a:gd name="T40" fmla="*/ 18 w 888"/>
                  <a:gd name="T41" fmla="*/ 550 h 568"/>
                  <a:gd name="T42" fmla="*/ 870 w 888"/>
                  <a:gd name="T43" fmla="*/ 550 h 568"/>
                  <a:gd name="T44" fmla="*/ 870 w 888"/>
                  <a:gd name="T45" fmla="*/ 42 h 568"/>
                  <a:gd name="T46" fmla="*/ 870 w 888"/>
                  <a:gd name="T47" fmla="*/ 42 h 568"/>
                  <a:gd name="T48" fmla="*/ 868 w 888"/>
                  <a:gd name="T49" fmla="*/ 32 h 568"/>
                  <a:gd name="T50" fmla="*/ 864 w 888"/>
                  <a:gd name="T51" fmla="*/ 24 h 568"/>
                  <a:gd name="T52" fmla="*/ 856 w 888"/>
                  <a:gd name="T53" fmla="*/ 20 h 568"/>
                  <a:gd name="T54" fmla="*/ 846 w 888"/>
                  <a:gd name="T55" fmla="*/ 18 h 568"/>
                  <a:gd name="T56" fmla="*/ 746 w 888"/>
                  <a:gd name="T57" fmla="*/ 18 h 568"/>
                  <a:gd name="T58" fmla="*/ 746 w 888"/>
                  <a:gd name="T59" fmla="*/ 0 h 568"/>
                  <a:gd name="T60" fmla="*/ 846 w 888"/>
                  <a:gd name="T61" fmla="*/ 0 h 568"/>
                  <a:gd name="T62" fmla="*/ 846 w 888"/>
                  <a:gd name="T63" fmla="*/ 0 h 568"/>
                  <a:gd name="T64" fmla="*/ 854 w 888"/>
                  <a:gd name="T65" fmla="*/ 0 h 568"/>
                  <a:gd name="T66" fmla="*/ 862 w 888"/>
                  <a:gd name="T67" fmla="*/ 2 h 568"/>
                  <a:gd name="T68" fmla="*/ 870 w 888"/>
                  <a:gd name="T69" fmla="*/ 6 h 568"/>
                  <a:gd name="T70" fmla="*/ 876 w 888"/>
                  <a:gd name="T71" fmla="*/ 12 h 568"/>
                  <a:gd name="T72" fmla="*/ 882 w 888"/>
                  <a:gd name="T73" fmla="*/ 18 h 568"/>
                  <a:gd name="T74" fmla="*/ 886 w 888"/>
                  <a:gd name="T75" fmla="*/ 26 h 568"/>
                  <a:gd name="T76" fmla="*/ 888 w 888"/>
                  <a:gd name="T77" fmla="*/ 34 h 568"/>
                  <a:gd name="T78" fmla="*/ 888 w 888"/>
                  <a:gd name="T79" fmla="*/ 42 h 568"/>
                  <a:gd name="T80" fmla="*/ 888 w 888"/>
                  <a:gd name="T81"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8" h="568">
                    <a:moveTo>
                      <a:pt x="888" y="568"/>
                    </a:moveTo>
                    <a:lnTo>
                      <a:pt x="0" y="568"/>
                    </a:lnTo>
                    <a:lnTo>
                      <a:pt x="0" y="42"/>
                    </a:lnTo>
                    <a:lnTo>
                      <a:pt x="0" y="42"/>
                    </a:lnTo>
                    <a:lnTo>
                      <a:pt x="0" y="34"/>
                    </a:lnTo>
                    <a:lnTo>
                      <a:pt x="2" y="26"/>
                    </a:lnTo>
                    <a:lnTo>
                      <a:pt x="6" y="18"/>
                    </a:lnTo>
                    <a:lnTo>
                      <a:pt x="12" y="12"/>
                    </a:lnTo>
                    <a:lnTo>
                      <a:pt x="18" y="6"/>
                    </a:lnTo>
                    <a:lnTo>
                      <a:pt x="24" y="2"/>
                    </a:lnTo>
                    <a:lnTo>
                      <a:pt x="32" y="0"/>
                    </a:lnTo>
                    <a:lnTo>
                      <a:pt x="42" y="0"/>
                    </a:lnTo>
                    <a:lnTo>
                      <a:pt x="142" y="0"/>
                    </a:lnTo>
                    <a:lnTo>
                      <a:pt x="142" y="18"/>
                    </a:lnTo>
                    <a:lnTo>
                      <a:pt x="42" y="18"/>
                    </a:lnTo>
                    <a:lnTo>
                      <a:pt x="42" y="18"/>
                    </a:lnTo>
                    <a:lnTo>
                      <a:pt x="32" y="20"/>
                    </a:lnTo>
                    <a:lnTo>
                      <a:pt x="24" y="24"/>
                    </a:lnTo>
                    <a:lnTo>
                      <a:pt x="20" y="32"/>
                    </a:lnTo>
                    <a:lnTo>
                      <a:pt x="18" y="42"/>
                    </a:lnTo>
                    <a:lnTo>
                      <a:pt x="18" y="550"/>
                    </a:lnTo>
                    <a:lnTo>
                      <a:pt x="870" y="550"/>
                    </a:lnTo>
                    <a:lnTo>
                      <a:pt x="870" y="42"/>
                    </a:lnTo>
                    <a:lnTo>
                      <a:pt x="870" y="42"/>
                    </a:lnTo>
                    <a:lnTo>
                      <a:pt x="868" y="32"/>
                    </a:lnTo>
                    <a:lnTo>
                      <a:pt x="864" y="24"/>
                    </a:lnTo>
                    <a:lnTo>
                      <a:pt x="856" y="20"/>
                    </a:lnTo>
                    <a:lnTo>
                      <a:pt x="846" y="18"/>
                    </a:lnTo>
                    <a:lnTo>
                      <a:pt x="746" y="18"/>
                    </a:lnTo>
                    <a:lnTo>
                      <a:pt x="746" y="0"/>
                    </a:lnTo>
                    <a:lnTo>
                      <a:pt x="846" y="0"/>
                    </a:lnTo>
                    <a:lnTo>
                      <a:pt x="846" y="0"/>
                    </a:lnTo>
                    <a:lnTo>
                      <a:pt x="854" y="0"/>
                    </a:lnTo>
                    <a:lnTo>
                      <a:pt x="862" y="2"/>
                    </a:lnTo>
                    <a:lnTo>
                      <a:pt x="870" y="6"/>
                    </a:lnTo>
                    <a:lnTo>
                      <a:pt x="876" y="12"/>
                    </a:lnTo>
                    <a:lnTo>
                      <a:pt x="882" y="18"/>
                    </a:lnTo>
                    <a:lnTo>
                      <a:pt x="886" y="26"/>
                    </a:lnTo>
                    <a:lnTo>
                      <a:pt x="888" y="34"/>
                    </a:lnTo>
                    <a:lnTo>
                      <a:pt x="888" y="42"/>
                    </a:lnTo>
                    <a:lnTo>
                      <a:pt x="888" y="5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4" name="Freeform 25">
                <a:extLst>
                  <a:ext uri="{FF2B5EF4-FFF2-40B4-BE49-F238E27FC236}">
                    <a16:creationId xmlns:a16="http://schemas.microsoft.com/office/drawing/2014/main" id="{B77EA892-3794-4FE0-AD5E-B04918633E20}"/>
                  </a:ext>
                </a:extLst>
              </p:cNvPr>
              <p:cNvSpPr>
                <a:spLocks/>
              </p:cNvSpPr>
              <p:nvPr/>
            </p:nvSpPr>
            <p:spPr bwMode="auto">
              <a:xfrm>
                <a:off x="2873375" y="3222625"/>
                <a:ext cx="1231900" cy="742950"/>
              </a:xfrm>
              <a:custGeom>
                <a:avLst/>
                <a:gdLst>
                  <a:gd name="T0" fmla="*/ 754 w 776"/>
                  <a:gd name="T1" fmla="*/ 468 h 468"/>
                  <a:gd name="T2" fmla="*/ 22 w 776"/>
                  <a:gd name="T3" fmla="*/ 468 h 468"/>
                  <a:gd name="T4" fmla="*/ 22 w 776"/>
                  <a:gd name="T5" fmla="*/ 468 h 468"/>
                  <a:gd name="T6" fmla="*/ 14 w 776"/>
                  <a:gd name="T7" fmla="*/ 466 h 468"/>
                  <a:gd name="T8" fmla="*/ 6 w 776"/>
                  <a:gd name="T9" fmla="*/ 462 h 468"/>
                  <a:gd name="T10" fmla="*/ 2 w 776"/>
                  <a:gd name="T11" fmla="*/ 456 h 468"/>
                  <a:gd name="T12" fmla="*/ 0 w 776"/>
                  <a:gd name="T13" fmla="*/ 446 h 468"/>
                  <a:gd name="T14" fmla="*/ 0 w 776"/>
                  <a:gd name="T15" fmla="*/ 22 h 468"/>
                  <a:gd name="T16" fmla="*/ 0 w 776"/>
                  <a:gd name="T17" fmla="*/ 22 h 468"/>
                  <a:gd name="T18" fmla="*/ 2 w 776"/>
                  <a:gd name="T19" fmla="*/ 14 h 468"/>
                  <a:gd name="T20" fmla="*/ 6 w 776"/>
                  <a:gd name="T21" fmla="*/ 6 h 468"/>
                  <a:gd name="T22" fmla="*/ 14 w 776"/>
                  <a:gd name="T23" fmla="*/ 2 h 468"/>
                  <a:gd name="T24" fmla="*/ 22 w 776"/>
                  <a:gd name="T25" fmla="*/ 0 h 468"/>
                  <a:gd name="T26" fmla="*/ 86 w 776"/>
                  <a:gd name="T27" fmla="*/ 0 h 468"/>
                  <a:gd name="T28" fmla="*/ 86 w 776"/>
                  <a:gd name="T29" fmla="*/ 18 h 468"/>
                  <a:gd name="T30" fmla="*/ 22 w 776"/>
                  <a:gd name="T31" fmla="*/ 18 h 468"/>
                  <a:gd name="T32" fmla="*/ 22 w 776"/>
                  <a:gd name="T33" fmla="*/ 18 h 468"/>
                  <a:gd name="T34" fmla="*/ 20 w 776"/>
                  <a:gd name="T35" fmla="*/ 18 h 468"/>
                  <a:gd name="T36" fmla="*/ 18 w 776"/>
                  <a:gd name="T37" fmla="*/ 22 h 468"/>
                  <a:gd name="T38" fmla="*/ 18 w 776"/>
                  <a:gd name="T39" fmla="*/ 446 h 468"/>
                  <a:gd name="T40" fmla="*/ 18 w 776"/>
                  <a:gd name="T41" fmla="*/ 446 h 468"/>
                  <a:gd name="T42" fmla="*/ 20 w 776"/>
                  <a:gd name="T43" fmla="*/ 450 h 468"/>
                  <a:gd name="T44" fmla="*/ 22 w 776"/>
                  <a:gd name="T45" fmla="*/ 450 h 468"/>
                  <a:gd name="T46" fmla="*/ 754 w 776"/>
                  <a:gd name="T47" fmla="*/ 450 h 468"/>
                  <a:gd name="T48" fmla="*/ 754 w 776"/>
                  <a:gd name="T49" fmla="*/ 450 h 468"/>
                  <a:gd name="T50" fmla="*/ 756 w 776"/>
                  <a:gd name="T51" fmla="*/ 450 h 468"/>
                  <a:gd name="T52" fmla="*/ 758 w 776"/>
                  <a:gd name="T53" fmla="*/ 446 h 468"/>
                  <a:gd name="T54" fmla="*/ 758 w 776"/>
                  <a:gd name="T55" fmla="*/ 22 h 468"/>
                  <a:gd name="T56" fmla="*/ 758 w 776"/>
                  <a:gd name="T57" fmla="*/ 22 h 468"/>
                  <a:gd name="T58" fmla="*/ 756 w 776"/>
                  <a:gd name="T59" fmla="*/ 18 h 468"/>
                  <a:gd name="T60" fmla="*/ 754 w 776"/>
                  <a:gd name="T61" fmla="*/ 18 h 468"/>
                  <a:gd name="T62" fmla="*/ 690 w 776"/>
                  <a:gd name="T63" fmla="*/ 18 h 468"/>
                  <a:gd name="T64" fmla="*/ 690 w 776"/>
                  <a:gd name="T65" fmla="*/ 0 h 468"/>
                  <a:gd name="T66" fmla="*/ 754 w 776"/>
                  <a:gd name="T67" fmla="*/ 0 h 468"/>
                  <a:gd name="T68" fmla="*/ 754 w 776"/>
                  <a:gd name="T69" fmla="*/ 0 h 468"/>
                  <a:gd name="T70" fmla="*/ 762 w 776"/>
                  <a:gd name="T71" fmla="*/ 2 h 468"/>
                  <a:gd name="T72" fmla="*/ 770 w 776"/>
                  <a:gd name="T73" fmla="*/ 6 h 468"/>
                  <a:gd name="T74" fmla="*/ 774 w 776"/>
                  <a:gd name="T75" fmla="*/ 14 h 468"/>
                  <a:gd name="T76" fmla="*/ 776 w 776"/>
                  <a:gd name="T77" fmla="*/ 22 h 468"/>
                  <a:gd name="T78" fmla="*/ 776 w 776"/>
                  <a:gd name="T79" fmla="*/ 446 h 468"/>
                  <a:gd name="T80" fmla="*/ 776 w 776"/>
                  <a:gd name="T81" fmla="*/ 446 h 468"/>
                  <a:gd name="T82" fmla="*/ 774 w 776"/>
                  <a:gd name="T83" fmla="*/ 456 h 468"/>
                  <a:gd name="T84" fmla="*/ 770 w 776"/>
                  <a:gd name="T85" fmla="*/ 462 h 468"/>
                  <a:gd name="T86" fmla="*/ 762 w 776"/>
                  <a:gd name="T87" fmla="*/ 466 h 468"/>
                  <a:gd name="T88" fmla="*/ 754 w 776"/>
                  <a:gd name="T89" fmla="*/ 468 h 468"/>
                  <a:gd name="T90" fmla="*/ 754 w 776"/>
                  <a:gd name="T9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6" h="468">
                    <a:moveTo>
                      <a:pt x="754" y="468"/>
                    </a:moveTo>
                    <a:lnTo>
                      <a:pt x="22" y="468"/>
                    </a:lnTo>
                    <a:lnTo>
                      <a:pt x="22" y="468"/>
                    </a:lnTo>
                    <a:lnTo>
                      <a:pt x="14" y="466"/>
                    </a:lnTo>
                    <a:lnTo>
                      <a:pt x="6" y="462"/>
                    </a:lnTo>
                    <a:lnTo>
                      <a:pt x="2" y="456"/>
                    </a:lnTo>
                    <a:lnTo>
                      <a:pt x="0" y="446"/>
                    </a:lnTo>
                    <a:lnTo>
                      <a:pt x="0" y="22"/>
                    </a:lnTo>
                    <a:lnTo>
                      <a:pt x="0" y="22"/>
                    </a:lnTo>
                    <a:lnTo>
                      <a:pt x="2" y="14"/>
                    </a:lnTo>
                    <a:lnTo>
                      <a:pt x="6" y="6"/>
                    </a:lnTo>
                    <a:lnTo>
                      <a:pt x="14" y="2"/>
                    </a:lnTo>
                    <a:lnTo>
                      <a:pt x="22" y="0"/>
                    </a:lnTo>
                    <a:lnTo>
                      <a:pt x="86" y="0"/>
                    </a:lnTo>
                    <a:lnTo>
                      <a:pt x="86" y="18"/>
                    </a:lnTo>
                    <a:lnTo>
                      <a:pt x="22" y="18"/>
                    </a:lnTo>
                    <a:lnTo>
                      <a:pt x="22" y="18"/>
                    </a:lnTo>
                    <a:lnTo>
                      <a:pt x="20" y="18"/>
                    </a:lnTo>
                    <a:lnTo>
                      <a:pt x="18" y="22"/>
                    </a:lnTo>
                    <a:lnTo>
                      <a:pt x="18" y="446"/>
                    </a:lnTo>
                    <a:lnTo>
                      <a:pt x="18" y="446"/>
                    </a:lnTo>
                    <a:lnTo>
                      <a:pt x="20" y="450"/>
                    </a:lnTo>
                    <a:lnTo>
                      <a:pt x="22" y="450"/>
                    </a:lnTo>
                    <a:lnTo>
                      <a:pt x="754" y="450"/>
                    </a:lnTo>
                    <a:lnTo>
                      <a:pt x="754" y="450"/>
                    </a:lnTo>
                    <a:lnTo>
                      <a:pt x="756" y="450"/>
                    </a:lnTo>
                    <a:lnTo>
                      <a:pt x="758" y="446"/>
                    </a:lnTo>
                    <a:lnTo>
                      <a:pt x="758" y="22"/>
                    </a:lnTo>
                    <a:lnTo>
                      <a:pt x="758" y="22"/>
                    </a:lnTo>
                    <a:lnTo>
                      <a:pt x="756" y="18"/>
                    </a:lnTo>
                    <a:lnTo>
                      <a:pt x="754" y="18"/>
                    </a:lnTo>
                    <a:lnTo>
                      <a:pt x="690" y="18"/>
                    </a:lnTo>
                    <a:lnTo>
                      <a:pt x="690" y="0"/>
                    </a:lnTo>
                    <a:lnTo>
                      <a:pt x="754" y="0"/>
                    </a:lnTo>
                    <a:lnTo>
                      <a:pt x="754" y="0"/>
                    </a:lnTo>
                    <a:lnTo>
                      <a:pt x="762" y="2"/>
                    </a:lnTo>
                    <a:lnTo>
                      <a:pt x="770" y="6"/>
                    </a:lnTo>
                    <a:lnTo>
                      <a:pt x="774" y="14"/>
                    </a:lnTo>
                    <a:lnTo>
                      <a:pt x="776" y="22"/>
                    </a:lnTo>
                    <a:lnTo>
                      <a:pt x="776" y="446"/>
                    </a:lnTo>
                    <a:lnTo>
                      <a:pt x="776" y="446"/>
                    </a:lnTo>
                    <a:lnTo>
                      <a:pt x="774" y="456"/>
                    </a:lnTo>
                    <a:lnTo>
                      <a:pt x="770" y="462"/>
                    </a:lnTo>
                    <a:lnTo>
                      <a:pt x="762" y="466"/>
                    </a:lnTo>
                    <a:lnTo>
                      <a:pt x="754" y="468"/>
                    </a:lnTo>
                    <a:lnTo>
                      <a:pt x="754" y="4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5" name="Freeform 26">
                <a:extLst>
                  <a:ext uri="{FF2B5EF4-FFF2-40B4-BE49-F238E27FC236}">
                    <a16:creationId xmlns:a16="http://schemas.microsoft.com/office/drawing/2014/main" id="{91369047-E97F-45E7-AF36-10C9C40FE2CF}"/>
                  </a:ext>
                </a:extLst>
              </p:cNvPr>
              <p:cNvSpPr>
                <a:spLocks noEditPoints="1"/>
              </p:cNvSpPr>
              <p:nvPr/>
            </p:nvSpPr>
            <p:spPr bwMode="auto">
              <a:xfrm>
                <a:off x="3054350" y="3098800"/>
                <a:ext cx="447675" cy="682625"/>
              </a:xfrm>
              <a:custGeom>
                <a:avLst/>
                <a:gdLst>
                  <a:gd name="T0" fmla="*/ 282 w 282"/>
                  <a:gd name="T1" fmla="*/ 430 h 430"/>
                  <a:gd name="T2" fmla="*/ 264 w 282"/>
                  <a:gd name="T3" fmla="*/ 430 h 430"/>
                  <a:gd name="T4" fmla="*/ 264 w 282"/>
                  <a:gd name="T5" fmla="*/ 420 h 430"/>
                  <a:gd name="T6" fmla="*/ 264 w 282"/>
                  <a:gd name="T7" fmla="*/ 420 h 430"/>
                  <a:gd name="T8" fmla="*/ 264 w 282"/>
                  <a:gd name="T9" fmla="*/ 414 h 430"/>
                  <a:gd name="T10" fmla="*/ 262 w 282"/>
                  <a:gd name="T11" fmla="*/ 406 h 430"/>
                  <a:gd name="T12" fmla="*/ 258 w 282"/>
                  <a:gd name="T13" fmla="*/ 400 h 430"/>
                  <a:gd name="T14" fmla="*/ 254 w 282"/>
                  <a:gd name="T15" fmla="*/ 396 h 430"/>
                  <a:gd name="T16" fmla="*/ 250 w 282"/>
                  <a:gd name="T17" fmla="*/ 392 h 430"/>
                  <a:gd name="T18" fmla="*/ 244 w 282"/>
                  <a:gd name="T19" fmla="*/ 388 h 430"/>
                  <a:gd name="T20" fmla="*/ 236 w 282"/>
                  <a:gd name="T21" fmla="*/ 386 h 430"/>
                  <a:gd name="T22" fmla="*/ 230 w 282"/>
                  <a:gd name="T23" fmla="*/ 386 h 430"/>
                  <a:gd name="T24" fmla="*/ 0 w 282"/>
                  <a:gd name="T25" fmla="*/ 386 h 430"/>
                  <a:gd name="T26" fmla="*/ 0 w 282"/>
                  <a:gd name="T27" fmla="*/ 0 h 430"/>
                  <a:gd name="T28" fmla="*/ 230 w 282"/>
                  <a:gd name="T29" fmla="*/ 0 h 430"/>
                  <a:gd name="T30" fmla="*/ 230 w 282"/>
                  <a:gd name="T31" fmla="*/ 0 h 430"/>
                  <a:gd name="T32" fmla="*/ 240 w 282"/>
                  <a:gd name="T33" fmla="*/ 0 h 430"/>
                  <a:gd name="T34" fmla="*/ 250 w 282"/>
                  <a:gd name="T35" fmla="*/ 4 h 430"/>
                  <a:gd name="T36" fmla="*/ 260 w 282"/>
                  <a:gd name="T37" fmla="*/ 8 h 430"/>
                  <a:gd name="T38" fmla="*/ 268 w 282"/>
                  <a:gd name="T39" fmla="*/ 14 h 430"/>
                  <a:gd name="T40" fmla="*/ 274 w 282"/>
                  <a:gd name="T41" fmla="*/ 22 h 430"/>
                  <a:gd name="T42" fmla="*/ 278 w 282"/>
                  <a:gd name="T43" fmla="*/ 32 h 430"/>
                  <a:gd name="T44" fmla="*/ 282 w 282"/>
                  <a:gd name="T45" fmla="*/ 42 h 430"/>
                  <a:gd name="T46" fmla="*/ 282 w 282"/>
                  <a:gd name="T47" fmla="*/ 52 h 430"/>
                  <a:gd name="T48" fmla="*/ 282 w 282"/>
                  <a:gd name="T49" fmla="*/ 386 h 430"/>
                  <a:gd name="T50" fmla="*/ 270 w 282"/>
                  <a:gd name="T51" fmla="*/ 386 h 430"/>
                  <a:gd name="T52" fmla="*/ 270 w 282"/>
                  <a:gd name="T53" fmla="*/ 386 h 430"/>
                  <a:gd name="T54" fmla="*/ 276 w 282"/>
                  <a:gd name="T55" fmla="*/ 392 h 430"/>
                  <a:gd name="T56" fmla="*/ 280 w 282"/>
                  <a:gd name="T57" fmla="*/ 402 h 430"/>
                  <a:gd name="T58" fmla="*/ 282 w 282"/>
                  <a:gd name="T59" fmla="*/ 410 h 430"/>
                  <a:gd name="T60" fmla="*/ 282 w 282"/>
                  <a:gd name="T61" fmla="*/ 420 h 430"/>
                  <a:gd name="T62" fmla="*/ 282 w 282"/>
                  <a:gd name="T63" fmla="*/ 430 h 430"/>
                  <a:gd name="T64" fmla="*/ 18 w 282"/>
                  <a:gd name="T65" fmla="*/ 368 h 430"/>
                  <a:gd name="T66" fmla="*/ 230 w 282"/>
                  <a:gd name="T67" fmla="*/ 368 h 430"/>
                  <a:gd name="T68" fmla="*/ 230 w 282"/>
                  <a:gd name="T69" fmla="*/ 368 h 430"/>
                  <a:gd name="T70" fmla="*/ 240 w 282"/>
                  <a:gd name="T71" fmla="*/ 368 h 430"/>
                  <a:gd name="T72" fmla="*/ 248 w 282"/>
                  <a:gd name="T73" fmla="*/ 370 h 430"/>
                  <a:gd name="T74" fmla="*/ 258 w 282"/>
                  <a:gd name="T75" fmla="*/ 374 h 430"/>
                  <a:gd name="T76" fmla="*/ 264 w 282"/>
                  <a:gd name="T77" fmla="*/ 380 h 430"/>
                  <a:gd name="T78" fmla="*/ 264 w 282"/>
                  <a:gd name="T79" fmla="*/ 52 h 430"/>
                  <a:gd name="T80" fmla="*/ 264 w 282"/>
                  <a:gd name="T81" fmla="*/ 52 h 430"/>
                  <a:gd name="T82" fmla="*/ 264 w 282"/>
                  <a:gd name="T83" fmla="*/ 46 h 430"/>
                  <a:gd name="T84" fmla="*/ 262 w 282"/>
                  <a:gd name="T85" fmla="*/ 38 h 430"/>
                  <a:gd name="T86" fmla="*/ 258 w 282"/>
                  <a:gd name="T87" fmla="*/ 32 h 430"/>
                  <a:gd name="T88" fmla="*/ 254 w 282"/>
                  <a:gd name="T89" fmla="*/ 28 h 430"/>
                  <a:gd name="T90" fmla="*/ 250 w 282"/>
                  <a:gd name="T91" fmla="*/ 24 h 430"/>
                  <a:gd name="T92" fmla="*/ 244 w 282"/>
                  <a:gd name="T93" fmla="*/ 20 h 430"/>
                  <a:gd name="T94" fmla="*/ 236 w 282"/>
                  <a:gd name="T95" fmla="*/ 18 h 430"/>
                  <a:gd name="T96" fmla="*/ 230 w 282"/>
                  <a:gd name="T97" fmla="*/ 18 h 430"/>
                  <a:gd name="T98" fmla="*/ 18 w 282"/>
                  <a:gd name="T99" fmla="*/ 18 h 430"/>
                  <a:gd name="T100" fmla="*/ 18 w 282"/>
                  <a:gd name="T101" fmla="*/ 36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30">
                    <a:moveTo>
                      <a:pt x="282" y="430"/>
                    </a:moveTo>
                    <a:lnTo>
                      <a:pt x="264" y="430"/>
                    </a:lnTo>
                    <a:lnTo>
                      <a:pt x="264" y="420"/>
                    </a:lnTo>
                    <a:lnTo>
                      <a:pt x="264" y="420"/>
                    </a:lnTo>
                    <a:lnTo>
                      <a:pt x="264" y="414"/>
                    </a:lnTo>
                    <a:lnTo>
                      <a:pt x="262" y="406"/>
                    </a:lnTo>
                    <a:lnTo>
                      <a:pt x="258" y="400"/>
                    </a:lnTo>
                    <a:lnTo>
                      <a:pt x="254" y="396"/>
                    </a:lnTo>
                    <a:lnTo>
                      <a:pt x="250" y="392"/>
                    </a:lnTo>
                    <a:lnTo>
                      <a:pt x="244" y="388"/>
                    </a:lnTo>
                    <a:lnTo>
                      <a:pt x="236" y="386"/>
                    </a:lnTo>
                    <a:lnTo>
                      <a:pt x="230" y="386"/>
                    </a:lnTo>
                    <a:lnTo>
                      <a:pt x="0" y="386"/>
                    </a:lnTo>
                    <a:lnTo>
                      <a:pt x="0" y="0"/>
                    </a:lnTo>
                    <a:lnTo>
                      <a:pt x="230" y="0"/>
                    </a:lnTo>
                    <a:lnTo>
                      <a:pt x="230" y="0"/>
                    </a:lnTo>
                    <a:lnTo>
                      <a:pt x="240" y="0"/>
                    </a:lnTo>
                    <a:lnTo>
                      <a:pt x="250" y="4"/>
                    </a:lnTo>
                    <a:lnTo>
                      <a:pt x="260" y="8"/>
                    </a:lnTo>
                    <a:lnTo>
                      <a:pt x="268" y="14"/>
                    </a:lnTo>
                    <a:lnTo>
                      <a:pt x="274" y="22"/>
                    </a:lnTo>
                    <a:lnTo>
                      <a:pt x="278" y="32"/>
                    </a:lnTo>
                    <a:lnTo>
                      <a:pt x="282" y="42"/>
                    </a:lnTo>
                    <a:lnTo>
                      <a:pt x="282" y="52"/>
                    </a:lnTo>
                    <a:lnTo>
                      <a:pt x="282" y="386"/>
                    </a:lnTo>
                    <a:lnTo>
                      <a:pt x="270" y="386"/>
                    </a:lnTo>
                    <a:lnTo>
                      <a:pt x="270" y="386"/>
                    </a:lnTo>
                    <a:lnTo>
                      <a:pt x="276" y="392"/>
                    </a:lnTo>
                    <a:lnTo>
                      <a:pt x="280" y="402"/>
                    </a:lnTo>
                    <a:lnTo>
                      <a:pt x="282" y="410"/>
                    </a:lnTo>
                    <a:lnTo>
                      <a:pt x="282" y="420"/>
                    </a:lnTo>
                    <a:lnTo>
                      <a:pt x="282" y="430"/>
                    </a:lnTo>
                    <a:close/>
                    <a:moveTo>
                      <a:pt x="18" y="368"/>
                    </a:moveTo>
                    <a:lnTo>
                      <a:pt x="230" y="368"/>
                    </a:lnTo>
                    <a:lnTo>
                      <a:pt x="230" y="368"/>
                    </a:lnTo>
                    <a:lnTo>
                      <a:pt x="240" y="368"/>
                    </a:lnTo>
                    <a:lnTo>
                      <a:pt x="248" y="370"/>
                    </a:lnTo>
                    <a:lnTo>
                      <a:pt x="258" y="374"/>
                    </a:lnTo>
                    <a:lnTo>
                      <a:pt x="264" y="380"/>
                    </a:lnTo>
                    <a:lnTo>
                      <a:pt x="264" y="52"/>
                    </a:lnTo>
                    <a:lnTo>
                      <a:pt x="264" y="52"/>
                    </a:lnTo>
                    <a:lnTo>
                      <a:pt x="264" y="46"/>
                    </a:lnTo>
                    <a:lnTo>
                      <a:pt x="262" y="38"/>
                    </a:lnTo>
                    <a:lnTo>
                      <a:pt x="258" y="32"/>
                    </a:lnTo>
                    <a:lnTo>
                      <a:pt x="254" y="28"/>
                    </a:lnTo>
                    <a:lnTo>
                      <a:pt x="250" y="24"/>
                    </a:lnTo>
                    <a:lnTo>
                      <a:pt x="244" y="20"/>
                    </a:lnTo>
                    <a:lnTo>
                      <a:pt x="236" y="18"/>
                    </a:lnTo>
                    <a:lnTo>
                      <a:pt x="230" y="18"/>
                    </a:lnTo>
                    <a:lnTo>
                      <a:pt x="18" y="18"/>
                    </a:lnTo>
                    <a:lnTo>
                      <a:pt x="18" y="3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6" name="Freeform 27">
                <a:extLst>
                  <a:ext uri="{FF2B5EF4-FFF2-40B4-BE49-F238E27FC236}">
                    <a16:creationId xmlns:a16="http://schemas.microsoft.com/office/drawing/2014/main" id="{887A5002-6E4E-4AC4-9AAD-2D18B8490AA7}"/>
                  </a:ext>
                </a:extLst>
              </p:cNvPr>
              <p:cNvSpPr>
                <a:spLocks noEditPoints="1"/>
              </p:cNvSpPr>
              <p:nvPr/>
            </p:nvSpPr>
            <p:spPr bwMode="auto">
              <a:xfrm>
                <a:off x="3473450" y="3098800"/>
                <a:ext cx="450850" cy="666750"/>
              </a:xfrm>
              <a:custGeom>
                <a:avLst/>
                <a:gdLst>
                  <a:gd name="T0" fmla="*/ 18 w 284"/>
                  <a:gd name="T1" fmla="*/ 420 h 420"/>
                  <a:gd name="T2" fmla="*/ 0 w 284"/>
                  <a:gd name="T3" fmla="*/ 420 h 420"/>
                  <a:gd name="T4" fmla="*/ 0 w 284"/>
                  <a:gd name="T5" fmla="*/ 52 h 420"/>
                  <a:gd name="T6" fmla="*/ 0 w 284"/>
                  <a:gd name="T7" fmla="*/ 52 h 420"/>
                  <a:gd name="T8" fmla="*/ 2 w 284"/>
                  <a:gd name="T9" fmla="*/ 42 h 420"/>
                  <a:gd name="T10" fmla="*/ 6 w 284"/>
                  <a:gd name="T11" fmla="*/ 32 h 420"/>
                  <a:gd name="T12" fmla="*/ 10 w 284"/>
                  <a:gd name="T13" fmla="*/ 22 h 420"/>
                  <a:gd name="T14" fmla="*/ 16 w 284"/>
                  <a:gd name="T15" fmla="*/ 14 h 420"/>
                  <a:gd name="T16" fmla="*/ 24 w 284"/>
                  <a:gd name="T17" fmla="*/ 8 h 420"/>
                  <a:gd name="T18" fmla="*/ 34 w 284"/>
                  <a:gd name="T19" fmla="*/ 4 h 420"/>
                  <a:gd name="T20" fmla="*/ 44 w 284"/>
                  <a:gd name="T21" fmla="*/ 0 h 420"/>
                  <a:gd name="T22" fmla="*/ 54 w 284"/>
                  <a:gd name="T23" fmla="*/ 0 h 420"/>
                  <a:gd name="T24" fmla="*/ 284 w 284"/>
                  <a:gd name="T25" fmla="*/ 0 h 420"/>
                  <a:gd name="T26" fmla="*/ 284 w 284"/>
                  <a:gd name="T27" fmla="*/ 386 h 420"/>
                  <a:gd name="T28" fmla="*/ 54 w 284"/>
                  <a:gd name="T29" fmla="*/ 386 h 420"/>
                  <a:gd name="T30" fmla="*/ 54 w 284"/>
                  <a:gd name="T31" fmla="*/ 386 h 420"/>
                  <a:gd name="T32" fmla="*/ 48 w 284"/>
                  <a:gd name="T33" fmla="*/ 386 h 420"/>
                  <a:gd name="T34" fmla="*/ 40 w 284"/>
                  <a:gd name="T35" fmla="*/ 388 h 420"/>
                  <a:gd name="T36" fmla="*/ 34 w 284"/>
                  <a:gd name="T37" fmla="*/ 392 h 420"/>
                  <a:gd name="T38" fmla="*/ 30 w 284"/>
                  <a:gd name="T39" fmla="*/ 396 h 420"/>
                  <a:gd name="T40" fmla="*/ 24 w 284"/>
                  <a:gd name="T41" fmla="*/ 400 h 420"/>
                  <a:gd name="T42" fmla="*/ 22 w 284"/>
                  <a:gd name="T43" fmla="*/ 406 h 420"/>
                  <a:gd name="T44" fmla="*/ 20 w 284"/>
                  <a:gd name="T45" fmla="*/ 414 h 420"/>
                  <a:gd name="T46" fmla="*/ 18 w 284"/>
                  <a:gd name="T47" fmla="*/ 420 h 420"/>
                  <a:gd name="T48" fmla="*/ 18 w 284"/>
                  <a:gd name="T49" fmla="*/ 420 h 420"/>
                  <a:gd name="T50" fmla="*/ 54 w 284"/>
                  <a:gd name="T51" fmla="*/ 18 h 420"/>
                  <a:gd name="T52" fmla="*/ 54 w 284"/>
                  <a:gd name="T53" fmla="*/ 18 h 420"/>
                  <a:gd name="T54" fmla="*/ 48 w 284"/>
                  <a:gd name="T55" fmla="*/ 18 h 420"/>
                  <a:gd name="T56" fmla="*/ 40 w 284"/>
                  <a:gd name="T57" fmla="*/ 20 h 420"/>
                  <a:gd name="T58" fmla="*/ 34 w 284"/>
                  <a:gd name="T59" fmla="*/ 24 h 420"/>
                  <a:gd name="T60" fmla="*/ 30 w 284"/>
                  <a:gd name="T61" fmla="*/ 28 h 420"/>
                  <a:gd name="T62" fmla="*/ 24 w 284"/>
                  <a:gd name="T63" fmla="*/ 32 h 420"/>
                  <a:gd name="T64" fmla="*/ 22 w 284"/>
                  <a:gd name="T65" fmla="*/ 38 h 420"/>
                  <a:gd name="T66" fmla="*/ 20 w 284"/>
                  <a:gd name="T67" fmla="*/ 46 h 420"/>
                  <a:gd name="T68" fmla="*/ 18 w 284"/>
                  <a:gd name="T69" fmla="*/ 52 h 420"/>
                  <a:gd name="T70" fmla="*/ 18 w 284"/>
                  <a:gd name="T71" fmla="*/ 380 h 420"/>
                  <a:gd name="T72" fmla="*/ 18 w 284"/>
                  <a:gd name="T73" fmla="*/ 380 h 420"/>
                  <a:gd name="T74" fmla="*/ 26 w 284"/>
                  <a:gd name="T75" fmla="*/ 374 h 420"/>
                  <a:gd name="T76" fmla="*/ 34 w 284"/>
                  <a:gd name="T77" fmla="*/ 370 h 420"/>
                  <a:gd name="T78" fmla="*/ 44 w 284"/>
                  <a:gd name="T79" fmla="*/ 368 h 420"/>
                  <a:gd name="T80" fmla="*/ 54 w 284"/>
                  <a:gd name="T81" fmla="*/ 368 h 420"/>
                  <a:gd name="T82" fmla="*/ 266 w 284"/>
                  <a:gd name="T83" fmla="*/ 368 h 420"/>
                  <a:gd name="T84" fmla="*/ 266 w 284"/>
                  <a:gd name="T85" fmla="*/ 18 h 420"/>
                  <a:gd name="T86" fmla="*/ 54 w 284"/>
                  <a:gd name="T87" fmla="*/ 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420">
                    <a:moveTo>
                      <a:pt x="18" y="420"/>
                    </a:moveTo>
                    <a:lnTo>
                      <a:pt x="0" y="420"/>
                    </a:lnTo>
                    <a:lnTo>
                      <a:pt x="0" y="52"/>
                    </a:lnTo>
                    <a:lnTo>
                      <a:pt x="0" y="52"/>
                    </a:lnTo>
                    <a:lnTo>
                      <a:pt x="2" y="42"/>
                    </a:lnTo>
                    <a:lnTo>
                      <a:pt x="6" y="32"/>
                    </a:lnTo>
                    <a:lnTo>
                      <a:pt x="10" y="22"/>
                    </a:lnTo>
                    <a:lnTo>
                      <a:pt x="16" y="14"/>
                    </a:lnTo>
                    <a:lnTo>
                      <a:pt x="24" y="8"/>
                    </a:lnTo>
                    <a:lnTo>
                      <a:pt x="34" y="4"/>
                    </a:lnTo>
                    <a:lnTo>
                      <a:pt x="44" y="0"/>
                    </a:lnTo>
                    <a:lnTo>
                      <a:pt x="54" y="0"/>
                    </a:lnTo>
                    <a:lnTo>
                      <a:pt x="284" y="0"/>
                    </a:lnTo>
                    <a:lnTo>
                      <a:pt x="284" y="386"/>
                    </a:lnTo>
                    <a:lnTo>
                      <a:pt x="54" y="386"/>
                    </a:lnTo>
                    <a:lnTo>
                      <a:pt x="54" y="386"/>
                    </a:lnTo>
                    <a:lnTo>
                      <a:pt x="48" y="386"/>
                    </a:lnTo>
                    <a:lnTo>
                      <a:pt x="40" y="388"/>
                    </a:lnTo>
                    <a:lnTo>
                      <a:pt x="34" y="392"/>
                    </a:lnTo>
                    <a:lnTo>
                      <a:pt x="30" y="396"/>
                    </a:lnTo>
                    <a:lnTo>
                      <a:pt x="24" y="400"/>
                    </a:lnTo>
                    <a:lnTo>
                      <a:pt x="22" y="406"/>
                    </a:lnTo>
                    <a:lnTo>
                      <a:pt x="20" y="414"/>
                    </a:lnTo>
                    <a:lnTo>
                      <a:pt x="18" y="420"/>
                    </a:lnTo>
                    <a:lnTo>
                      <a:pt x="18" y="420"/>
                    </a:lnTo>
                    <a:close/>
                    <a:moveTo>
                      <a:pt x="54" y="18"/>
                    </a:moveTo>
                    <a:lnTo>
                      <a:pt x="54" y="18"/>
                    </a:lnTo>
                    <a:lnTo>
                      <a:pt x="48" y="18"/>
                    </a:lnTo>
                    <a:lnTo>
                      <a:pt x="40" y="20"/>
                    </a:lnTo>
                    <a:lnTo>
                      <a:pt x="34" y="24"/>
                    </a:lnTo>
                    <a:lnTo>
                      <a:pt x="30" y="28"/>
                    </a:lnTo>
                    <a:lnTo>
                      <a:pt x="24" y="32"/>
                    </a:lnTo>
                    <a:lnTo>
                      <a:pt x="22" y="38"/>
                    </a:lnTo>
                    <a:lnTo>
                      <a:pt x="20" y="46"/>
                    </a:lnTo>
                    <a:lnTo>
                      <a:pt x="18" y="52"/>
                    </a:lnTo>
                    <a:lnTo>
                      <a:pt x="18" y="380"/>
                    </a:lnTo>
                    <a:lnTo>
                      <a:pt x="18" y="380"/>
                    </a:lnTo>
                    <a:lnTo>
                      <a:pt x="26" y="374"/>
                    </a:lnTo>
                    <a:lnTo>
                      <a:pt x="34" y="370"/>
                    </a:lnTo>
                    <a:lnTo>
                      <a:pt x="44" y="368"/>
                    </a:lnTo>
                    <a:lnTo>
                      <a:pt x="54" y="368"/>
                    </a:lnTo>
                    <a:lnTo>
                      <a:pt x="266" y="368"/>
                    </a:lnTo>
                    <a:lnTo>
                      <a:pt x="266" y="18"/>
                    </a:lnTo>
                    <a:lnTo>
                      <a:pt x="5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7" name="Rectangle 28">
                <a:extLst>
                  <a:ext uri="{FF2B5EF4-FFF2-40B4-BE49-F238E27FC236}">
                    <a16:creationId xmlns:a16="http://schemas.microsoft.com/office/drawing/2014/main" id="{E2EEF2A7-3EEB-4757-93B9-5C814ACA79D2}"/>
                  </a:ext>
                </a:extLst>
              </p:cNvPr>
              <p:cNvSpPr>
                <a:spLocks noChangeArrowheads="1"/>
              </p:cNvSpPr>
              <p:nvPr/>
            </p:nvSpPr>
            <p:spPr bwMode="auto">
              <a:xfrm>
                <a:off x="3279775" y="327660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8" name="Rectangle 29">
                <a:extLst>
                  <a:ext uri="{FF2B5EF4-FFF2-40B4-BE49-F238E27FC236}">
                    <a16:creationId xmlns:a16="http://schemas.microsoft.com/office/drawing/2014/main" id="{57F981AD-4CEA-4F0B-BDB4-AEC5FF4C7198}"/>
                  </a:ext>
                </a:extLst>
              </p:cNvPr>
              <p:cNvSpPr>
                <a:spLocks noChangeArrowheads="1"/>
              </p:cNvSpPr>
              <p:nvPr/>
            </p:nvSpPr>
            <p:spPr bwMode="auto">
              <a:xfrm>
                <a:off x="3279775" y="334645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9" name="Rectangle 30">
                <a:extLst>
                  <a:ext uri="{FF2B5EF4-FFF2-40B4-BE49-F238E27FC236}">
                    <a16:creationId xmlns:a16="http://schemas.microsoft.com/office/drawing/2014/main" id="{92D47D44-6F86-49D1-8EE4-A86E4B11D73D}"/>
                  </a:ext>
                </a:extLst>
              </p:cNvPr>
              <p:cNvSpPr>
                <a:spLocks noChangeArrowheads="1"/>
              </p:cNvSpPr>
              <p:nvPr/>
            </p:nvSpPr>
            <p:spPr bwMode="auto">
              <a:xfrm>
                <a:off x="31337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0" name="Rectangle 31">
                <a:extLst>
                  <a:ext uri="{FF2B5EF4-FFF2-40B4-BE49-F238E27FC236}">
                    <a16:creationId xmlns:a16="http://schemas.microsoft.com/office/drawing/2014/main" id="{0B675156-66B2-42EA-BB9B-460584CC0204}"/>
                  </a:ext>
                </a:extLst>
              </p:cNvPr>
              <p:cNvSpPr>
                <a:spLocks noChangeArrowheads="1"/>
              </p:cNvSpPr>
              <p:nvPr/>
            </p:nvSpPr>
            <p:spPr bwMode="auto">
              <a:xfrm>
                <a:off x="31337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1" name="Rectangle 32">
                <a:extLst>
                  <a:ext uri="{FF2B5EF4-FFF2-40B4-BE49-F238E27FC236}">
                    <a16:creationId xmlns:a16="http://schemas.microsoft.com/office/drawing/2014/main" id="{2691159C-1D03-4D4F-96D9-DDE0ABF4D650}"/>
                  </a:ext>
                </a:extLst>
              </p:cNvPr>
              <p:cNvSpPr>
                <a:spLocks noChangeArrowheads="1"/>
              </p:cNvSpPr>
              <p:nvPr/>
            </p:nvSpPr>
            <p:spPr bwMode="auto">
              <a:xfrm>
                <a:off x="31337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2" name="Rectangle 33">
                <a:extLst>
                  <a:ext uri="{FF2B5EF4-FFF2-40B4-BE49-F238E27FC236}">
                    <a16:creationId xmlns:a16="http://schemas.microsoft.com/office/drawing/2014/main" id="{BD37B748-4AE8-43BA-BD91-AE555E6FFE26}"/>
                  </a:ext>
                </a:extLst>
              </p:cNvPr>
              <p:cNvSpPr>
                <a:spLocks noChangeArrowheads="1"/>
              </p:cNvSpPr>
              <p:nvPr/>
            </p:nvSpPr>
            <p:spPr bwMode="auto">
              <a:xfrm>
                <a:off x="3552825" y="32766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3" name="Rectangle 34">
                <a:extLst>
                  <a:ext uri="{FF2B5EF4-FFF2-40B4-BE49-F238E27FC236}">
                    <a16:creationId xmlns:a16="http://schemas.microsoft.com/office/drawing/2014/main" id="{BA30E3F5-4006-47D3-A8EC-4FD54A1CDC55}"/>
                  </a:ext>
                </a:extLst>
              </p:cNvPr>
              <p:cNvSpPr>
                <a:spLocks noChangeArrowheads="1"/>
              </p:cNvSpPr>
              <p:nvPr/>
            </p:nvSpPr>
            <p:spPr bwMode="auto">
              <a:xfrm>
                <a:off x="3552825" y="334645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4" name="Rectangle 35">
                <a:extLst>
                  <a:ext uri="{FF2B5EF4-FFF2-40B4-BE49-F238E27FC236}">
                    <a16:creationId xmlns:a16="http://schemas.microsoft.com/office/drawing/2014/main" id="{E41A9C76-830C-43F1-B5E5-2C17771A0DC8}"/>
                  </a:ext>
                </a:extLst>
              </p:cNvPr>
              <p:cNvSpPr>
                <a:spLocks noChangeArrowheads="1"/>
              </p:cNvSpPr>
              <p:nvPr/>
            </p:nvSpPr>
            <p:spPr bwMode="auto">
              <a:xfrm>
                <a:off x="35528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5" name="Rectangle 36">
                <a:extLst>
                  <a:ext uri="{FF2B5EF4-FFF2-40B4-BE49-F238E27FC236}">
                    <a16:creationId xmlns:a16="http://schemas.microsoft.com/office/drawing/2014/main" id="{408E6DAB-CEC8-42D4-9D88-C72FFCDBF29A}"/>
                  </a:ext>
                </a:extLst>
              </p:cNvPr>
              <p:cNvSpPr>
                <a:spLocks noChangeArrowheads="1"/>
              </p:cNvSpPr>
              <p:nvPr/>
            </p:nvSpPr>
            <p:spPr bwMode="auto">
              <a:xfrm>
                <a:off x="35528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6" name="Rectangle 37">
                <a:extLst>
                  <a:ext uri="{FF2B5EF4-FFF2-40B4-BE49-F238E27FC236}">
                    <a16:creationId xmlns:a16="http://schemas.microsoft.com/office/drawing/2014/main" id="{3BF6F852-D46D-40D6-A9D4-FB0369E031BC}"/>
                  </a:ext>
                </a:extLst>
              </p:cNvPr>
              <p:cNvSpPr>
                <a:spLocks noChangeArrowheads="1"/>
              </p:cNvSpPr>
              <p:nvPr/>
            </p:nvSpPr>
            <p:spPr bwMode="auto">
              <a:xfrm>
                <a:off x="35528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7" name="Freeform 38">
                <a:extLst>
                  <a:ext uri="{FF2B5EF4-FFF2-40B4-BE49-F238E27FC236}">
                    <a16:creationId xmlns:a16="http://schemas.microsoft.com/office/drawing/2014/main" id="{BC80FB6A-0C9F-4E3B-92F2-C855A8870B3E}"/>
                  </a:ext>
                </a:extLst>
              </p:cNvPr>
              <p:cNvSpPr>
                <a:spLocks noEditPoints="1"/>
              </p:cNvSpPr>
              <p:nvPr/>
            </p:nvSpPr>
            <p:spPr bwMode="auto">
              <a:xfrm>
                <a:off x="3133725" y="3276600"/>
                <a:ext cx="120650" cy="98425"/>
              </a:xfrm>
              <a:custGeom>
                <a:avLst/>
                <a:gdLst>
                  <a:gd name="T0" fmla="*/ 76 w 76"/>
                  <a:gd name="T1" fmla="*/ 62 h 62"/>
                  <a:gd name="T2" fmla="*/ 0 w 76"/>
                  <a:gd name="T3" fmla="*/ 62 h 62"/>
                  <a:gd name="T4" fmla="*/ 0 w 76"/>
                  <a:gd name="T5" fmla="*/ 0 h 62"/>
                  <a:gd name="T6" fmla="*/ 76 w 76"/>
                  <a:gd name="T7" fmla="*/ 0 h 62"/>
                  <a:gd name="T8" fmla="*/ 76 w 76"/>
                  <a:gd name="T9" fmla="*/ 62 h 62"/>
                  <a:gd name="T10" fmla="*/ 18 w 76"/>
                  <a:gd name="T11" fmla="*/ 44 h 62"/>
                  <a:gd name="T12" fmla="*/ 58 w 76"/>
                  <a:gd name="T13" fmla="*/ 44 h 62"/>
                  <a:gd name="T14" fmla="*/ 58 w 76"/>
                  <a:gd name="T15" fmla="*/ 18 h 62"/>
                  <a:gd name="T16" fmla="*/ 18 w 76"/>
                  <a:gd name="T17" fmla="*/ 18 h 62"/>
                  <a:gd name="T18" fmla="*/ 18 w 76"/>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62">
                    <a:moveTo>
                      <a:pt x="76" y="62"/>
                    </a:moveTo>
                    <a:lnTo>
                      <a:pt x="0" y="62"/>
                    </a:lnTo>
                    <a:lnTo>
                      <a:pt x="0" y="0"/>
                    </a:lnTo>
                    <a:lnTo>
                      <a:pt x="76" y="0"/>
                    </a:lnTo>
                    <a:lnTo>
                      <a:pt x="76" y="62"/>
                    </a:lnTo>
                    <a:close/>
                    <a:moveTo>
                      <a:pt x="18" y="44"/>
                    </a:moveTo>
                    <a:lnTo>
                      <a:pt x="58" y="44"/>
                    </a:lnTo>
                    <a:lnTo>
                      <a:pt x="58" y="18"/>
                    </a:lnTo>
                    <a:lnTo>
                      <a:pt x="18" y="18"/>
                    </a:lnTo>
                    <a:lnTo>
                      <a:pt x="1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grpSp>
        <p:sp>
          <p:nvSpPr>
            <p:cNvPr id="290" name="TextBox 289">
              <a:extLst>
                <a:ext uri="{FF2B5EF4-FFF2-40B4-BE49-F238E27FC236}">
                  <a16:creationId xmlns:a16="http://schemas.microsoft.com/office/drawing/2014/main" id="{26903884-EFF6-41D1-B4CD-7CF6EE013128}"/>
                </a:ext>
              </a:extLst>
            </p:cNvPr>
            <p:cNvSpPr txBox="1"/>
            <p:nvPr/>
          </p:nvSpPr>
          <p:spPr>
            <a:xfrm>
              <a:off x="7655928" y="3817233"/>
              <a:ext cx="1045143" cy="186043"/>
            </a:xfrm>
            <a:prstGeom prst="rect">
              <a:avLst/>
            </a:prstGeom>
            <a:noFill/>
            <a:ln w="12700" cap="sq">
              <a:noFill/>
              <a:miter lim="800000"/>
            </a:ln>
          </p:spPr>
          <p:txBody>
            <a:bodyPr wrap="square" lIns="0" tIns="0" rIns="0" bIns="0"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lang="de-AT" sz="1000" b="1" kern="0" dirty="0">
                  <a:solidFill>
                    <a:srgbClr val="FFE600"/>
                  </a:solidFill>
                </a:rPr>
                <a:t>Off</a:t>
              </a:r>
              <a:r>
                <a:rPr kumimoji="0" lang="de-AT" sz="1000" b="1" i="0" u="none" strike="noStrike" kern="0" cap="none" spc="0" normalizeH="0" baseline="0" noProof="0" dirty="0">
                  <a:ln>
                    <a:noFill/>
                  </a:ln>
                  <a:solidFill>
                    <a:srgbClr val="FFE600"/>
                  </a:solidFill>
                  <a:effectLst/>
                  <a:uLnTx/>
                  <a:uFillTx/>
                </a:rPr>
                <a:t>-</a:t>
              </a:r>
              <a:r>
                <a:rPr kumimoji="0" lang="de-AT" sz="1000" i="0" u="none" strike="noStrike" kern="0" cap="none" spc="0" normalizeH="0" baseline="0" noProof="0" dirty="0" err="1">
                  <a:ln>
                    <a:noFill/>
                  </a:ln>
                  <a:solidFill>
                    <a:srgbClr val="FFE600"/>
                  </a:solidFill>
                  <a:effectLst/>
                  <a:uLnTx/>
                  <a:uFillTx/>
                </a:rPr>
                <a:t>chain</a:t>
              </a:r>
              <a:endParaRPr kumimoji="0" lang="de-AT" sz="1000" i="0" u="none" strike="noStrike" kern="0" cap="none" spc="0" normalizeH="0" baseline="0" noProof="0" dirty="0">
                <a:ln>
                  <a:noFill/>
                </a:ln>
                <a:solidFill>
                  <a:srgbClr val="FFE600"/>
                </a:solidFill>
                <a:effectLst/>
                <a:uLnTx/>
                <a:uFillTx/>
              </a:endParaRPr>
            </a:p>
          </p:txBody>
        </p:sp>
        <p:sp>
          <p:nvSpPr>
            <p:cNvPr id="291" name="TextBox 290">
              <a:extLst>
                <a:ext uri="{FF2B5EF4-FFF2-40B4-BE49-F238E27FC236}">
                  <a16:creationId xmlns:a16="http://schemas.microsoft.com/office/drawing/2014/main" id="{2D2B35F4-8FA8-4D55-B969-E86152365C50}"/>
                </a:ext>
              </a:extLst>
            </p:cNvPr>
            <p:cNvSpPr txBox="1"/>
            <p:nvPr/>
          </p:nvSpPr>
          <p:spPr>
            <a:xfrm>
              <a:off x="8671491" y="3832185"/>
              <a:ext cx="563412" cy="186043"/>
            </a:xfrm>
            <a:prstGeom prst="rect">
              <a:avLst/>
            </a:prstGeom>
            <a:noFill/>
            <a:ln w="12700" cap="sq">
              <a:noFill/>
              <a:miter lim="800000"/>
            </a:ln>
          </p:spPr>
          <p:txBody>
            <a:bodyPr wrap="square" lIns="0" tIns="0" rIns="0" bIns="0" rtlCol="0">
              <a:noAutofit/>
            </a:bodyPr>
            <a:lstStyle/>
            <a:p>
              <a:pPr defTabSz="685434">
                <a:spcBef>
                  <a:spcPct val="20000"/>
                </a:spcBef>
                <a:buClr>
                  <a:srgbClr val="FFE600"/>
                </a:buClr>
                <a:buSzPct val="80000"/>
              </a:pPr>
              <a:r>
                <a:rPr lang="de-AT" sz="1000" b="1" kern="0" dirty="0">
                  <a:solidFill>
                    <a:srgbClr val="FFE600"/>
                  </a:solidFill>
                </a:rPr>
                <a:t>On-</a:t>
              </a:r>
              <a:r>
                <a:rPr lang="de-AT" sz="1000" kern="0" dirty="0">
                  <a:solidFill>
                    <a:srgbClr val="FFE600"/>
                  </a:solidFill>
                </a:rPr>
                <a:t>chain</a:t>
              </a:r>
            </a:p>
          </p:txBody>
        </p:sp>
      </p:grpSp>
      <p:sp>
        <p:nvSpPr>
          <p:cNvPr id="164" name="Rectangle 163">
            <a:extLst>
              <a:ext uri="{FF2B5EF4-FFF2-40B4-BE49-F238E27FC236}">
                <a16:creationId xmlns:a16="http://schemas.microsoft.com/office/drawing/2014/main" id="{AB7A202C-3B76-4742-A199-F28C058316D5}"/>
              </a:ext>
            </a:extLst>
          </p:cNvPr>
          <p:cNvSpPr/>
          <p:nvPr/>
        </p:nvSpPr>
        <p:spPr>
          <a:xfrm>
            <a:off x="661901" y="3070299"/>
            <a:ext cx="8586972"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GB" sz="1600" kern="0" dirty="0">
                <a:solidFill>
                  <a:schemeClr val="bg1"/>
                </a:solidFill>
              </a:rPr>
              <a:t>16 c) </a:t>
            </a:r>
            <a:r>
              <a:rPr lang="en-US" sz="1600" kern="0" dirty="0">
                <a:solidFill>
                  <a:schemeClr val="bg1"/>
                </a:solidFill>
              </a:rPr>
              <a:t>Such information must always be available off-chain, in natural, plain, intelligible and for the Consumer understandable language</a:t>
            </a:r>
            <a:endParaRPr lang="en-GB" sz="1600" kern="0" dirty="0">
              <a:solidFill>
                <a:schemeClr val="bg1"/>
              </a:solidFill>
            </a:endParaRPr>
          </a:p>
        </p:txBody>
      </p:sp>
      <p:sp>
        <p:nvSpPr>
          <p:cNvPr id="165" name="Rectangle 164">
            <a:extLst>
              <a:ext uri="{FF2B5EF4-FFF2-40B4-BE49-F238E27FC236}">
                <a16:creationId xmlns:a16="http://schemas.microsoft.com/office/drawing/2014/main" id="{77D71B67-D8E8-410F-A89C-A99869B335BB}"/>
              </a:ext>
            </a:extLst>
          </p:cNvPr>
          <p:cNvSpPr/>
          <p:nvPr/>
        </p:nvSpPr>
        <p:spPr>
          <a:xfrm>
            <a:off x="675479" y="4250945"/>
            <a:ext cx="8586972" cy="1276571"/>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GB" sz="1600" kern="0" dirty="0">
                <a:solidFill>
                  <a:schemeClr val="bg1"/>
                </a:solidFill>
              </a:rPr>
              <a:t>16 e) </a:t>
            </a:r>
            <a:r>
              <a:rPr lang="en-US" sz="1600" kern="0" dirty="0">
                <a:solidFill>
                  <a:schemeClr val="bg1"/>
                </a:solidFill>
              </a:rPr>
              <a:t>If the explanation deviates from the terms and conditions which apply once the contract has been concluded, the information contained in the explanation prevails or, if the deviation concerns essential characteristics of the contract, may result in the contract being avoided.</a:t>
            </a:r>
            <a:endParaRPr lang="en-GB" sz="1600" kern="0" dirty="0">
              <a:solidFill>
                <a:schemeClr val="bg1"/>
              </a:solidFill>
            </a:endParaRPr>
          </a:p>
        </p:txBody>
      </p:sp>
    </p:spTree>
    <p:extLst>
      <p:ext uri="{BB962C8B-B14F-4D97-AF65-F5344CB8AC3E}">
        <p14:creationId xmlns:p14="http://schemas.microsoft.com/office/powerpoint/2010/main" val="2466896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EDD9-F5B3-48C1-A24A-E9D32D175F99}"/>
              </a:ext>
            </a:extLst>
          </p:cNvPr>
          <p:cNvSpPr>
            <a:spLocks noGrp="1"/>
          </p:cNvSpPr>
          <p:nvPr>
            <p:ph type="title"/>
          </p:nvPr>
        </p:nvSpPr>
        <p:spPr/>
        <p:txBody>
          <a:bodyPr/>
          <a:lstStyle/>
          <a:p>
            <a:r>
              <a:rPr lang="de-AT" dirty="0" err="1"/>
              <a:t>Principle</a:t>
            </a:r>
            <a:r>
              <a:rPr lang="de-AT" dirty="0"/>
              <a:t> 17</a:t>
            </a:r>
          </a:p>
        </p:txBody>
      </p:sp>
      <p:sp>
        <p:nvSpPr>
          <p:cNvPr id="3" name="Text Placeholder 2">
            <a:extLst>
              <a:ext uri="{FF2B5EF4-FFF2-40B4-BE49-F238E27FC236}">
                <a16:creationId xmlns:a16="http://schemas.microsoft.com/office/drawing/2014/main" id="{3141DF54-C884-476C-A8C7-858491B06CF9}"/>
              </a:ext>
            </a:extLst>
          </p:cNvPr>
          <p:cNvSpPr>
            <a:spLocks noGrp="1"/>
          </p:cNvSpPr>
          <p:nvPr>
            <p:ph type="body" sz="quarter" idx="15"/>
          </p:nvPr>
        </p:nvSpPr>
        <p:spPr/>
        <p:txBody>
          <a:bodyPr>
            <a:normAutofit/>
          </a:bodyPr>
          <a:lstStyle/>
          <a:p>
            <a:r>
              <a:rPr lang="de-AT" dirty="0"/>
              <a:t>Duty to Code Cooling-Off (Right of </a:t>
            </a:r>
            <a:r>
              <a:rPr lang="de-AT" dirty="0" err="1"/>
              <a:t>Reflection</a:t>
            </a:r>
            <a:r>
              <a:rPr lang="de-AT" dirty="0"/>
              <a:t> </a:t>
            </a:r>
            <a:r>
              <a:rPr lang="de-AT" dirty="0" err="1"/>
              <a:t>or</a:t>
            </a:r>
            <a:r>
              <a:rPr lang="de-AT" dirty="0"/>
              <a:t> Right of </a:t>
            </a:r>
            <a:r>
              <a:rPr lang="de-AT" dirty="0" err="1"/>
              <a:t>Withdrawal</a:t>
            </a:r>
            <a:r>
              <a:rPr lang="de-AT" dirty="0"/>
              <a:t>)</a:t>
            </a:r>
          </a:p>
        </p:txBody>
      </p:sp>
      <p:sp>
        <p:nvSpPr>
          <p:cNvPr id="4" name="Slide Number Placeholder 3">
            <a:extLst>
              <a:ext uri="{FF2B5EF4-FFF2-40B4-BE49-F238E27FC236}">
                <a16:creationId xmlns:a16="http://schemas.microsoft.com/office/drawing/2014/main" id="{E92C1F4C-BAA7-4D66-A70F-6C6921EB3B00}"/>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6</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9747F8B6-02C9-4FC3-8B9A-876E20C94D57}"/>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sp>
        <p:nvSpPr>
          <p:cNvPr id="23" name="TextBox 22">
            <a:extLst>
              <a:ext uri="{FF2B5EF4-FFF2-40B4-BE49-F238E27FC236}">
                <a16:creationId xmlns:a16="http://schemas.microsoft.com/office/drawing/2014/main" id="{BC7C2141-9F76-43EF-98CA-2132286A7E58}"/>
              </a:ext>
            </a:extLst>
          </p:cNvPr>
          <p:cNvSpPr txBox="1"/>
          <p:nvPr/>
        </p:nvSpPr>
        <p:spPr>
          <a:xfrm>
            <a:off x="5654842" y="2959768"/>
            <a:ext cx="914400" cy="914400"/>
          </a:xfrm>
          <a:prstGeom prst="rect">
            <a:avLst/>
          </a:prstGeom>
          <a:noFill/>
          <a:ln w="12700" cap="sq">
            <a:noFill/>
            <a:miter lim="800000"/>
          </a:ln>
        </p:spPr>
        <p:txBody>
          <a:bodyPr wrap="square" lIns="61200" tIns="36576" rIns="0" bIns="0" rtlCol="0">
            <a:noAutofit/>
          </a:bodyPr>
          <a:lstStyle/>
          <a:p>
            <a: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pPr>
            <a:endParaRPr kumimoji="0" lang="de-AT" sz="1400" b="0" i="0" u="none" strike="noStrike" kern="0" cap="none" spc="0" normalizeH="0" baseline="0" noProof="0" dirty="0">
              <a:ln>
                <a:noFill/>
              </a:ln>
              <a:solidFill>
                <a:schemeClr val="bg1"/>
              </a:solidFill>
              <a:effectLst/>
              <a:uLnTx/>
              <a:uFillTx/>
            </a:endParaRPr>
          </a:p>
        </p:txBody>
      </p:sp>
      <p:grpSp>
        <p:nvGrpSpPr>
          <p:cNvPr id="66" name="Group 65">
            <a:extLst>
              <a:ext uri="{FF2B5EF4-FFF2-40B4-BE49-F238E27FC236}">
                <a16:creationId xmlns:a16="http://schemas.microsoft.com/office/drawing/2014/main" id="{97CF6859-F951-4136-BBAF-3392E7FA1EE1}"/>
              </a:ext>
            </a:extLst>
          </p:cNvPr>
          <p:cNvGrpSpPr/>
          <p:nvPr/>
        </p:nvGrpSpPr>
        <p:grpSpPr>
          <a:xfrm>
            <a:off x="624757" y="1131672"/>
            <a:ext cx="8779337" cy="5560325"/>
            <a:chOff x="609601" y="1360977"/>
            <a:chExt cx="10981142" cy="756408"/>
          </a:xfrm>
        </p:grpSpPr>
        <p:sp>
          <p:nvSpPr>
            <p:cNvPr id="67" name="Rectangle 66">
              <a:extLst>
                <a:ext uri="{FF2B5EF4-FFF2-40B4-BE49-F238E27FC236}">
                  <a16:creationId xmlns:a16="http://schemas.microsoft.com/office/drawing/2014/main" id="{EB7BB794-3086-4215-9148-62F830FFF1D6}"/>
                </a:ext>
              </a:extLst>
            </p:cNvPr>
            <p:cNvSpPr/>
            <p:nvPr/>
          </p:nvSpPr>
          <p:spPr>
            <a:xfrm>
              <a:off x="609601" y="1360977"/>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a) Whenever Consumers are given the right to a cooling-off period</a:t>
              </a:r>
            </a:p>
            <a:p>
              <a:pPr marL="800100" lvl="1" indent="-342900" defTabSz="685434">
                <a:spcBef>
                  <a:spcPct val="20000"/>
                </a:spcBef>
                <a:buClr>
                  <a:srgbClr val="FFE600"/>
                </a:buClr>
                <a:buSzPct val="80000"/>
                <a:buFont typeface="+mj-lt"/>
                <a:buAutoNum type="arabicPeriod"/>
              </a:pPr>
              <a:r>
                <a:rPr lang="en-US" sz="1600" kern="0" dirty="0">
                  <a:solidFill>
                    <a:schemeClr val="bg1"/>
                  </a:solidFill>
                </a:rPr>
                <a:t>such right must be coded into the SMART CONTRACT, to further protect CONSUMERS,</a:t>
              </a:r>
            </a:p>
            <a:p>
              <a:pPr marL="800100" lvl="1" indent="-342900" defTabSz="685434">
                <a:spcBef>
                  <a:spcPct val="20000"/>
                </a:spcBef>
                <a:buClr>
                  <a:srgbClr val="FFE600"/>
                </a:buClr>
                <a:buSzPct val="80000"/>
                <a:buFont typeface="+mj-lt"/>
                <a:buAutoNum type="arabicPeriod"/>
              </a:pPr>
              <a:r>
                <a:rPr lang="en-US" sz="1600" kern="0" dirty="0">
                  <a:solidFill>
                    <a:schemeClr val="bg1"/>
                  </a:solidFill>
                </a:rPr>
                <a:t>in such a way that any right which a CONSUMER has regarding a cooling-off period can be exercised on-chain as off-chain and</a:t>
              </a:r>
            </a:p>
            <a:p>
              <a:pPr marL="800100" lvl="1" indent="-342900" defTabSz="685434">
                <a:spcBef>
                  <a:spcPct val="20000"/>
                </a:spcBef>
                <a:buClr>
                  <a:srgbClr val="FFE600"/>
                </a:buClr>
                <a:buSzPct val="80000"/>
                <a:buFont typeface="+mj-lt"/>
                <a:buAutoNum type="arabicPeriod"/>
              </a:pPr>
              <a:r>
                <a:rPr lang="en-US" sz="1600" kern="0" dirty="0">
                  <a:solidFill>
                    <a:schemeClr val="bg1"/>
                  </a:solidFill>
                </a:rPr>
                <a:t>the consumer is informed about such a right.</a:t>
              </a:r>
            </a:p>
            <a:p>
              <a:pPr lvl="1" defTabSz="685434">
                <a:spcBef>
                  <a:spcPct val="20000"/>
                </a:spcBef>
                <a:buClr>
                  <a:srgbClr val="FFE600"/>
                </a:buClr>
                <a:buSzPct val="80000"/>
              </a:pPr>
              <a:endParaRPr lang="en-US" sz="1600" kern="0" dirty="0">
                <a:solidFill>
                  <a:schemeClr val="bg1"/>
                </a:solidFill>
              </a:endParaRPr>
            </a:p>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b) A period of reflection shall be coded in such a way that the SMART CONTRACT only begins to execute in conformity with the applicable right to such a period.</a:t>
              </a:r>
            </a:p>
            <a:p>
              <a:pPr marR="0" defTabSz="685434" eaLnBrk="1" fontAlgn="auto" latinLnBrk="0" hangingPunct="1">
                <a:lnSpc>
                  <a:spcPct val="100000"/>
                </a:lnSpc>
                <a:spcBef>
                  <a:spcPct val="20000"/>
                </a:spcBef>
                <a:spcAft>
                  <a:spcPts val="0"/>
                </a:spcAft>
                <a:buClr>
                  <a:srgbClr val="FFE600"/>
                </a:buClr>
                <a:buSzPct val="80000"/>
                <a:tabLst/>
              </a:pPr>
              <a:endParaRPr lang="en-GB" sz="1600" kern="0" dirty="0">
                <a:solidFill>
                  <a:schemeClr val="bg1"/>
                </a:solidFill>
              </a:endParaRPr>
            </a:p>
          </p:txBody>
        </p:sp>
        <p:grpSp>
          <p:nvGrpSpPr>
            <p:cNvPr id="68" name="Group 67">
              <a:extLst>
                <a:ext uri="{FF2B5EF4-FFF2-40B4-BE49-F238E27FC236}">
                  <a16:creationId xmlns:a16="http://schemas.microsoft.com/office/drawing/2014/main" id="{63BAA7C8-D3C2-4787-873F-B8946A97FF4C}"/>
                </a:ext>
              </a:extLst>
            </p:cNvPr>
            <p:cNvGrpSpPr/>
            <p:nvPr/>
          </p:nvGrpSpPr>
          <p:grpSpPr>
            <a:xfrm>
              <a:off x="11444402" y="1393610"/>
              <a:ext cx="146341" cy="239780"/>
              <a:chOff x="4011103" y="2105333"/>
              <a:chExt cx="146341" cy="239780"/>
            </a:xfrm>
          </p:grpSpPr>
          <p:grpSp>
            <p:nvGrpSpPr>
              <p:cNvPr id="73" name="Group 72">
                <a:extLst>
                  <a:ext uri="{FF2B5EF4-FFF2-40B4-BE49-F238E27FC236}">
                    <a16:creationId xmlns:a16="http://schemas.microsoft.com/office/drawing/2014/main" id="{53571E3D-02F5-4247-BB78-4901BB1CD2D0}"/>
                  </a:ext>
                </a:extLst>
              </p:cNvPr>
              <p:cNvGrpSpPr/>
              <p:nvPr/>
            </p:nvGrpSpPr>
            <p:grpSpPr>
              <a:xfrm rot="10800000">
                <a:off x="4011103" y="2137035"/>
                <a:ext cx="40849" cy="208078"/>
                <a:chOff x="906170" y="2076504"/>
                <a:chExt cx="79774" cy="406348"/>
              </a:xfrm>
            </p:grpSpPr>
            <p:sp>
              <p:nvSpPr>
                <p:cNvPr id="84" name="Rectangle 83">
                  <a:extLst>
                    <a:ext uri="{FF2B5EF4-FFF2-40B4-BE49-F238E27FC236}">
                      <a16:creationId xmlns:a16="http://schemas.microsoft.com/office/drawing/2014/main" id="{9108241F-D8B4-4681-A445-51010238D661}"/>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5" name="Rectangle 84">
                  <a:extLst>
                    <a:ext uri="{FF2B5EF4-FFF2-40B4-BE49-F238E27FC236}">
                      <a16:creationId xmlns:a16="http://schemas.microsoft.com/office/drawing/2014/main" id="{BAE050BA-7868-4E7B-A86E-ADF4FD73E03E}"/>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6" name="Rectangle 85">
                  <a:extLst>
                    <a:ext uri="{FF2B5EF4-FFF2-40B4-BE49-F238E27FC236}">
                      <a16:creationId xmlns:a16="http://schemas.microsoft.com/office/drawing/2014/main" id="{7F136E01-ADB2-4757-B9E7-5F58CA11EA73}"/>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74" name="Straight Connector 73">
                <a:extLst>
                  <a:ext uri="{FF2B5EF4-FFF2-40B4-BE49-F238E27FC236}">
                    <a16:creationId xmlns:a16="http://schemas.microsoft.com/office/drawing/2014/main" id="{756019C9-EEF1-40CD-BBC0-910D70F37A33}"/>
                  </a:ext>
                </a:extLst>
              </p:cNvPr>
              <p:cNvCxnSpPr>
                <a:stCxn id="86"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F6FC095-24F4-4263-A685-6EAC516D1E9B}"/>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43ACB234-87A9-47E7-9906-F086EB11BCCE}"/>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77" name="Straight Connector 76">
                <a:extLst>
                  <a:ext uri="{FF2B5EF4-FFF2-40B4-BE49-F238E27FC236}">
                    <a16:creationId xmlns:a16="http://schemas.microsoft.com/office/drawing/2014/main" id="{FE4F9789-8317-49B3-90DB-5C8C8D62D296}"/>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52755F-478D-4A32-8389-CA8412DD750A}"/>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0FF57AE-5C78-4BE6-845F-827F8D59A0B4}"/>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47AA068E-7982-41A0-A2CE-87EA22DD1896}"/>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81" name="Group 80">
                <a:extLst>
                  <a:ext uri="{FF2B5EF4-FFF2-40B4-BE49-F238E27FC236}">
                    <a16:creationId xmlns:a16="http://schemas.microsoft.com/office/drawing/2014/main" id="{31C27D4E-5961-4F24-8F7E-159FD98E7179}"/>
                  </a:ext>
                </a:extLst>
              </p:cNvPr>
              <p:cNvGrpSpPr/>
              <p:nvPr/>
            </p:nvGrpSpPr>
            <p:grpSpPr>
              <a:xfrm rot="10800000">
                <a:off x="4051953" y="2312907"/>
                <a:ext cx="105491" cy="26825"/>
                <a:chOff x="1476522" y="2083779"/>
                <a:chExt cx="206012" cy="52386"/>
              </a:xfrm>
            </p:grpSpPr>
            <p:cxnSp>
              <p:nvCxnSpPr>
                <p:cNvPr id="82" name="Straight Connector 81">
                  <a:extLst>
                    <a:ext uri="{FF2B5EF4-FFF2-40B4-BE49-F238E27FC236}">
                      <a16:creationId xmlns:a16="http://schemas.microsoft.com/office/drawing/2014/main" id="{3A6ABF11-40AB-4217-809F-A78A1472FD2A}"/>
                    </a:ext>
                  </a:extLst>
                </p:cNvPr>
                <p:cNvCxnSpPr>
                  <a:stCxn id="84" idx="1"/>
                  <a:endCxn id="83"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38B7537-D36B-4EF9-85DF-054929F30990}"/>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69" name="Group 68">
              <a:extLst>
                <a:ext uri="{FF2B5EF4-FFF2-40B4-BE49-F238E27FC236}">
                  <a16:creationId xmlns:a16="http://schemas.microsoft.com/office/drawing/2014/main" id="{15167A09-2352-4CD6-83AA-A3B7DBDF510A}"/>
                </a:ext>
              </a:extLst>
            </p:cNvPr>
            <p:cNvGrpSpPr/>
            <p:nvPr/>
          </p:nvGrpSpPr>
          <p:grpSpPr>
            <a:xfrm>
              <a:off x="10735874" y="1859016"/>
              <a:ext cx="384181" cy="55099"/>
              <a:chOff x="3609347" y="2150884"/>
              <a:chExt cx="323386" cy="72179"/>
            </a:xfrm>
          </p:grpSpPr>
          <p:sp>
            <p:nvSpPr>
              <p:cNvPr id="70" name="Rectangle: Rounded Corners 69">
                <a:extLst>
                  <a:ext uri="{FF2B5EF4-FFF2-40B4-BE49-F238E27FC236}">
                    <a16:creationId xmlns:a16="http://schemas.microsoft.com/office/drawing/2014/main" id="{FC933E51-7AC1-47ED-A40B-6CF158A2A0A8}"/>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1" name="Rectangle: Rounded Corners 70">
                <a:extLst>
                  <a:ext uri="{FF2B5EF4-FFF2-40B4-BE49-F238E27FC236}">
                    <a16:creationId xmlns:a16="http://schemas.microsoft.com/office/drawing/2014/main" id="{C68649D4-A7D8-4D5C-97BE-99B00A513653}"/>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2" name="Rectangle 71">
                <a:extLst>
                  <a:ext uri="{FF2B5EF4-FFF2-40B4-BE49-F238E27FC236}">
                    <a16:creationId xmlns:a16="http://schemas.microsoft.com/office/drawing/2014/main" id="{D919CC38-9699-4107-8B11-92DF30CD047D}"/>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grpSp>
        <p:nvGrpSpPr>
          <p:cNvPr id="240" name="Group 239">
            <a:extLst>
              <a:ext uri="{FF2B5EF4-FFF2-40B4-BE49-F238E27FC236}">
                <a16:creationId xmlns:a16="http://schemas.microsoft.com/office/drawing/2014/main" id="{77661ED1-AA2D-4A3C-9D6E-BFB808E56202}"/>
              </a:ext>
            </a:extLst>
          </p:cNvPr>
          <p:cNvGrpSpPr/>
          <p:nvPr/>
        </p:nvGrpSpPr>
        <p:grpSpPr>
          <a:xfrm>
            <a:off x="9462010" y="2397335"/>
            <a:ext cx="3046337" cy="3029371"/>
            <a:chOff x="7129387" y="2271837"/>
            <a:chExt cx="2537599" cy="2523467"/>
          </a:xfrm>
        </p:grpSpPr>
        <p:grpSp>
          <p:nvGrpSpPr>
            <p:cNvPr id="285" name="Group 284">
              <a:extLst>
                <a:ext uri="{FF2B5EF4-FFF2-40B4-BE49-F238E27FC236}">
                  <a16:creationId xmlns:a16="http://schemas.microsoft.com/office/drawing/2014/main" id="{2744701E-BC72-464D-8E73-6EE8C56DC3A8}"/>
                </a:ext>
              </a:extLst>
            </p:cNvPr>
            <p:cNvGrpSpPr/>
            <p:nvPr/>
          </p:nvGrpSpPr>
          <p:grpSpPr>
            <a:xfrm>
              <a:off x="7129387" y="2271837"/>
              <a:ext cx="2537599" cy="2523467"/>
              <a:chOff x="8587298" y="2727960"/>
              <a:chExt cx="5865457" cy="5832794"/>
            </a:xfrm>
          </p:grpSpPr>
          <p:sp>
            <p:nvSpPr>
              <p:cNvPr id="330" name="Freeform: Shape 329">
                <a:extLst>
                  <a:ext uri="{FF2B5EF4-FFF2-40B4-BE49-F238E27FC236}">
                    <a16:creationId xmlns:a16="http://schemas.microsoft.com/office/drawing/2014/main" id="{4C1F4DDD-613F-42D4-A183-59C671B72EA2}"/>
                  </a:ext>
                </a:extLst>
              </p:cNvPr>
              <p:cNvSpPr/>
              <p:nvPr/>
            </p:nvSpPr>
            <p:spPr>
              <a:xfrm>
                <a:off x="9178723" y="6495330"/>
                <a:ext cx="135642" cy="54263"/>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331" name="Freeform: Shape 330">
                <a:extLst>
                  <a:ext uri="{FF2B5EF4-FFF2-40B4-BE49-F238E27FC236}">
                    <a16:creationId xmlns:a16="http://schemas.microsoft.com/office/drawing/2014/main" id="{CC6BFB6D-C9DB-43E7-BE83-BA5F3681B3F9}"/>
                  </a:ext>
                </a:extLst>
              </p:cNvPr>
              <p:cNvSpPr/>
              <p:nvPr/>
            </p:nvSpPr>
            <p:spPr>
              <a:xfrm>
                <a:off x="9030593" y="5944055"/>
                <a:ext cx="135642" cy="2713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332" name="Freeform: Shape 331">
                <a:extLst>
                  <a:ext uri="{FF2B5EF4-FFF2-40B4-BE49-F238E27FC236}">
                    <a16:creationId xmlns:a16="http://schemas.microsoft.com/office/drawing/2014/main" id="{37F0E59D-C981-4312-85E9-27D6849858D0}"/>
                  </a:ext>
                </a:extLst>
              </p:cNvPr>
              <p:cNvSpPr/>
              <p:nvPr/>
            </p:nvSpPr>
            <p:spPr>
              <a:xfrm>
                <a:off x="10490151" y="3323370"/>
                <a:ext cx="81395" cy="135642"/>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333" name="Freeform: Shape 332">
                <a:extLst>
                  <a:ext uri="{FF2B5EF4-FFF2-40B4-BE49-F238E27FC236}">
                    <a16:creationId xmlns:a16="http://schemas.microsoft.com/office/drawing/2014/main" id="{C5B80B06-CB6E-4E46-BB2F-B55174E1E130}"/>
                  </a:ext>
                </a:extLst>
              </p:cNvPr>
              <p:cNvSpPr/>
              <p:nvPr/>
            </p:nvSpPr>
            <p:spPr>
              <a:xfrm>
                <a:off x="9113598" y="6315458"/>
                <a:ext cx="135642" cy="54263"/>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334" name="Freeform: Shape 333">
                <a:extLst>
                  <a:ext uri="{FF2B5EF4-FFF2-40B4-BE49-F238E27FC236}">
                    <a16:creationId xmlns:a16="http://schemas.microsoft.com/office/drawing/2014/main" id="{521219F1-F2E5-440B-9011-D235E553262D}"/>
                  </a:ext>
                </a:extLst>
              </p:cNvPr>
              <p:cNvSpPr/>
              <p:nvPr/>
            </p:nvSpPr>
            <p:spPr>
              <a:xfrm>
                <a:off x="9012964" y="5754962"/>
                <a:ext cx="135642" cy="2713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335" name="Freeform: Shape 334">
                <a:extLst>
                  <a:ext uri="{FF2B5EF4-FFF2-40B4-BE49-F238E27FC236}">
                    <a16:creationId xmlns:a16="http://schemas.microsoft.com/office/drawing/2014/main" id="{E48F8CD7-8588-4669-B7C4-8A35336FACC9}"/>
                  </a:ext>
                </a:extLst>
              </p:cNvPr>
              <p:cNvSpPr/>
              <p:nvPr/>
            </p:nvSpPr>
            <p:spPr>
              <a:xfrm>
                <a:off x="9097328" y="4960347"/>
                <a:ext cx="135642" cy="54263"/>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336" name="Freeform: Shape 335">
                <a:extLst>
                  <a:ext uri="{FF2B5EF4-FFF2-40B4-BE49-F238E27FC236}">
                    <a16:creationId xmlns:a16="http://schemas.microsoft.com/office/drawing/2014/main" id="{B2AEDE01-54E4-4C82-B54A-3F5FBB932E81}"/>
                  </a:ext>
                </a:extLst>
              </p:cNvPr>
              <p:cNvSpPr/>
              <p:nvPr/>
            </p:nvSpPr>
            <p:spPr>
              <a:xfrm>
                <a:off x="9010792" y="5559633"/>
                <a:ext cx="135642" cy="2713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337" name="Freeform: Shape 336">
                <a:extLst>
                  <a:ext uri="{FF2B5EF4-FFF2-40B4-BE49-F238E27FC236}">
                    <a16:creationId xmlns:a16="http://schemas.microsoft.com/office/drawing/2014/main" id="{4051E13A-3D62-4F05-9669-7CB65381827A}"/>
                  </a:ext>
                </a:extLst>
              </p:cNvPr>
              <p:cNvSpPr/>
              <p:nvPr/>
            </p:nvSpPr>
            <p:spPr>
              <a:xfrm>
                <a:off x="9157827" y="4767456"/>
                <a:ext cx="135642" cy="54263"/>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338" name="Freeform: Shape 337">
                <a:extLst>
                  <a:ext uri="{FF2B5EF4-FFF2-40B4-BE49-F238E27FC236}">
                    <a16:creationId xmlns:a16="http://schemas.microsoft.com/office/drawing/2014/main" id="{84B40C0C-C657-4B15-A1D9-E6BD2926CD63}"/>
                  </a:ext>
                </a:extLst>
              </p:cNvPr>
              <p:cNvSpPr/>
              <p:nvPr/>
            </p:nvSpPr>
            <p:spPr>
              <a:xfrm>
                <a:off x="9023545" y="5357787"/>
                <a:ext cx="135642" cy="2713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339" name="Freeform: Shape 338">
                <a:extLst>
                  <a:ext uri="{FF2B5EF4-FFF2-40B4-BE49-F238E27FC236}">
                    <a16:creationId xmlns:a16="http://schemas.microsoft.com/office/drawing/2014/main" id="{2F9E9C47-4114-4DEC-8243-FF447561F538}"/>
                  </a:ext>
                </a:extLst>
              </p:cNvPr>
              <p:cNvSpPr/>
              <p:nvPr/>
            </p:nvSpPr>
            <p:spPr>
              <a:xfrm>
                <a:off x="9052567" y="5157582"/>
                <a:ext cx="135642" cy="2713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340" name="Freeform: Shape 339">
                <a:extLst>
                  <a:ext uri="{FF2B5EF4-FFF2-40B4-BE49-F238E27FC236}">
                    <a16:creationId xmlns:a16="http://schemas.microsoft.com/office/drawing/2014/main" id="{88DECEAD-C452-4D67-909B-0E586D037A87}"/>
                  </a:ext>
                </a:extLst>
              </p:cNvPr>
              <p:cNvSpPr/>
              <p:nvPr/>
            </p:nvSpPr>
            <p:spPr>
              <a:xfrm>
                <a:off x="10020537" y="7543335"/>
                <a:ext cx="108526" cy="135642"/>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341" name="Freeform: Shape 340">
                <a:extLst>
                  <a:ext uri="{FF2B5EF4-FFF2-40B4-BE49-F238E27FC236}">
                    <a16:creationId xmlns:a16="http://schemas.microsoft.com/office/drawing/2014/main" id="{95C84816-37B9-4F76-90DF-FF152EBBBF25}"/>
                  </a:ext>
                </a:extLst>
              </p:cNvPr>
              <p:cNvSpPr/>
              <p:nvPr/>
            </p:nvSpPr>
            <p:spPr>
              <a:xfrm>
                <a:off x="9863999" y="7422868"/>
                <a:ext cx="108526" cy="108526"/>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342" name="Freeform: Shape 341">
                <a:extLst>
                  <a:ext uri="{FF2B5EF4-FFF2-40B4-BE49-F238E27FC236}">
                    <a16:creationId xmlns:a16="http://schemas.microsoft.com/office/drawing/2014/main" id="{DA6F428C-2200-4EC9-850C-A9C2FFC3BBC5}"/>
                  </a:ext>
                </a:extLst>
              </p:cNvPr>
              <p:cNvSpPr/>
              <p:nvPr/>
            </p:nvSpPr>
            <p:spPr>
              <a:xfrm>
                <a:off x="10186577" y="7652111"/>
                <a:ext cx="81395" cy="135642"/>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343" name="Freeform: Shape 342">
                <a:extLst>
                  <a:ext uri="{FF2B5EF4-FFF2-40B4-BE49-F238E27FC236}">
                    <a16:creationId xmlns:a16="http://schemas.microsoft.com/office/drawing/2014/main" id="{BFC70B5D-F914-40F8-9636-FEBBA2D072AD}"/>
                  </a:ext>
                </a:extLst>
              </p:cNvPr>
              <p:cNvSpPr/>
              <p:nvPr/>
            </p:nvSpPr>
            <p:spPr>
              <a:xfrm>
                <a:off x="9258742" y="6669763"/>
                <a:ext cx="135642" cy="81395"/>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344" name="Freeform: Shape 343">
                <a:extLst>
                  <a:ext uri="{FF2B5EF4-FFF2-40B4-BE49-F238E27FC236}">
                    <a16:creationId xmlns:a16="http://schemas.microsoft.com/office/drawing/2014/main" id="{790D41CB-21A2-4E27-B237-AF378D928F28}"/>
                  </a:ext>
                </a:extLst>
              </p:cNvPr>
              <p:cNvSpPr/>
              <p:nvPr/>
            </p:nvSpPr>
            <p:spPr>
              <a:xfrm>
                <a:off x="10361557" y="7748150"/>
                <a:ext cx="81395" cy="135642"/>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345" name="Freeform: Shape 344">
                <a:extLst>
                  <a:ext uri="{FF2B5EF4-FFF2-40B4-BE49-F238E27FC236}">
                    <a16:creationId xmlns:a16="http://schemas.microsoft.com/office/drawing/2014/main" id="{82D9F8A0-88AE-40BB-9B3E-664EACA83B8D}"/>
                  </a:ext>
                </a:extLst>
              </p:cNvPr>
              <p:cNvSpPr/>
              <p:nvPr/>
            </p:nvSpPr>
            <p:spPr>
              <a:xfrm>
                <a:off x="9718042" y="7291023"/>
                <a:ext cx="108526" cy="108526"/>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424BB5FF-7E28-4C36-AC76-6B7D35C99540}"/>
                  </a:ext>
                </a:extLst>
              </p:cNvPr>
              <p:cNvSpPr/>
              <p:nvPr/>
            </p:nvSpPr>
            <p:spPr>
              <a:xfrm>
                <a:off x="9353437" y="6837147"/>
                <a:ext cx="135642" cy="81395"/>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5978FA31-53D6-44A5-8558-D8AE111FCB10}"/>
                  </a:ext>
                </a:extLst>
              </p:cNvPr>
              <p:cNvSpPr/>
              <p:nvPr/>
            </p:nvSpPr>
            <p:spPr>
              <a:xfrm>
                <a:off x="9462214" y="6997217"/>
                <a:ext cx="135642" cy="81395"/>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348" name="Freeform: Shape 347">
                <a:extLst>
                  <a:ext uri="{FF2B5EF4-FFF2-40B4-BE49-F238E27FC236}">
                    <a16:creationId xmlns:a16="http://schemas.microsoft.com/office/drawing/2014/main" id="{1F6F9106-9FCE-4BE3-830B-563FAF64D8C0}"/>
                  </a:ext>
                </a:extLst>
              </p:cNvPr>
              <p:cNvSpPr/>
              <p:nvPr/>
            </p:nvSpPr>
            <p:spPr>
              <a:xfrm>
                <a:off x="9584025" y="7148864"/>
                <a:ext cx="108526" cy="108526"/>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349" name="Freeform: Shape 348">
                <a:extLst>
                  <a:ext uri="{FF2B5EF4-FFF2-40B4-BE49-F238E27FC236}">
                    <a16:creationId xmlns:a16="http://schemas.microsoft.com/office/drawing/2014/main" id="{0D44B473-13CA-4F36-AFBB-5BDCE4E2F75A}"/>
                  </a:ext>
                </a:extLst>
              </p:cNvPr>
              <p:cNvSpPr/>
              <p:nvPr/>
            </p:nvSpPr>
            <p:spPr>
              <a:xfrm>
                <a:off x="9063961" y="6131522"/>
                <a:ext cx="135642" cy="2713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350" name="Freeform: Shape 349">
                <a:extLst>
                  <a:ext uri="{FF2B5EF4-FFF2-40B4-BE49-F238E27FC236}">
                    <a16:creationId xmlns:a16="http://schemas.microsoft.com/office/drawing/2014/main" id="{3E04713B-11B1-4DC7-8ED7-E296ABFD11A7}"/>
                  </a:ext>
                </a:extLst>
              </p:cNvPr>
              <p:cNvSpPr/>
              <p:nvPr/>
            </p:nvSpPr>
            <p:spPr>
              <a:xfrm>
                <a:off x="13333577" y="3953852"/>
                <a:ext cx="108526" cy="108526"/>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351" name="Freeform: Shape 350">
                <a:extLst>
                  <a:ext uri="{FF2B5EF4-FFF2-40B4-BE49-F238E27FC236}">
                    <a16:creationId xmlns:a16="http://schemas.microsoft.com/office/drawing/2014/main" id="{BFA5B625-608F-4079-B10C-3F86BE905461}"/>
                  </a:ext>
                </a:extLst>
              </p:cNvPr>
              <p:cNvSpPr/>
              <p:nvPr/>
            </p:nvSpPr>
            <p:spPr>
              <a:xfrm>
                <a:off x="13658312" y="4450864"/>
                <a:ext cx="135642" cy="81395"/>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352" name="Freeform: Shape 351">
                <a:extLst>
                  <a:ext uri="{FF2B5EF4-FFF2-40B4-BE49-F238E27FC236}">
                    <a16:creationId xmlns:a16="http://schemas.microsoft.com/office/drawing/2014/main" id="{02730746-817A-4EF0-BE5E-87CC7B0A63FE}"/>
                  </a:ext>
                </a:extLst>
              </p:cNvPr>
              <p:cNvSpPr/>
              <p:nvPr/>
            </p:nvSpPr>
            <p:spPr>
              <a:xfrm>
                <a:off x="13740785" y="4633173"/>
                <a:ext cx="135642" cy="54263"/>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353" name="Freeform: Shape 352">
                <a:extLst>
                  <a:ext uri="{FF2B5EF4-FFF2-40B4-BE49-F238E27FC236}">
                    <a16:creationId xmlns:a16="http://schemas.microsoft.com/office/drawing/2014/main" id="{56FB5D2E-F87B-4FEF-93CB-F484B52FDADB}"/>
                  </a:ext>
                </a:extLst>
              </p:cNvPr>
              <p:cNvSpPr/>
              <p:nvPr/>
            </p:nvSpPr>
            <p:spPr>
              <a:xfrm>
                <a:off x="13454028" y="4110390"/>
                <a:ext cx="135642" cy="108526"/>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354" name="Freeform: Shape 353">
                <a:extLst>
                  <a:ext uri="{FF2B5EF4-FFF2-40B4-BE49-F238E27FC236}">
                    <a16:creationId xmlns:a16="http://schemas.microsoft.com/office/drawing/2014/main" id="{46CB6B49-3BB0-44FA-8940-4C11C20BE855}"/>
                  </a:ext>
                </a:extLst>
              </p:cNvPr>
              <p:cNvSpPr/>
              <p:nvPr/>
            </p:nvSpPr>
            <p:spPr>
              <a:xfrm>
                <a:off x="13809161" y="4821719"/>
                <a:ext cx="135642" cy="54263"/>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355" name="Freeform: Shape 354">
                <a:extLst>
                  <a:ext uri="{FF2B5EF4-FFF2-40B4-BE49-F238E27FC236}">
                    <a16:creationId xmlns:a16="http://schemas.microsoft.com/office/drawing/2014/main" id="{1A11A244-1E62-4A2A-9E62-D95F5DEC4526}"/>
                  </a:ext>
                </a:extLst>
              </p:cNvPr>
              <p:cNvSpPr/>
              <p:nvPr/>
            </p:nvSpPr>
            <p:spPr>
              <a:xfrm>
                <a:off x="13863143" y="5015970"/>
                <a:ext cx="135642" cy="54263"/>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356" name="Freeform: Shape 355">
                <a:extLst>
                  <a:ext uri="{FF2B5EF4-FFF2-40B4-BE49-F238E27FC236}">
                    <a16:creationId xmlns:a16="http://schemas.microsoft.com/office/drawing/2014/main" id="{DF61B1DD-03D0-42DF-A294-5D7B7D05B11A}"/>
                  </a:ext>
                </a:extLst>
              </p:cNvPr>
              <p:cNvSpPr/>
              <p:nvPr/>
            </p:nvSpPr>
            <p:spPr>
              <a:xfrm>
                <a:off x="13936114" y="5616866"/>
                <a:ext cx="135642" cy="2713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357" name="Freeform: Shape 356">
                <a:extLst>
                  <a:ext uri="{FF2B5EF4-FFF2-40B4-BE49-F238E27FC236}">
                    <a16:creationId xmlns:a16="http://schemas.microsoft.com/office/drawing/2014/main" id="{37490309-AD37-459F-A0EB-F7B5591FAECF}"/>
                  </a:ext>
                </a:extLst>
              </p:cNvPr>
              <p:cNvSpPr/>
              <p:nvPr/>
            </p:nvSpPr>
            <p:spPr>
              <a:xfrm>
                <a:off x="13926627" y="5414489"/>
                <a:ext cx="135642" cy="2713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358" name="Freeform: Shape 357">
                <a:extLst>
                  <a:ext uri="{FF2B5EF4-FFF2-40B4-BE49-F238E27FC236}">
                    <a16:creationId xmlns:a16="http://schemas.microsoft.com/office/drawing/2014/main" id="{2AC4E1D0-56B7-4591-9460-E0CBC9C67258}"/>
                  </a:ext>
                </a:extLst>
              </p:cNvPr>
              <p:cNvSpPr/>
              <p:nvPr/>
            </p:nvSpPr>
            <p:spPr>
              <a:xfrm>
                <a:off x="13902481" y="5214002"/>
                <a:ext cx="135642" cy="2713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359" name="Freeform: Shape 358">
                <a:extLst>
                  <a:ext uri="{FF2B5EF4-FFF2-40B4-BE49-F238E27FC236}">
                    <a16:creationId xmlns:a16="http://schemas.microsoft.com/office/drawing/2014/main" id="{F533FA88-A5A0-432A-928D-EA4D427DE924}"/>
                  </a:ext>
                </a:extLst>
              </p:cNvPr>
              <p:cNvSpPr/>
              <p:nvPr/>
            </p:nvSpPr>
            <p:spPr>
              <a:xfrm>
                <a:off x="10137737" y="3518965"/>
                <a:ext cx="81395" cy="135642"/>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360" name="Freeform: Shape 359">
                <a:extLst>
                  <a:ext uri="{FF2B5EF4-FFF2-40B4-BE49-F238E27FC236}">
                    <a16:creationId xmlns:a16="http://schemas.microsoft.com/office/drawing/2014/main" id="{B65D566D-8631-4BE3-A385-DD4FD50EA484}"/>
                  </a:ext>
                </a:extLst>
              </p:cNvPr>
              <p:cNvSpPr/>
              <p:nvPr/>
            </p:nvSpPr>
            <p:spPr>
              <a:xfrm>
                <a:off x="9429393" y="4227309"/>
                <a:ext cx="135642" cy="81395"/>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361" name="Freeform: Shape 360">
                <a:extLst>
                  <a:ext uri="{FF2B5EF4-FFF2-40B4-BE49-F238E27FC236}">
                    <a16:creationId xmlns:a16="http://schemas.microsoft.com/office/drawing/2014/main" id="{7086F2C8-A120-4387-868D-659F8E12F988}"/>
                  </a:ext>
                </a:extLst>
              </p:cNvPr>
              <p:cNvSpPr/>
              <p:nvPr/>
            </p:nvSpPr>
            <p:spPr>
              <a:xfrm>
                <a:off x="9547672" y="4063722"/>
                <a:ext cx="108526" cy="108526"/>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362" name="Freeform: Shape 361">
                <a:extLst>
                  <a:ext uri="{FF2B5EF4-FFF2-40B4-BE49-F238E27FC236}">
                    <a16:creationId xmlns:a16="http://schemas.microsoft.com/office/drawing/2014/main" id="{18E1DBFF-DE98-43B2-9CCD-55AC638597E5}"/>
                  </a:ext>
                </a:extLst>
              </p:cNvPr>
              <p:cNvSpPr/>
              <p:nvPr/>
            </p:nvSpPr>
            <p:spPr>
              <a:xfrm>
                <a:off x="9324399" y="4399585"/>
                <a:ext cx="135642" cy="81395"/>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363" name="Freeform: Shape 362">
                <a:extLst>
                  <a:ext uri="{FF2B5EF4-FFF2-40B4-BE49-F238E27FC236}">
                    <a16:creationId xmlns:a16="http://schemas.microsoft.com/office/drawing/2014/main" id="{238796EF-B361-40BA-B847-43749446AEE1}"/>
                  </a:ext>
                </a:extLst>
              </p:cNvPr>
              <p:cNvSpPr/>
              <p:nvPr/>
            </p:nvSpPr>
            <p:spPr>
              <a:xfrm>
                <a:off x="9678438" y="3910185"/>
                <a:ext cx="108526" cy="108526"/>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364" name="Freeform: Shape 363">
                <a:extLst>
                  <a:ext uri="{FF2B5EF4-FFF2-40B4-BE49-F238E27FC236}">
                    <a16:creationId xmlns:a16="http://schemas.microsoft.com/office/drawing/2014/main" id="{FB09A901-4977-4887-8C88-83AFE1A85333}"/>
                  </a:ext>
                </a:extLst>
              </p:cNvPr>
              <p:cNvSpPr/>
              <p:nvPr/>
            </p:nvSpPr>
            <p:spPr>
              <a:xfrm>
                <a:off x="9820863" y="3767744"/>
                <a:ext cx="108526" cy="108526"/>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365" name="Freeform: Shape 364">
                <a:extLst>
                  <a:ext uri="{FF2B5EF4-FFF2-40B4-BE49-F238E27FC236}">
                    <a16:creationId xmlns:a16="http://schemas.microsoft.com/office/drawing/2014/main" id="{3A6C9318-3747-486C-B73B-FBB8FAC3C6BF}"/>
                  </a:ext>
                </a:extLst>
              </p:cNvPr>
              <p:cNvSpPr/>
              <p:nvPr/>
            </p:nvSpPr>
            <p:spPr>
              <a:xfrm>
                <a:off x="13201998" y="3807895"/>
                <a:ext cx="108526" cy="108526"/>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366" name="Freeform: Shape 365">
                <a:extLst>
                  <a:ext uri="{FF2B5EF4-FFF2-40B4-BE49-F238E27FC236}">
                    <a16:creationId xmlns:a16="http://schemas.microsoft.com/office/drawing/2014/main" id="{E353010F-CBF5-4052-A595-9A33F45E6A56}"/>
                  </a:ext>
                </a:extLst>
              </p:cNvPr>
              <p:cNvSpPr/>
              <p:nvPr/>
            </p:nvSpPr>
            <p:spPr>
              <a:xfrm>
                <a:off x="10309732" y="3414252"/>
                <a:ext cx="81395" cy="135642"/>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367" name="Freeform: Shape 366">
                <a:extLst>
                  <a:ext uri="{FF2B5EF4-FFF2-40B4-BE49-F238E27FC236}">
                    <a16:creationId xmlns:a16="http://schemas.microsoft.com/office/drawing/2014/main" id="{EEE77AD3-8B43-4E29-BE76-79345EB63415}"/>
                  </a:ext>
                </a:extLst>
              </p:cNvPr>
              <p:cNvSpPr/>
              <p:nvPr/>
            </p:nvSpPr>
            <p:spPr>
              <a:xfrm>
                <a:off x="9233783" y="4580270"/>
                <a:ext cx="135642" cy="81395"/>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368" name="Freeform: Shape 367">
                <a:extLst>
                  <a:ext uri="{FF2B5EF4-FFF2-40B4-BE49-F238E27FC236}">
                    <a16:creationId xmlns:a16="http://schemas.microsoft.com/office/drawing/2014/main" id="{D7E1E232-682D-4495-9AD4-F35953D66451}"/>
                  </a:ext>
                </a:extLst>
              </p:cNvPr>
              <p:cNvSpPr/>
              <p:nvPr/>
            </p:nvSpPr>
            <p:spPr>
              <a:xfrm>
                <a:off x="9974151" y="3636712"/>
                <a:ext cx="108526" cy="108526"/>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369" name="Freeform: Shape 368">
                <a:extLst>
                  <a:ext uri="{FF2B5EF4-FFF2-40B4-BE49-F238E27FC236}">
                    <a16:creationId xmlns:a16="http://schemas.microsoft.com/office/drawing/2014/main" id="{27003917-A3D0-4AF3-96A8-2DF63EB36095}"/>
                  </a:ext>
                </a:extLst>
              </p:cNvPr>
              <p:cNvSpPr/>
              <p:nvPr/>
            </p:nvSpPr>
            <p:spPr>
              <a:xfrm>
                <a:off x="13562554" y="4276415"/>
                <a:ext cx="135642" cy="81395"/>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370" name="Freeform: Shape 369">
                <a:extLst>
                  <a:ext uri="{FF2B5EF4-FFF2-40B4-BE49-F238E27FC236}">
                    <a16:creationId xmlns:a16="http://schemas.microsoft.com/office/drawing/2014/main" id="{EEE58F5C-1698-4319-A706-9292E4750E4E}"/>
                  </a:ext>
                </a:extLst>
              </p:cNvPr>
              <p:cNvSpPr/>
              <p:nvPr/>
            </p:nvSpPr>
            <p:spPr>
              <a:xfrm>
                <a:off x="13059573" y="3673612"/>
                <a:ext cx="108526" cy="108526"/>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371" name="Freeform: Shape 370">
                <a:extLst>
                  <a:ext uri="{FF2B5EF4-FFF2-40B4-BE49-F238E27FC236}">
                    <a16:creationId xmlns:a16="http://schemas.microsoft.com/office/drawing/2014/main" id="{43486E3B-2817-4BF2-9639-4639E392D43D}"/>
                  </a:ext>
                </a:extLst>
              </p:cNvPr>
              <p:cNvSpPr/>
              <p:nvPr/>
            </p:nvSpPr>
            <p:spPr>
              <a:xfrm>
                <a:off x="12928259" y="7576421"/>
                <a:ext cx="81395" cy="135642"/>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372" name="Freeform: Shape 371">
                <a:extLst>
                  <a:ext uri="{FF2B5EF4-FFF2-40B4-BE49-F238E27FC236}">
                    <a16:creationId xmlns:a16="http://schemas.microsoft.com/office/drawing/2014/main" id="{4C1509B3-4006-4231-A5C3-C3FB66AAE526}"/>
                  </a:ext>
                </a:extLst>
              </p:cNvPr>
              <p:cNvSpPr/>
              <p:nvPr/>
            </p:nvSpPr>
            <p:spPr>
              <a:xfrm>
                <a:off x="12907911" y="3551801"/>
                <a:ext cx="81395" cy="135642"/>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373" name="Freeform: Shape 372">
                <a:extLst>
                  <a:ext uri="{FF2B5EF4-FFF2-40B4-BE49-F238E27FC236}">
                    <a16:creationId xmlns:a16="http://schemas.microsoft.com/office/drawing/2014/main" id="{91039057-3A1C-42D9-AC4D-AEF7C9A47F68}"/>
                  </a:ext>
                </a:extLst>
              </p:cNvPr>
              <p:cNvSpPr/>
              <p:nvPr/>
            </p:nvSpPr>
            <p:spPr>
              <a:xfrm>
                <a:off x="13078562" y="7459220"/>
                <a:ext cx="108526" cy="108526"/>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374" name="Freeform: Shape 373">
                <a:extLst>
                  <a:ext uri="{FF2B5EF4-FFF2-40B4-BE49-F238E27FC236}">
                    <a16:creationId xmlns:a16="http://schemas.microsoft.com/office/drawing/2014/main" id="{92CEA6F0-B557-4D7A-BED7-F5C34CBE681A}"/>
                  </a:ext>
                </a:extLst>
              </p:cNvPr>
              <p:cNvSpPr/>
              <p:nvPr/>
            </p:nvSpPr>
            <p:spPr>
              <a:xfrm>
                <a:off x="12769283" y="7681149"/>
                <a:ext cx="81395" cy="135642"/>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375" name="Freeform: Shape 374">
                <a:extLst>
                  <a:ext uri="{FF2B5EF4-FFF2-40B4-BE49-F238E27FC236}">
                    <a16:creationId xmlns:a16="http://schemas.microsoft.com/office/drawing/2014/main" id="{8D0ECEA1-89E9-4629-BB63-47B1285F6700}"/>
                  </a:ext>
                </a:extLst>
              </p:cNvPr>
              <p:cNvSpPr/>
              <p:nvPr/>
            </p:nvSpPr>
            <p:spPr>
              <a:xfrm>
                <a:off x="12602446" y="7773109"/>
                <a:ext cx="81395" cy="135642"/>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376" name="Freeform: Shape 375">
                <a:extLst>
                  <a:ext uri="{FF2B5EF4-FFF2-40B4-BE49-F238E27FC236}">
                    <a16:creationId xmlns:a16="http://schemas.microsoft.com/office/drawing/2014/main" id="{B299F6E4-6AB7-4389-83FF-0CAB9A8A7B73}"/>
                  </a:ext>
                </a:extLst>
              </p:cNvPr>
              <p:cNvSpPr/>
              <p:nvPr/>
            </p:nvSpPr>
            <p:spPr>
              <a:xfrm>
                <a:off x="13219643" y="7330361"/>
                <a:ext cx="108526" cy="108526"/>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377" name="Freeform: Shape 376">
                <a:extLst>
                  <a:ext uri="{FF2B5EF4-FFF2-40B4-BE49-F238E27FC236}">
                    <a16:creationId xmlns:a16="http://schemas.microsoft.com/office/drawing/2014/main" id="{DC52DEE3-15FA-4BDA-8E49-3F21F53D08DA}"/>
                  </a:ext>
                </a:extLst>
              </p:cNvPr>
              <p:cNvSpPr/>
              <p:nvPr/>
            </p:nvSpPr>
            <p:spPr>
              <a:xfrm>
                <a:off x="12579378" y="3348064"/>
                <a:ext cx="81395" cy="135642"/>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378" name="Freeform: Shape 377">
                <a:extLst>
                  <a:ext uri="{FF2B5EF4-FFF2-40B4-BE49-F238E27FC236}">
                    <a16:creationId xmlns:a16="http://schemas.microsoft.com/office/drawing/2014/main" id="{2796ED24-52C7-4358-87D5-56D2A80A2DD6}"/>
                  </a:ext>
                </a:extLst>
              </p:cNvPr>
              <p:cNvSpPr/>
              <p:nvPr/>
            </p:nvSpPr>
            <p:spPr>
              <a:xfrm>
                <a:off x="12747591" y="3443009"/>
                <a:ext cx="81395" cy="135642"/>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379" name="Freeform: Shape 378">
                <a:extLst>
                  <a:ext uri="{FF2B5EF4-FFF2-40B4-BE49-F238E27FC236}">
                    <a16:creationId xmlns:a16="http://schemas.microsoft.com/office/drawing/2014/main" id="{692AAFB8-98B2-4D97-96A7-8979729F761C}"/>
                  </a:ext>
                </a:extLst>
              </p:cNvPr>
              <p:cNvSpPr/>
              <p:nvPr/>
            </p:nvSpPr>
            <p:spPr>
              <a:xfrm>
                <a:off x="13669987" y="6718321"/>
                <a:ext cx="135642" cy="81395"/>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380" name="Freeform: Shape 379">
                <a:extLst>
                  <a:ext uri="{FF2B5EF4-FFF2-40B4-BE49-F238E27FC236}">
                    <a16:creationId xmlns:a16="http://schemas.microsoft.com/office/drawing/2014/main" id="{450A7D08-1B2B-4AB5-8FF3-2FFA2DA20C8B}"/>
                  </a:ext>
                </a:extLst>
              </p:cNvPr>
              <p:cNvSpPr/>
              <p:nvPr/>
            </p:nvSpPr>
            <p:spPr>
              <a:xfrm>
                <a:off x="13817554" y="6367267"/>
                <a:ext cx="135642" cy="54263"/>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381" name="Freeform: Shape 380">
                <a:extLst>
                  <a:ext uri="{FF2B5EF4-FFF2-40B4-BE49-F238E27FC236}">
                    <a16:creationId xmlns:a16="http://schemas.microsoft.com/office/drawing/2014/main" id="{5BBE698C-578B-4FBE-BDB6-C30D8C45D6E8}"/>
                  </a:ext>
                </a:extLst>
              </p:cNvPr>
              <p:cNvSpPr/>
              <p:nvPr/>
            </p:nvSpPr>
            <p:spPr>
              <a:xfrm>
                <a:off x="13906825" y="5997505"/>
                <a:ext cx="135642" cy="2713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382" name="Freeform: Shape 381">
                <a:extLst>
                  <a:ext uri="{FF2B5EF4-FFF2-40B4-BE49-F238E27FC236}">
                    <a16:creationId xmlns:a16="http://schemas.microsoft.com/office/drawing/2014/main" id="{9D574CBE-4271-4DB3-AB0A-88E4EE0B278F}"/>
                  </a:ext>
                </a:extLst>
              </p:cNvPr>
              <p:cNvSpPr/>
              <p:nvPr/>
            </p:nvSpPr>
            <p:spPr>
              <a:xfrm>
                <a:off x="13869379" y="6183879"/>
                <a:ext cx="135642" cy="54263"/>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383" name="Freeform: Shape 382">
                <a:extLst>
                  <a:ext uri="{FF2B5EF4-FFF2-40B4-BE49-F238E27FC236}">
                    <a16:creationId xmlns:a16="http://schemas.microsoft.com/office/drawing/2014/main" id="{48F71D17-4546-438C-9DAB-E8D86DDEE14B}"/>
                  </a:ext>
                </a:extLst>
              </p:cNvPr>
              <p:cNvSpPr/>
              <p:nvPr/>
            </p:nvSpPr>
            <p:spPr>
              <a:xfrm>
                <a:off x="13928784" y="5808413"/>
                <a:ext cx="135642" cy="2713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384" name="Freeform: Shape 383">
                <a:extLst>
                  <a:ext uri="{FF2B5EF4-FFF2-40B4-BE49-F238E27FC236}">
                    <a16:creationId xmlns:a16="http://schemas.microsoft.com/office/drawing/2014/main" id="{A6F5ADCC-E9B9-4475-B6E5-FCF688400163}"/>
                  </a:ext>
                </a:extLst>
              </p:cNvPr>
              <p:cNvSpPr/>
              <p:nvPr/>
            </p:nvSpPr>
            <p:spPr>
              <a:xfrm>
                <a:off x="12429091" y="7851519"/>
                <a:ext cx="54263" cy="135642"/>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385" name="Freeform: Shape 384">
                <a:extLst>
                  <a:ext uri="{FF2B5EF4-FFF2-40B4-BE49-F238E27FC236}">
                    <a16:creationId xmlns:a16="http://schemas.microsoft.com/office/drawing/2014/main" id="{D95DED1B-4FC2-4426-9323-BD31A2AD71DD}"/>
                  </a:ext>
                </a:extLst>
              </p:cNvPr>
              <p:cNvSpPr/>
              <p:nvPr/>
            </p:nvSpPr>
            <p:spPr>
              <a:xfrm>
                <a:off x="13468953" y="7042244"/>
                <a:ext cx="135642" cy="108526"/>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386" name="Freeform: Shape 385">
                <a:extLst>
                  <a:ext uri="{FF2B5EF4-FFF2-40B4-BE49-F238E27FC236}">
                    <a16:creationId xmlns:a16="http://schemas.microsoft.com/office/drawing/2014/main" id="{D1A4B28D-6B41-4FA4-A6DD-2F1C0E6FE289}"/>
                  </a:ext>
                </a:extLst>
              </p:cNvPr>
              <p:cNvSpPr/>
              <p:nvPr/>
            </p:nvSpPr>
            <p:spPr>
              <a:xfrm>
                <a:off x="13750819" y="6545514"/>
                <a:ext cx="135642" cy="54263"/>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387" name="Freeform: Shape 386">
                <a:extLst>
                  <a:ext uri="{FF2B5EF4-FFF2-40B4-BE49-F238E27FC236}">
                    <a16:creationId xmlns:a16="http://schemas.microsoft.com/office/drawing/2014/main" id="{1D9A1E3E-AD89-4E61-9506-B8001E0E4DE5}"/>
                  </a:ext>
                </a:extLst>
              </p:cNvPr>
              <p:cNvSpPr/>
              <p:nvPr/>
            </p:nvSpPr>
            <p:spPr>
              <a:xfrm>
                <a:off x="13575839" y="6884362"/>
                <a:ext cx="135642" cy="81395"/>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388" name="Freeform: Shape 387">
                <a:extLst>
                  <a:ext uri="{FF2B5EF4-FFF2-40B4-BE49-F238E27FC236}">
                    <a16:creationId xmlns:a16="http://schemas.microsoft.com/office/drawing/2014/main" id="{E94E9F05-33DE-4D5C-A15F-CF105BEC3CBE}"/>
                  </a:ext>
                </a:extLst>
              </p:cNvPr>
              <p:cNvSpPr/>
              <p:nvPr/>
            </p:nvSpPr>
            <p:spPr>
              <a:xfrm>
                <a:off x="13349846" y="7191186"/>
                <a:ext cx="108526" cy="108526"/>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389" name="Freeform: Shape 388">
                <a:extLst>
                  <a:ext uri="{FF2B5EF4-FFF2-40B4-BE49-F238E27FC236}">
                    <a16:creationId xmlns:a16="http://schemas.microsoft.com/office/drawing/2014/main" id="{0F880B22-6997-4074-9D24-03623FEDBE3B}"/>
                  </a:ext>
                </a:extLst>
              </p:cNvPr>
              <p:cNvSpPr/>
              <p:nvPr/>
            </p:nvSpPr>
            <p:spPr>
              <a:xfrm>
                <a:off x="10927476" y="7952981"/>
                <a:ext cx="54263" cy="135642"/>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390" name="Freeform: Shape 389">
                <a:extLst>
                  <a:ext uri="{FF2B5EF4-FFF2-40B4-BE49-F238E27FC236}">
                    <a16:creationId xmlns:a16="http://schemas.microsoft.com/office/drawing/2014/main" id="{D7741BF4-A7C8-42E6-A04E-0B1DA46C980E}"/>
                  </a:ext>
                </a:extLst>
              </p:cNvPr>
              <p:cNvSpPr/>
              <p:nvPr/>
            </p:nvSpPr>
            <p:spPr>
              <a:xfrm>
                <a:off x="11125790" y="7992319"/>
                <a:ext cx="27132" cy="135642"/>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391" name="Freeform: Shape 390">
                <a:extLst>
                  <a:ext uri="{FF2B5EF4-FFF2-40B4-BE49-F238E27FC236}">
                    <a16:creationId xmlns:a16="http://schemas.microsoft.com/office/drawing/2014/main" id="{8BD3944B-7EB2-421D-AB53-99111A037C7E}"/>
                  </a:ext>
                </a:extLst>
              </p:cNvPr>
              <p:cNvSpPr/>
              <p:nvPr/>
            </p:nvSpPr>
            <p:spPr>
              <a:xfrm>
                <a:off x="11266856" y="3113382"/>
                <a:ext cx="27132" cy="135642"/>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392" name="Freeform: Shape 391">
                <a:extLst>
                  <a:ext uri="{FF2B5EF4-FFF2-40B4-BE49-F238E27FC236}">
                    <a16:creationId xmlns:a16="http://schemas.microsoft.com/office/drawing/2014/main" id="{3ED7A732-6F24-4593-8757-3328EF86DC24}"/>
                  </a:ext>
                </a:extLst>
              </p:cNvPr>
              <p:cNvSpPr/>
              <p:nvPr/>
            </p:nvSpPr>
            <p:spPr>
              <a:xfrm>
                <a:off x="11326542" y="8016465"/>
                <a:ext cx="27132" cy="135642"/>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393" name="Freeform: Shape 392">
                <a:extLst>
                  <a:ext uri="{FF2B5EF4-FFF2-40B4-BE49-F238E27FC236}">
                    <a16:creationId xmlns:a16="http://schemas.microsoft.com/office/drawing/2014/main" id="{28580C0D-11F4-4FC1-89D7-A8C10078581B}"/>
                  </a:ext>
                </a:extLst>
              </p:cNvPr>
              <p:cNvSpPr/>
              <p:nvPr/>
            </p:nvSpPr>
            <p:spPr>
              <a:xfrm>
                <a:off x="11066651" y="3142155"/>
                <a:ext cx="27132" cy="135642"/>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394" name="Freeform: Shape 393">
                <a:extLst>
                  <a:ext uri="{FF2B5EF4-FFF2-40B4-BE49-F238E27FC236}">
                    <a16:creationId xmlns:a16="http://schemas.microsoft.com/office/drawing/2014/main" id="{CF8B79AB-50F3-439C-B18F-707996450AC5}"/>
                  </a:ext>
                </a:extLst>
              </p:cNvPr>
              <p:cNvSpPr/>
              <p:nvPr/>
            </p:nvSpPr>
            <p:spPr>
              <a:xfrm>
                <a:off x="11468702" y="3100363"/>
                <a:ext cx="27132" cy="135642"/>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395" name="Freeform: Shape 394">
                <a:extLst>
                  <a:ext uri="{FF2B5EF4-FFF2-40B4-BE49-F238E27FC236}">
                    <a16:creationId xmlns:a16="http://schemas.microsoft.com/office/drawing/2014/main" id="{6F20FF20-8AA0-4D94-B013-E5707C721019}"/>
                  </a:ext>
                </a:extLst>
              </p:cNvPr>
              <p:cNvSpPr/>
              <p:nvPr/>
            </p:nvSpPr>
            <p:spPr>
              <a:xfrm>
                <a:off x="10676806" y="3247680"/>
                <a:ext cx="54263" cy="135642"/>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396" name="Freeform: Shape 395">
                <a:extLst>
                  <a:ext uri="{FF2B5EF4-FFF2-40B4-BE49-F238E27FC236}">
                    <a16:creationId xmlns:a16="http://schemas.microsoft.com/office/drawing/2014/main" id="{C19E183D-79AF-48E0-8630-E6B42BFE4C7F}"/>
                  </a:ext>
                </a:extLst>
              </p:cNvPr>
              <p:cNvSpPr/>
              <p:nvPr/>
            </p:nvSpPr>
            <p:spPr>
              <a:xfrm>
                <a:off x="10733226" y="7899265"/>
                <a:ext cx="54263" cy="135642"/>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397" name="Freeform: Shape 396">
                <a:extLst>
                  <a:ext uri="{FF2B5EF4-FFF2-40B4-BE49-F238E27FC236}">
                    <a16:creationId xmlns:a16="http://schemas.microsoft.com/office/drawing/2014/main" id="{F2DE7894-1F86-4C3B-A874-C2457DA3FDAD}"/>
                  </a:ext>
                </a:extLst>
              </p:cNvPr>
              <p:cNvSpPr/>
              <p:nvPr/>
            </p:nvSpPr>
            <p:spPr>
              <a:xfrm>
                <a:off x="10869697" y="3187181"/>
                <a:ext cx="54263" cy="135642"/>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398" name="Freeform: Shape 397">
                <a:extLst>
                  <a:ext uri="{FF2B5EF4-FFF2-40B4-BE49-F238E27FC236}">
                    <a16:creationId xmlns:a16="http://schemas.microsoft.com/office/drawing/2014/main" id="{91AEA01C-7870-4B7C-B50D-81ADD5E10130}"/>
                  </a:ext>
                </a:extLst>
              </p:cNvPr>
              <p:cNvSpPr/>
              <p:nvPr/>
            </p:nvSpPr>
            <p:spPr>
              <a:xfrm>
                <a:off x="10544133" y="7830623"/>
                <a:ext cx="54263" cy="135642"/>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399" name="Freeform: Shape 398">
                <a:extLst>
                  <a:ext uri="{FF2B5EF4-FFF2-40B4-BE49-F238E27FC236}">
                    <a16:creationId xmlns:a16="http://schemas.microsoft.com/office/drawing/2014/main" id="{7BA30FEA-CF77-4708-902F-497FB657EA04}"/>
                  </a:ext>
                </a:extLst>
              </p:cNvPr>
              <p:cNvSpPr/>
              <p:nvPr/>
            </p:nvSpPr>
            <p:spPr>
              <a:xfrm>
                <a:off x="11528654" y="8025405"/>
                <a:ext cx="27132" cy="135642"/>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400" name="Freeform: Shape 399">
                <a:extLst>
                  <a:ext uri="{FF2B5EF4-FFF2-40B4-BE49-F238E27FC236}">
                    <a16:creationId xmlns:a16="http://schemas.microsoft.com/office/drawing/2014/main" id="{4955C62B-5619-4FAA-ACBC-EA8AFC919D7A}"/>
                  </a:ext>
                </a:extLst>
              </p:cNvPr>
              <p:cNvSpPr/>
              <p:nvPr/>
            </p:nvSpPr>
            <p:spPr>
              <a:xfrm>
                <a:off x="12040325" y="3153267"/>
                <a:ext cx="27132" cy="135642"/>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401" name="Freeform: Shape 400">
                <a:extLst>
                  <a:ext uri="{FF2B5EF4-FFF2-40B4-BE49-F238E27FC236}">
                    <a16:creationId xmlns:a16="http://schemas.microsoft.com/office/drawing/2014/main" id="{00E1A5B7-CBEA-4D44-874F-C6323372882D}"/>
                  </a:ext>
                </a:extLst>
              </p:cNvPr>
              <p:cNvSpPr/>
              <p:nvPr/>
            </p:nvSpPr>
            <p:spPr>
              <a:xfrm>
                <a:off x="12066362" y="7965453"/>
                <a:ext cx="27132" cy="135642"/>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402" name="Freeform: Shape 401">
                <a:extLst>
                  <a:ext uri="{FF2B5EF4-FFF2-40B4-BE49-F238E27FC236}">
                    <a16:creationId xmlns:a16="http://schemas.microsoft.com/office/drawing/2014/main" id="{F33472AE-B179-4641-B6CD-4E4099F72FED}"/>
                  </a:ext>
                </a:extLst>
              </p:cNvPr>
              <p:cNvSpPr/>
              <p:nvPr/>
            </p:nvSpPr>
            <p:spPr>
              <a:xfrm>
                <a:off x="12224792" y="3202638"/>
                <a:ext cx="54263" cy="135642"/>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403" name="Freeform: Shape 402">
                <a:extLst>
                  <a:ext uri="{FF2B5EF4-FFF2-40B4-BE49-F238E27FC236}">
                    <a16:creationId xmlns:a16="http://schemas.microsoft.com/office/drawing/2014/main" id="{6E1C153E-35BD-4585-8BBD-09E7DEB839F8}"/>
                  </a:ext>
                </a:extLst>
              </p:cNvPr>
              <p:cNvSpPr/>
              <p:nvPr/>
            </p:nvSpPr>
            <p:spPr>
              <a:xfrm>
                <a:off x="12250032" y="7915816"/>
                <a:ext cx="54263" cy="135642"/>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404" name="Freeform: Shape 403">
                <a:extLst>
                  <a:ext uri="{FF2B5EF4-FFF2-40B4-BE49-F238E27FC236}">
                    <a16:creationId xmlns:a16="http://schemas.microsoft.com/office/drawing/2014/main" id="{83AE68ED-23CE-4C2B-A1C7-03AF54E95886}"/>
                  </a:ext>
                </a:extLst>
              </p:cNvPr>
              <p:cNvSpPr/>
              <p:nvPr/>
            </p:nvSpPr>
            <p:spPr>
              <a:xfrm>
                <a:off x="12404663" y="3267748"/>
                <a:ext cx="54263" cy="135642"/>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405" name="Freeform: Shape 404">
                <a:extLst>
                  <a:ext uri="{FF2B5EF4-FFF2-40B4-BE49-F238E27FC236}">
                    <a16:creationId xmlns:a16="http://schemas.microsoft.com/office/drawing/2014/main" id="{36D81F40-9A3B-4356-8705-B2D64ACD27D8}"/>
                  </a:ext>
                </a:extLst>
              </p:cNvPr>
              <p:cNvSpPr/>
              <p:nvPr/>
            </p:nvSpPr>
            <p:spPr>
              <a:xfrm>
                <a:off x="11879442" y="8000461"/>
                <a:ext cx="27132" cy="135642"/>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406" name="Freeform: Shape 405">
                <a:extLst>
                  <a:ext uri="{FF2B5EF4-FFF2-40B4-BE49-F238E27FC236}">
                    <a16:creationId xmlns:a16="http://schemas.microsoft.com/office/drawing/2014/main" id="{4B196F19-52C9-406F-83AB-0B955DBB4BA9}"/>
                  </a:ext>
                </a:extLst>
              </p:cNvPr>
              <p:cNvSpPr/>
              <p:nvPr/>
            </p:nvSpPr>
            <p:spPr>
              <a:xfrm>
                <a:off x="11690349" y="8020263"/>
                <a:ext cx="27132" cy="135642"/>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407" name="Freeform: Shape 406">
                <a:extLst>
                  <a:ext uri="{FF2B5EF4-FFF2-40B4-BE49-F238E27FC236}">
                    <a16:creationId xmlns:a16="http://schemas.microsoft.com/office/drawing/2014/main" id="{3390D830-6D02-4E5C-9B88-13DB32CB0A22}"/>
                  </a:ext>
                </a:extLst>
              </p:cNvPr>
              <p:cNvSpPr/>
              <p:nvPr/>
            </p:nvSpPr>
            <p:spPr>
              <a:xfrm>
                <a:off x="11664030" y="3102536"/>
                <a:ext cx="27132" cy="135642"/>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408" name="Freeform: Shape 407">
                <a:extLst>
                  <a:ext uri="{FF2B5EF4-FFF2-40B4-BE49-F238E27FC236}">
                    <a16:creationId xmlns:a16="http://schemas.microsoft.com/office/drawing/2014/main" id="{BD93F08E-A29F-411B-B65D-070F1F22B390}"/>
                  </a:ext>
                </a:extLst>
              </p:cNvPr>
              <p:cNvSpPr/>
              <p:nvPr/>
            </p:nvSpPr>
            <p:spPr>
              <a:xfrm>
                <a:off x="11853139" y="3119899"/>
                <a:ext cx="27132" cy="135642"/>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409" name="Freeform: Shape 408">
                <a:extLst>
                  <a:ext uri="{FF2B5EF4-FFF2-40B4-BE49-F238E27FC236}">
                    <a16:creationId xmlns:a16="http://schemas.microsoft.com/office/drawing/2014/main" id="{A2612C18-5DE5-4A5D-943D-DBEE8CF7865C}"/>
                  </a:ext>
                </a:extLst>
              </p:cNvPr>
              <p:cNvSpPr/>
              <p:nvPr/>
            </p:nvSpPr>
            <p:spPr>
              <a:xfrm>
                <a:off x="9455712" y="3545284"/>
                <a:ext cx="4177922" cy="4177907"/>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0" name="Freeform: Shape 409">
                <a:extLst>
                  <a:ext uri="{FF2B5EF4-FFF2-40B4-BE49-F238E27FC236}">
                    <a16:creationId xmlns:a16="http://schemas.microsoft.com/office/drawing/2014/main" id="{E9462D55-149C-4DCA-90CE-0EC1E80D434F}"/>
                  </a:ext>
                </a:extLst>
              </p:cNvPr>
              <p:cNvSpPr/>
              <p:nvPr/>
            </p:nvSpPr>
            <p:spPr>
              <a:xfrm>
                <a:off x="11551722" y="3480174"/>
                <a:ext cx="1519244" cy="73249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1" name="Freeform: Shape 410">
                <a:extLst>
                  <a:ext uri="{FF2B5EF4-FFF2-40B4-BE49-F238E27FC236}">
                    <a16:creationId xmlns:a16="http://schemas.microsoft.com/office/drawing/2014/main" id="{DA408A4E-D8E5-4EB7-B61B-3CA26732F55B}"/>
                  </a:ext>
                </a:extLst>
              </p:cNvPr>
              <p:cNvSpPr/>
              <p:nvPr/>
            </p:nvSpPr>
            <p:spPr>
              <a:xfrm>
                <a:off x="9390868" y="5641028"/>
                <a:ext cx="488322" cy="1193681"/>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2" name="Freeform: Shape 411">
                <a:extLst>
                  <a:ext uri="{FF2B5EF4-FFF2-40B4-BE49-F238E27FC236}">
                    <a16:creationId xmlns:a16="http://schemas.microsoft.com/office/drawing/2014/main" id="{6AC69FD7-D0EF-4E94-9EA1-1394ED91ED1F}"/>
                  </a:ext>
                </a:extLst>
              </p:cNvPr>
              <p:cNvSpPr/>
              <p:nvPr/>
            </p:nvSpPr>
            <p:spPr>
              <a:xfrm>
                <a:off x="10711252" y="7488790"/>
                <a:ext cx="813885" cy="298416"/>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413" name="Group 412">
                <a:extLst>
                  <a:ext uri="{FF2B5EF4-FFF2-40B4-BE49-F238E27FC236}">
                    <a16:creationId xmlns:a16="http://schemas.microsoft.com/office/drawing/2014/main" id="{01945117-D589-4336-A9C3-1D93E234B321}"/>
                  </a:ext>
                </a:extLst>
              </p:cNvPr>
              <p:cNvGrpSpPr/>
              <p:nvPr/>
            </p:nvGrpSpPr>
            <p:grpSpPr>
              <a:xfrm>
                <a:off x="8587298" y="2727960"/>
                <a:ext cx="5865457" cy="5832794"/>
                <a:chOff x="8587298" y="2727960"/>
                <a:chExt cx="5865457" cy="5832794"/>
              </a:xfrm>
            </p:grpSpPr>
            <p:sp>
              <p:nvSpPr>
                <p:cNvPr id="416" name="Freeform: Shape 415">
                  <a:extLst>
                    <a:ext uri="{FF2B5EF4-FFF2-40B4-BE49-F238E27FC236}">
                      <a16:creationId xmlns:a16="http://schemas.microsoft.com/office/drawing/2014/main" id="{BAF38FFA-CB1E-4507-93E4-66FAEF9B1DAE}"/>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7" name="Freeform: Shape 416">
                  <a:extLst>
                    <a:ext uri="{FF2B5EF4-FFF2-40B4-BE49-F238E27FC236}">
                      <a16:creationId xmlns:a16="http://schemas.microsoft.com/office/drawing/2014/main" id="{C5E40EAD-A678-4FDC-8CCF-5B2CF6A3B8CA}"/>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8" name="Freeform: Shape 417">
                  <a:extLst>
                    <a:ext uri="{FF2B5EF4-FFF2-40B4-BE49-F238E27FC236}">
                      <a16:creationId xmlns:a16="http://schemas.microsoft.com/office/drawing/2014/main" id="{84A2D0FE-6FA9-4E77-89F5-E8823176DAFF}"/>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414" name="Freeform: Shape 413">
                <a:extLst>
                  <a:ext uri="{FF2B5EF4-FFF2-40B4-BE49-F238E27FC236}">
                    <a16:creationId xmlns:a16="http://schemas.microsoft.com/office/drawing/2014/main" id="{4DC64828-7F1C-4C1A-B0EB-2D03083F031F}"/>
                  </a:ext>
                </a:extLst>
              </p:cNvPr>
              <p:cNvSpPr/>
              <p:nvPr/>
            </p:nvSpPr>
            <p:spPr>
              <a:xfrm>
                <a:off x="9727810" y="3817116"/>
                <a:ext cx="3635337" cy="363532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dirty="0">
                  <a:solidFill>
                    <a:srgbClr val="FFFFFF"/>
                  </a:solidFill>
                </a:endParaRPr>
              </a:p>
            </p:txBody>
          </p:sp>
          <p:sp>
            <p:nvSpPr>
              <p:cNvPr id="415" name="Freeform: Shape 414">
                <a:extLst>
                  <a:ext uri="{FF2B5EF4-FFF2-40B4-BE49-F238E27FC236}">
                    <a16:creationId xmlns:a16="http://schemas.microsoft.com/office/drawing/2014/main" id="{94A2EEFE-2C6D-4805-B9F1-EBF1EF8CB7A4}"/>
                  </a:ext>
                </a:extLst>
              </p:cNvPr>
              <p:cNvSpPr/>
              <p:nvPr/>
            </p:nvSpPr>
            <p:spPr>
              <a:xfrm>
                <a:off x="8950292" y="3039598"/>
                <a:ext cx="5181697" cy="5181698"/>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grpSp>
        <p:grpSp>
          <p:nvGrpSpPr>
            <p:cNvPr id="286" name="Group 37">
              <a:extLst>
                <a:ext uri="{FF2B5EF4-FFF2-40B4-BE49-F238E27FC236}">
                  <a16:creationId xmlns:a16="http://schemas.microsoft.com/office/drawing/2014/main" id="{B5C0ED2E-54F3-4572-9910-E543BDBAC7FD}"/>
                </a:ext>
              </a:extLst>
            </p:cNvPr>
            <p:cNvGrpSpPr>
              <a:grpSpLocks noChangeAspect="1"/>
            </p:cNvGrpSpPr>
            <p:nvPr/>
          </p:nvGrpSpPr>
          <p:grpSpPr bwMode="auto">
            <a:xfrm>
              <a:off x="7795773" y="2993792"/>
              <a:ext cx="1245823" cy="1175184"/>
              <a:chOff x="528" y="843"/>
              <a:chExt cx="776" cy="732"/>
            </a:xfrm>
            <a:solidFill>
              <a:schemeClr val="bg1"/>
            </a:solidFill>
          </p:grpSpPr>
          <p:sp>
            <p:nvSpPr>
              <p:cNvPr id="317" name="Freeform 38">
                <a:extLst>
                  <a:ext uri="{FF2B5EF4-FFF2-40B4-BE49-F238E27FC236}">
                    <a16:creationId xmlns:a16="http://schemas.microsoft.com/office/drawing/2014/main" id="{DF9A71F9-6E80-4367-B06B-345683F999A6}"/>
                  </a:ext>
                </a:extLst>
              </p:cNvPr>
              <p:cNvSpPr>
                <a:spLocks noEditPoints="1"/>
              </p:cNvSpPr>
              <p:nvPr/>
            </p:nvSpPr>
            <p:spPr bwMode="auto">
              <a:xfrm>
                <a:off x="714" y="1467"/>
                <a:ext cx="404" cy="108"/>
              </a:xfrm>
              <a:custGeom>
                <a:avLst/>
                <a:gdLst>
                  <a:gd name="T0" fmla="*/ 404 w 404"/>
                  <a:gd name="T1" fmla="*/ 108 h 108"/>
                  <a:gd name="T2" fmla="*/ 0 w 404"/>
                  <a:gd name="T3" fmla="*/ 108 h 108"/>
                  <a:gd name="T4" fmla="*/ 0 w 404"/>
                  <a:gd name="T5" fmla="*/ 84 h 108"/>
                  <a:gd name="T6" fmla="*/ 0 w 404"/>
                  <a:gd name="T7" fmla="*/ 84 h 108"/>
                  <a:gd name="T8" fmla="*/ 2 w 404"/>
                  <a:gd name="T9" fmla="*/ 68 h 108"/>
                  <a:gd name="T10" fmla="*/ 8 w 404"/>
                  <a:gd name="T11" fmla="*/ 52 h 108"/>
                  <a:gd name="T12" fmla="*/ 16 w 404"/>
                  <a:gd name="T13" fmla="*/ 38 h 108"/>
                  <a:gd name="T14" fmla="*/ 26 w 404"/>
                  <a:gd name="T15" fmla="*/ 24 h 108"/>
                  <a:gd name="T16" fmla="*/ 38 w 404"/>
                  <a:gd name="T17" fmla="*/ 14 h 108"/>
                  <a:gd name="T18" fmla="*/ 52 w 404"/>
                  <a:gd name="T19" fmla="*/ 6 h 108"/>
                  <a:gd name="T20" fmla="*/ 68 w 404"/>
                  <a:gd name="T21" fmla="*/ 2 h 108"/>
                  <a:gd name="T22" fmla="*/ 86 w 404"/>
                  <a:gd name="T23" fmla="*/ 0 h 108"/>
                  <a:gd name="T24" fmla="*/ 320 w 404"/>
                  <a:gd name="T25" fmla="*/ 0 h 108"/>
                  <a:gd name="T26" fmla="*/ 320 w 404"/>
                  <a:gd name="T27" fmla="*/ 0 h 108"/>
                  <a:gd name="T28" fmla="*/ 336 w 404"/>
                  <a:gd name="T29" fmla="*/ 2 h 108"/>
                  <a:gd name="T30" fmla="*/ 352 w 404"/>
                  <a:gd name="T31" fmla="*/ 6 h 108"/>
                  <a:gd name="T32" fmla="*/ 366 w 404"/>
                  <a:gd name="T33" fmla="*/ 14 h 108"/>
                  <a:gd name="T34" fmla="*/ 380 w 404"/>
                  <a:gd name="T35" fmla="*/ 24 h 108"/>
                  <a:gd name="T36" fmla="*/ 390 w 404"/>
                  <a:gd name="T37" fmla="*/ 38 h 108"/>
                  <a:gd name="T38" fmla="*/ 398 w 404"/>
                  <a:gd name="T39" fmla="*/ 52 h 108"/>
                  <a:gd name="T40" fmla="*/ 402 w 404"/>
                  <a:gd name="T41" fmla="*/ 68 h 108"/>
                  <a:gd name="T42" fmla="*/ 404 w 404"/>
                  <a:gd name="T43" fmla="*/ 84 h 108"/>
                  <a:gd name="T44" fmla="*/ 404 w 404"/>
                  <a:gd name="T45" fmla="*/ 108 h 108"/>
                  <a:gd name="T46" fmla="*/ 18 w 404"/>
                  <a:gd name="T47" fmla="*/ 90 h 108"/>
                  <a:gd name="T48" fmla="*/ 386 w 404"/>
                  <a:gd name="T49" fmla="*/ 90 h 108"/>
                  <a:gd name="T50" fmla="*/ 386 w 404"/>
                  <a:gd name="T51" fmla="*/ 84 h 108"/>
                  <a:gd name="T52" fmla="*/ 386 w 404"/>
                  <a:gd name="T53" fmla="*/ 84 h 108"/>
                  <a:gd name="T54" fmla="*/ 384 w 404"/>
                  <a:gd name="T55" fmla="*/ 70 h 108"/>
                  <a:gd name="T56" fmla="*/ 380 w 404"/>
                  <a:gd name="T57" fmla="*/ 58 h 108"/>
                  <a:gd name="T58" fmla="*/ 374 w 404"/>
                  <a:gd name="T59" fmla="*/ 48 h 108"/>
                  <a:gd name="T60" fmla="*/ 366 w 404"/>
                  <a:gd name="T61" fmla="*/ 38 h 108"/>
                  <a:gd name="T62" fmla="*/ 356 w 404"/>
                  <a:gd name="T63" fmla="*/ 30 h 108"/>
                  <a:gd name="T64" fmla="*/ 346 w 404"/>
                  <a:gd name="T65" fmla="*/ 24 h 108"/>
                  <a:gd name="T66" fmla="*/ 334 w 404"/>
                  <a:gd name="T67" fmla="*/ 20 h 108"/>
                  <a:gd name="T68" fmla="*/ 320 w 404"/>
                  <a:gd name="T69" fmla="*/ 18 h 108"/>
                  <a:gd name="T70" fmla="*/ 86 w 404"/>
                  <a:gd name="T71" fmla="*/ 18 h 108"/>
                  <a:gd name="T72" fmla="*/ 86 w 404"/>
                  <a:gd name="T73" fmla="*/ 18 h 108"/>
                  <a:gd name="T74" fmla="*/ 72 w 404"/>
                  <a:gd name="T75" fmla="*/ 20 h 108"/>
                  <a:gd name="T76" fmla="*/ 60 w 404"/>
                  <a:gd name="T77" fmla="*/ 24 h 108"/>
                  <a:gd name="T78" fmla="*/ 48 w 404"/>
                  <a:gd name="T79" fmla="*/ 30 h 108"/>
                  <a:gd name="T80" fmla="*/ 38 w 404"/>
                  <a:gd name="T81" fmla="*/ 38 h 108"/>
                  <a:gd name="T82" fmla="*/ 30 w 404"/>
                  <a:gd name="T83" fmla="*/ 48 h 108"/>
                  <a:gd name="T84" fmla="*/ 24 w 404"/>
                  <a:gd name="T85" fmla="*/ 58 h 108"/>
                  <a:gd name="T86" fmla="*/ 20 w 404"/>
                  <a:gd name="T87" fmla="*/ 70 h 108"/>
                  <a:gd name="T88" fmla="*/ 18 w 404"/>
                  <a:gd name="T89" fmla="*/ 84 h 108"/>
                  <a:gd name="T90" fmla="*/ 18 w 404"/>
                  <a:gd name="T91" fmla="*/ 9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108">
                    <a:moveTo>
                      <a:pt x="404" y="108"/>
                    </a:moveTo>
                    <a:lnTo>
                      <a:pt x="0" y="108"/>
                    </a:lnTo>
                    <a:lnTo>
                      <a:pt x="0" y="84"/>
                    </a:lnTo>
                    <a:lnTo>
                      <a:pt x="0" y="84"/>
                    </a:lnTo>
                    <a:lnTo>
                      <a:pt x="2" y="68"/>
                    </a:lnTo>
                    <a:lnTo>
                      <a:pt x="8" y="52"/>
                    </a:lnTo>
                    <a:lnTo>
                      <a:pt x="16" y="38"/>
                    </a:lnTo>
                    <a:lnTo>
                      <a:pt x="26" y="24"/>
                    </a:lnTo>
                    <a:lnTo>
                      <a:pt x="38" y="14"/>
                    </a:lnTo>
                    <a:lnTo>
                      <a:pt x="52" y="6"/>
                    </a:lnTo>
                    <a:lnTo>
                      <a:pt x="68" y="2"/>
                    </a:lnTo>
                    <a:lnTo>
                      <a:pt x="86" y="0"/>
                    </a:lnTo>
                    <a:lnTo>
                      <a:pt x="320" y="0"/>
                    </a:lnTo>
                    <a:lnTo>
                      <a:pt x="320" y="0"/>
                    </a:lnTo>
                    <a:lnTo>
                      <a:pt x="336" y="2"/>
                    </a:lnTo>
                    <a:lnTo>
                      <a:pt x="352" y="6"/>
                    </a:lnTo>
                    <a:lnTo>
                      <a:pt x="366" y="14"/>
                    </a:lnTo>
                    <a:lnTo>
                      <a:pt x="380" y="24"/>
                    </a:lnTo>
                    <a:lnTo>
                      <a:pt x="390" y="38"/>
                    </a:lnTo>
                    <a:lnTo>
                      <a:pt x="398" y="52"/>
                    </a:lnTo>
                    <a:lnTo>
                      <a:pt x="402" y="68"/>
                    </a:lnTo>
                    <a:lnTo>
                      <a:pt x="404" y="84"/>
                    </a:lnTo>
                    <a:lnTo>
                      <a:pt x="404" y="108"/>
                    </a:lnTo>
                    <a:close/>
                    <a:moveTo>
                      <a:pt x="18" y="90"/>
                    </a:moveTo>
                    <a:lnTo>
                      <a:pt x="386" y="90"/>
                    </a:lnTo>
                    <a:lnTo>
                      <a:pt x="386" y="84"/>
                    </a:lnTo>
                    <a:lnTo>
                      <a:pt x="386" y="84"/>
                    </a:lnTo>
                    <a:lnTo>
                      <a:pt x="384" y="70"/>
                    </a:lnTo>
                    <a:lnTo>
                      <a:pt x="380" y="58"/>
                    </a:lnTo>
                    <a:lnTo>
                      <a:pt x="374" y="48"/>
                    </a:lnTo>
                    <a:lnTo>
                      <a:pt x="366" y="38"/>
                    </a:lnTo>
                    <a:lnTo>
                      <a:pt x="356" y="30"/>
                    </a:lnTo>
                    <a:lnTo>
                      <a:pt x="346" y="24"/>
                    </a:lnTo>
                    <a:lnTo>
                      <a:pt x="334" y="20"/>
                    </a:lnTo>
                    <a:lnTo>
                      <a:pt x="320" y="18"/>
                    </a:lnTo>
                    <a:lnTo>
                      <a:pt x="86" y="18"/>
                    </a:lnTo>
                    <a:lnTo>
                      <a:pt x="86" y="18"/>
                    </a:lnTo>
                    <a:lnTo>
                      <a:pt x="72" y="20"/>
                    </a:lnTo>
                    <a:lnTo>
                      <a:pt x="60" y="24"/>
                    </a:lnTo>
                    <a:lnTo>
                      <a:pt x="48" y="30"/>
                    </a:lnTo>
                    <a:lnTo>
                      <a:pt x="38" y="38"/>
                    </a:lnTo>
                    <a:lnTo>
                      <a:pt x="30" y="48"/>
                    </a:lnTo>
                    <a:lnTo>
                      <a:pt x="24" y="58"/>
                    </a:lnTo>
                    <a:lnTo>
                      <a:pt x="20" y="70"/>
                    </a:lnTo>
                    <a:lnTo>
                      <a:pt x="18" y="84"/>
                    </a:lnTo>
                    <a:lnTo>
                      <a:pt x="1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39">
                <a:extLst>
                  <a:ext uri="{FF2B5EF4-FFF2-40B4-BE49-F238E27FC236}">
                    <a16:creationId xmlns:a16="http://schemas.microsoft.com/office/drawing/2014/main" id="{F9EE210F-5A79-42D7-955A-70B2BF97D84E}"/>
                  </a:ext>
                </a:extLst>
              </p:cNvPr>
              <p:cNvSpPr>
                <a:spLocks noEditPoints="1"/>
              </p:cNvSpPr>
              <p:nvPr/>
            </p:nvSpPr>
            <p:spPr bwMode="auto">
              <a:xfrm>
                <a:off x="846" y="1421"/>
                <a:ext cx="142" cy="64"/>
              </a:xfrm>
              <a:custGeom>
                <a:avLst/>
                <a:gdLst>
                  <a:gd name="T0" fmla="*/ 142 w 142"/>
                  <a:gd name="T1" fmla="*/ 64 h 64"/>
                  <a:gd name="T2" fmla="*/ 0 w 142"/>
                  <a:gd name="T3" fmla="*/ 64 h 64"/>
                  <a:gd name="T4" fmla="*/ 0 w 142"/>
                  <a:gd name="T5" fmla="*/ 0 h 64"/>
                  <a:gd name="T6" fmla="*/ 142 w 142"/>
                  <a:gd name="T7" fmla="*/ 0 h 64"/>
                  <a:gd name="T8" fmla="*/ 142 w 142"/>
                  <a:gd name="T9" fmla="*/ 64 h 64"/>
                  <a:gd name="T10" fmla="*/ 18 w 142"/>
                  <a:gd name="T11" fmla="*/ 46 h 64"/>
                  <a:gd name="T12" fmla="*/ 124 w 142"/>
                  <a:gd name="T13" fmla="*/ 46 h 64"/>
                  <a:gd name="T14" fmla="*/ 124 w 142"/>
                  <a:gd name="T15" fmla="*/ 18 h 64"/>
                  <a:gd name="T16" fmla="*/ 18 w 142"/>
                  <a:gd name="T17" fmla="*/ 18 h 64"/>
                  <a:gd name="T18" fmla="*/ 18 w 14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4">
                    <a:moveTo>
                      <a:pt x="142" y="64"/>
                    </a:moveTo>
                    <a:lnTo>
                      <a:pt x="0" y="64"/>
                    </a:lnTo>
                    <a:lnTo>
                      <a:pt x="0" y="0"/>
                    </a:lnTo>
                    <a:lnTo>
                      <a:pt x="142" y="0"/>
                    </a:lnTo>
                    <a:lnTo>
                      <a:pt x="142" y="64"/>
                    </a:lnTo>
                    <a:close/>
                    <a:moveTo>
                      <a:pt x="18" y="46"/>
                    </a:moveTo>
                    <a:lnTo>
                      <a:pt x="124" y="46"/>
                    </a:lnTo>
                    <a:lnTo>
                      <a:pt x="124"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40">
                <a:extLst>
                  <a:ext uri="{FF2B5EF4-FFF2-40B4-BE49-F238E27FC236}">
                    <a16:creationId xmlns:a16="http://schemas.microsoft.com/office/drawing/2014/main" id="{9A3785DD-368F-4B30-B66A-FB3BC1E3D834}"/>
                  </a:ext>
                </a:extLst>
              </p:cNvPr>
              <p:cNvSpPr>
                <a:spLocks noEditPoints="1"/>
              </p:cNvSpPr>
              <p:nvPr/>
            </p:nvSpPr>
            <p:spPr bwMode="auto">
              <a:xfrm>
                <a:off x="878" y="1015"/>
                <a:ext cx="76" cy="424"/>
              </a:xfrm>
              <a:custGeom>
                <a:avLst/>
                <a:gdLst>
                  <a:gd name="T0" fmla="*/ 76 w 76"/>
                  <a:gd name="T1" fmla="*/ 424 h 424"/>
                  <a:gd name="T2" fmla="*/ 0 w 76"/>
                  <a:gd name="T3" fmla="*/ 424 h 424"/>
                  <a:gd name="T4" fmla="*/ 0 w 76"/>
                  <a:gd name="T5" fmla="*/ 0 h 424"/>
                  <a:gd name="T6" fmla="*/ 12 w 76"/>
                  <a:gd name="T7" fmla="*/ 6 h 424"/>
                  <a:gd name="T8" fmla="*/ 12 w 76"/>
                  <a:gd name="T9" fmla="*/ 6 h 424"/>
                  <a:gd name="T10" fmla="*/ 26 w 76"/>
                  <a:gd name="T11" fmla="*/ 10 h 424"/>
                  <a:gd name="T12" fmla="*/ 38 w 76"/>
                  <a:gd name="T13" fmla="*/ 12 h 424"/>
                  <a:gd name="T14" fmla="*/ 52 w 76"/>
                  <a:gd name="T15" fmla="*/ 10 h 424"/>
                  <a:gd name="T16" fmla="*/ 64 w 76"/>
                  <a:gd name="T17" fmla="*/ 6 h 424"/>
                  <a:gd name="T18" fmla="*/ 76 w 76"/>
                  <a:gd name="T19" fmla="*/ 0 h 424"/>
                  <a:gd name="T20" fmla="*/ 76 w 76"/>
                  <a:gd name="T21" fmla="*/ 424 h 424"/>
                  <a:gd name="T22" fmla="*/ 18 w 76"/>
                  <a:gd name="T23" fmla="*/ 406 h 424"/>
                  <a:gd name="T24" fmla="*/ 58 w 76"/>
                  <a:gd name="T25" fmla="*/ 406 h 424"/>
                  <a:gd name="T26" fmla="*/ 58 w 76"/>
                  <a:gd name="T27" fmla="*/ 28 h 424"/>
                  <a:gd name="T28" fmla="*/ 58 w 76"/>
                  <a:gd name="T29" fmla="*/ 28 h 424"/>
                  <a:gd name="T30" fmla="*/ 48 w 76"/>
                  <a:gd name="T31" fmla="*/ 30 h 424"/>
                  <a:gd name="T32" fmla="*/ 38 w 76"/>
                  <a:gd name="T33" fmla="*/ 30 h 424"/>
                  <a:gd name="T34" fmla="*/ 28 w 76"/>
                  <a:gd name="T35" fmla="*/ 30 h 424"/>
                  <a:gd name="T36" fmla="*/ 18 w 76"/>
                  <a:gd name="T37" fmla="*/ 28 h 424"/>
                  <a:gd name="T38" fmla="*/ 18 w 76"/>
                  <a:gd name="T3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424">
                    <a:moveTo>
                      <a:pt x="76" y="424"/>
                    </a:moveTo>
                    <a:lnTo>
                      <a:pt x="0" y="424"/>
                    </a:lnTo>
                    <a:lnTo>
                      <a:pt x="0" y="0"/>
                    </a:lnTo>
                    <a:lnTo>
                      <a:pt x="12" y="6"/>
                    </a:lnTo>
                    <a:lnTo>
                      <a:pt x="12" y="6"/>
                    </a:lnTo>
                    <a:lnTo>
                      <a:pt x="26" y="10"/>
                    </a:lnTo>
                    <a:lnTo>
                      <a:pt x="38" y="12"/>
                    </a:lnTo>
                    <a:lnTo>
                      <a:pt x="52" y="10"/>
                    </a:lnTo>
                    <a:lnTo>
                      <a:pt x="64" y="6"/>
                    </a:lnTo>
                    <a:lnTo>
                      <a:pt x="76" y="0"/>
                    </a:lnTo>
                    <a:lnTo>
                      <a:pt x="76" y="424"/>
                    </a:lnTo>
                    <a:close/>
                    <a:moveTo>
                      <a:pt x="18" y="406"/>
                    </a:moveTo>
                    <a:lnTo>
                      <a:pt x="58" y="406"/>
                    </a:lnTo>
                    <a:lnTo>
                      <a:pt x="58" y="28"/>
                    </a:lnTo>
                    <a:lnTo>
                      <a:pt x="58" y="28"/>
                    </a:lnTo>
                    <a:lnTo>
                      <a:pt x="48" y="30"/>
                    </a:lnTo>
                    <a:lnTo>
                      <a:pt x="38" y="30"/>
                    </a:lnTo>
                    <a:lnTo>
                      <a:pt x="28" y="30"/>
                    </a:lnTo>
                    <a:lnTo>
                      <a:pt x="18" y="28"/>
                    </a:lnTo>
                    <a:lnTo>
                      <a:pt x="1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41">
                <a:extLst>
                  <a:ext uri="{FF2B5EF4-FFF2-40B4-BE49-F238E27FC236}">
                    <a16:creationId xmlns:a16="http://schemas.microsoft.com/office/drawing/2014/main" id="{2D68E40C-3943-4936-9AFE-395631D66FF6}"/>
                  </a:ext>
                </a:extLst>
              </p:cNvPr>
              <p:cNvSpPr>
                <a:spLocks noEditPoints="1"/>
              </p:cNvSpPr>
              <p:nvPr/>
            </p:nvSpPr>
            <p:spPr bwMode="auto">
              <a:xfrm>
                <a:off x="964" y="929"/>
                <a:ext cx="280" cy="76"/>
              </a:xfrm>
              <a:custGeom>
                <a:avLst/>
                <a:gdLst>
                  <a:gd name="T0" fmla="*/ 240 w 280"/>
                  <a:gd name="T1" fmla="*/ 76 h 76"/>
                  <a:gd name="T2" fmla="*/ 0 w 280"/>
                  <a:gd name="T3" fmla="*/ 76 h 76"/>
                  <a:gd name="T4" fmla="*/ 6 w 280"/>
                  <a:gd name="T5" fmla="*/ 64 h 76"/>
                  <a:gd name="T6" fmla="*/ 6 w 280"/>
                  <a:gd name="T7" fmla="*/ 64 h 76"/>
                  <a:gd name="T8" fmla="*/ 12 w 280"/>
                  <a:gd name="T9" fmla="*/ 50 h 76"/>
                  <a:gd name="T10" fmla="*/ 12 w 280"/>
                  <a:gd name="T11" fmla="*/ 38 h 76"/>
                  <a:gd name="T12" fmla="*/ 12 w 280"/>
                  <a:gd name="T13" fmla="*/ 38 h 76"/>
                  <a:gd name="T14" fmla="*/ 12 w 280"/>
                  <a:gd name="T15" fmla="*/ 24 h 76"/>
                  <a:gd name="T16" fmla="*/ 6 w 280"/>
                  <a:gd name="T17" fmla="*/ 12 h 76"/>
                  <a:gd name="T18" fmla="*/ 0 w 280"/>
                  <a:gd name="T19" fmla="*/ 0 h 76"/>
                  <a:gd name="T20" fmla="*/ 240 w 280"/>
                  <a:gd name="T21" fmla="*/ 0 h 76"/>
                  <a:gd name="T22" fmla="*/ 240 w 280"/>
                  <a:gd name="T23" fmla="*/ 0 h 76"/>
                  <a:gd name="T24" fmla="*/ 248 w 280"/>
                  <a:gd name="T25" fmla="*/ 0 h 76"/>
                  <a:gd name="T26" fmla="*/ 256 w 280"/>
                  <a:gd name="T27" fmla="*/ 2 h 76"/>
                  <a:gd name="T28" fmla="*/ 262 w 280"/>
                  <a:gd name="T29" fmla="*/ 6 h 76"/>
                  <a:gd name="T30" fmla="*/ 268 w 280"/>
                  <a:gd name="T31" fmla="*/ 10 h 76"/>
                  <a:gd name="T32" fmla="*/ 272 w 280"/>
                  <a:gd name="T33" fmla="*/ 16 h 76"/>
                  <a:gd name="T34" fmla="*/ 276 w 280"/>
                  <a:gd name="T35" fmla="*/ 24 h 76"/>
                  <a:gd name="T36" fmla="*/ 278 w 280"/>
                  <a:gd name="T37" fmla="*/ 30 h 76"/>
                  <a:gd name="T38" fmla="*/ 280 w 280"/>
                  <a:gd name="T39" fmla="*/ 38 h 76"/>
                  <a:gd name="T40" fmla="*/ 280 w 280"/>
                  <a:gd name="T41" fmla="*/ 38 h 76"/>
                  <a:gd name="T42" fmla="*/ 278 w 280"/>
                  <a:gd name="T43" fmla="*/ 46 h 76"/>
                  <a:gd name="T44" fmla="*/ 276 w 280"/>
                  <a:gd name="T45" fmla="*/ 52 h 76"/>
                  <a:gd name="T46" fmla="*/ 272 w 280"/>
                  <a:gd name="T47" fmla="*/ 60 h 76"/>
                  <a:gd name="T48" fmla="*/ 268 w 280"/>
                  <a:gd name="T49" fmla="*/ 64 h 76"/>
                  <a:gd name="T50" fmla="*/ 262 w 280"/>
                  <a:gd name="T51" fmla="*/ 70 h 76"/>
                  <a:gd name="T52" fmla="*/ 256 w 280"/>
                  <a:gd name="T53" fmla="*/ 74 h 76"/>
                  <a:gd name="T54" fmla="*/ 248 w 280"/>
                  <a:gd name="T55" fmla="*/ 76 h 76"/>
                  <a:gd name="T56" fmla="*/ 240 w 280"/>
                  <a:gd name="T57" fmla="*/ 76 h 76"/>
                  <a:gd name="T58" fmla="*/ 240 w 280"/>
                  <a:gd name="T59" fmla="*/ 76 h 76"/>
                  <a:gd name="T60" fmla="*/ 28 w 280"/>
                  <a:gd name="T61" fmla="*/ 58 h 76"/>
                  <a:gd name="T62" fmla="*/ 240 w 280"/>
                  <a:gd name="T63" fmla="*/ 58 h 76"/>
                  <a:gd name="T64" fmla="*/ 240 w 280"/>
                  <a:gd name="T65" fmla="*/ 58 h 76"/>
                  <a:gd name="T66" fmla="*/ 248 w 280"/>
                  <a:gd name="T67" fmla="*/ 56 h 76"/>
                  <a:gd name="T68" fmla="*/ 256 w 280"/>
                  <a:gd name="T69" fmla="*/ 52 h 76"/>
                  <a:gd name="T70" fmla="*/ 260 w 280"/>
                  <a:gd name="T71" fmla="*/ 46 h 76"/>
                  <a:gd name="T72" fmla="*/ 262 w 280"/>
                  <a:gd name="T73" fmla="*/ 38 h 76"/>
                  <a:gd name="T74" fmla="*/ 262 w 280"/>
                  <a:gd name="T75" fmla="*/ 38 h 76"/>
                  <a:gd name="T76" fmla="*/ 260 w 280"/>
                  <a:gd name="T77" fmla="*/ 30 h 76"/>
                  <a:gd name="T78" fmla="*/ 256 w 280"/>
                  <a:gd name="T79" fmla="*/ 24 h 76"/>
                  <a:gd name="T80" fmla="*/ 248 w 280"/>
                  <a:gd name="T81" fmla="*/ 20 h 76"/>
                  <a:gd name="T82" fmla="*/ 240 w 280"/>
                  <a:gd name="T83" fmla="*/ 18 h 76"/>
                  <a:gd name="T84" fmla="*/ 28 w 280"/>
                  <a:gd name="T85" fmla="*/ 18 h 76"/>
                  <a:gd name="T86" fmla="*/ 28 w 280"/>
                  <a:gd name="T87" fmla="*/ 18 h 76"/>
                  <a:gd name="T88" fmla="*/ 30 w 280"/>
                  <a:gd name="T89" fmla="*/ 28 h 76"/>
                  <a:gd name="T90" fmla="*/ 30 w 280"/>
                  <a:gd name="T91" fmla="*/ 38 h 76"/>
                  <a:gd name="T92" fmla="*/ 30 w 280"/>
                  <a:gd name="T93" fmla="*/ 38 h 76"/>
                  <a:gd name="T94" fmla="*/ 30 w 280"/>
                  <a:gd name="T95" fmla="*/ 48 h 76"/>
                  <a:gd name="T96" fmla="*/ 28 w 280"/>
                  <a:gd name="T97" fmla="*/ 58 h 76"/>
                  <a:gd name="T98" fmla="*/ 28 w 280"/>
                  <a:gd name="T9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76">
                    <a:moveTo>
                      <a:pt x="240" y="76"/>
                    </a:moveTo>
                    <a:lnTo>
                      <a:pt x="0" y="76"/>
                    </a:lnTo>
                    <a:lnTo>
                      <a:pt x="6" y="64"/>
                    </a:lnTo>
                    <a:lnTo>
                      <a:pt x="6" y="64"/>
                    </a:lnTo>
                    <a:lnTo>
                      <a:pt x="12" y="50"/>
                    </a:lnTo>
                    <a:lnTo>
                      <a:pt x="12" y="38"/>
                    </a:lnTo>
                    <a:lnTo>
                      <a:pt x="12" y="38"/>
                    </a:lnTo>
                    <a:lnTo>
                      <a:pt x="12" y="24"/>
                    </a:lnTo>
                    <a:lnTo>
                      <a:pt x="6" y="12"/>
                    </a:lnTo>
                    <a:lnTo>
                      <a:pt x="0" y="0"/>
                    </a:lnTo>
                    <a:lnTo>
                      <a:pt x="240" y="0"/>
                    </a:lnTo>
                    <a:lnTo>
                      <a:pt x="240" y="0"/>
                    </a:lnTo>
                    <a:lnTo>
                      <a:pt x="248" y="0"/>
                    </a:lnTo>
                    <a:lnTo>
                      <a:pt x="256" y="2"/>
                    </a:lnTo>
                    <a:lnTo>
                      <a:pt x="262" y="6"/>
                    </a:lnTo>
                    <a:lnTo>
                      <a:pt x="268" y="10"/>
                    </a:lnTo>
                    <a:lnTo>
                      <a:pt x="272" y="16"/>
                    </a:lnTo>
                    <a:lnTo>
                      <a:pt x="276" y="24"/>
                    </a:lnTo>
                    <a:lnTo>
                      <a:pt x="278" y="30"/>
                    </a:lnTo>
                    <a:lnTo>
                      <a:pt x="280" y="38"/>
                    </a:lnTo>
                    <a:lnTo>
                      <a:pt x="280" y="38"/>
                    </a:lnTo>
                    <a:lnTo>
                      <a:pt x="278" y="46"/>
                    </a:lnTo>
                    <a:lnTo>
                      <a:pt x="276" y="52"/>
                    </a:lnTo>
                    <a:lnTo>
                      <a:pt x="272" y="60"/>
                    </a:lnTo>
                    <a:lnTo>
                      <a:pt x="268" y="64"/>
                    </a:lnTo>
                    <a:lnTo>
                      <a:pt x="262" y="70"/>
                    </a:lnTo>
                    <a:lnTo>
                      <a:pt x="256" y="74"/>
                    </a:lnTo>
                    <a:lnTo>
                      <a:pt x="248" y="76"/>
                    </a:lnTo>
                    <a:lnTo>
                      <a:pt x="240" y="76"/>
                    </a:lnTo>
                    <a:lnTo>
                      <a:pt x="240" y="76"/>
                    </a:lnTo>
                    <a:close/>
                    <a:moveTo>
                      <a:pt x="28" y="58"/>
                    </a:moveTo>
                    <a:lnTo>
                      <a:pt x="240" y="58"/>
                    </a:lnTo>
                    <a:lnTo>
                      <a:pt x="240" y="58"/>
                    </a:lnTo>
                    <a:lnTo>
                      <a:pt x="248" y="56"/>
                    </a:lnTo>
                    <a:lnTo>
                      <a:pt x="256" y="52"/>
                    </a:lnTo>
                    <a:lnTo>
                      <a:pt x="260" y="46"/>
                    </a:lnTo>
                    <a:lnTo>
                      <a:pt x="262" y="38"/>
                    </a:lnTo>
                    <a:lnTo>
                      <a:pt x="262" y="38"/>
                    </a:lnTo>
                    <a:lnTo>
                      <a:pt x="260" y="30"/>
                    </a:lnTo>
                    <a:lnTo>
                      <a:pt x="256" y="24"/>
                    </a:lnTo>
                    <a:lnTo>
                      <a:pt x="248" y="20"/>
                    </a:lnTo>
                    <a:lnTo>
                      <a:pt x="240" y="18"/>
                    </a:lnTo>
                    <a:lnTo>
                      <a:pt x="28" y="18"/>
                    </a:lnTo>
                    <a:lnTo>
                      <a:pt x="28" y="18"/>
                    </a:lnTo>
                    <a:lnTo>
                      <a:pt x="30" y="28"/>
                    </a:lnTo>
                    <a:lnTo>
                      <a:pt x="30" y="38"/>
                    </a:lnTo>
                    <a:lnTo>
                      <a:pt x="30" y="38"/>
                    </a:lnTo>
                    <a:lnTo>
                      <a:pt x="30" y="48"/>
                    </a:lnTo>
                    <a:lnTo>
                      <a:pt x="28" y="58"/>
                    </a:lnTo>
                    <a:lnTo>
                      <a:pt x="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1" name="Freeform 42">
                <a:extLst>
                  <a:ext uri="{FF2B5EF4-FFF2-40B4-BE49-F238E27FC236}">
                    <a16:creationId xmlns:a16="http://schemas.microsoft.com/office/drawing/2014/main" id="{16572AD0-AEB2-4015-9CB5-4D2BD1E15FA1}"/>
                  </a:ext>
                </a:extLst>
              </p:cNvPr>
              <p:cNvSpPr>
                <a:spLocks noEditPoints="1"/>
              </p:cNvSpPr>
              <p:nvPr/>
            </p:nvSpPr>
            <p:spPr bwMode="auto">
              <a:xfrm>
                <a:off x="590" y="929"/>
                <a:ext cx="278" cy="76"/>
              </a:xfrm>
              <a:custGeom>
                <a:avLst/>
                <a:gdLst>
                  <a:gd name="T0" fmla="*/ 278 w 278"/>
                  <a:gd name="T1" fmla="*/ 76 h 76"/>
                  <a:gd name="T2" fmla="*/ 38 w 278"/>
                  <a:gd name="T3" fmla="*/ 76 h 76"/>
                  <a:gd name="T4" fmla="*/ 38 w 278"/>
                  <a:gd name="T5" fmla="*/ 76 h 76"/>
                  <a:gd name="T6" fmla="*/ 30 w 278"/>
                  <a:gd name="T7" fmla="*/ 76 h 76"/>
                  <a:gd name="T8" fmla="*/ 22 w 278"/>
                  <a:gd name="T9" fmla="*/ 74 h 76"/>
                  <a:gd name="T10" fmla="*/ 16 w 278"/>
                  <a:gd name="T11" fmla="*/ 70 h 76"/>
                  <a:gd name="T12" fmla="*/ 10 w 278"/>
                  <a:gd name="T13" fmla="*/ 64 h 76"/>
                  <a:gd name="T14" fmla="*/ 6 w 278"/>
                  <a:gd name="T15" fmla="*/ 60 h 76"/>
                  <a:gd name="T16" fmla="*/ 2 w 278"/>
                  <a:gd name="T17" fmla="*/ 52 h 76"/>
                  <a:gd name="T18" fmla="*/ 0 w 278"/>
                  <a:gd name="T19" fmla="*/ 46 h 76"/>
                  <a:gd name="T20" fmla="*/ 0 w 278"/>
                  <a:gd name="T21" fmla="*/ 38 h 76"/>
                  <a:gd name="T22" fmla="*/ 0 w 278"/>
                  <a:gd name="T23" fmla="*/ 38 h 76"/>
                  <a:gd name="T24" fmla="*/ 0 w 278"/>
                  <a:gd name="T25" fmla="*/ 30 h 76"/>
                  <a:gd name="T26" fmla="*/ 2 w 278"/>
                  <a:gd name="T27" fmla="*/ 24 h 76"/>
                  <a:gd name="T28" fmla="*/ 6 w 278"/>
                  <a:gd name="T29" fmla="*/ 16 h 76"/>
                  <a:gd name="T30" fmla="*/ 10 w 278"/>
                  <a:gd name="T31" fmla="*/ 10 h 76"/>
                  <a:gd name="T32" fmla="*/ 16 w 278"/>
                  <a:gd name="T33" fmla="*/ 6 h 76"/>
                  <a:gd name="T34" fmla="*/ 22 w 278"/>
                  <a:gd name="T35" fmla="*/ 2 h 76"/>
                  <a:gd name="T36" fmla="*/ 30 w 278"/>
                  <a:gd name="T37" fmla="*/ 0 h 76"/>
                  <a:gd name="T38" fmla="*/ 38 w 278"/>
                  <a:gd name="T39" fmla="*/ 0 h 76"/>
                  <a:gd name="T40" fmla="*/ 278 w 278"/>
                  <a:gd name="T41" fmla="*/ 0 h 76"/>
                  <a:gd name="T42" fmla="*/ 272 w 278"/>
                  <a:gd name="T43" fmla="*/ 12 h 76"/>
                  <a:gd name="T44" fmla="*/ 272 w 278"/>
                  <a:gd name="T45" fmla="*/ 12 h 76"/>
                  <a:gd name="T46" fmla="*/ 268 w 278"/>
                  <a:gd name="T47" fmla="*/ 24 h 76"/>
                  <a:gd name="T48" fmla="*/ 266 w 278"/>
                  <a:gd name="T49" fmla="*/ 38 h 76"/>
                  <a:gd name="T50" fmla="*/ 266 w 278"/>
                  <a:gd name="T51" fmla="*/ 38 h 76"/>
                  <a:gd name="T52" fmla="*/ 268 w 278"/>
                  <a:gd name="T53" fmla="*/ 50 h 76"/>
                  <a:gd name="T54" fmla="*/ 272 w 278"/>
                  <a:gd name="T55" fmla="*/ 64 h 76"/>
                  <a:gd name="T56" fmla="*/ 278 w 278"/>
                  <a:gd name="T57" fmla="*/ 76 h 76"/>
                  <a:gd name="T58" fmla="*/ 38 w 278"/>
                  <a:gd name="T59" fmla="*/ 18 h 76"/>
                  <a:gd name="T60" fmla="*/ 38 w 278"/>
                  <a:gd name="T61" fmla="*/ 18 h 76"/>
                  <a:gd name="T62" fmla="*/ 30 w 278"/>
                  <a:gd name="T63" fmla="*/ 20 h 76"/>
                  <a:gd name="T64" fmla="*/ 24 w 278"/>
                  <a:gd name="T65" fmla="*/ 24 h 76"/>
                  <a:gd name="T66" fmla="*/ 20 w 278"/>
                  <a:gd name="T67" fmla="*/ 30 h 76"/>
                  <a:gd name="T68" fmla="*/ 18 w 278"/>
                  <a:gd name="T69" fmla="*/ 38 h 76"/>
                  <a:gd name="T70" fmla="*/ 18 w 278"/>
                  <a:gd name="T71" fmla="*/ 38 h 76"/>
                  <a:gd name="T72" fmla="*/ 20 w 278"/>
                  <a:gd name="T73" fmla="*/ 46 h 76"/>
                  <a:gd name="T74" fmla="*/ 24 w 278"/>
                  <a:gd name="T75" fmla="*/ 52 h 76"/>
                  <a:gd name="T76" fmla="*/ 30 w 278"/>
                  <a:gd name="T77" fmla="*/ 56 h 76"/>
                  <a:gd name="T78" fmla="*/ 38 w 278"/>
                  <a:gd name="T79" fmla="*/ 58 h 76"/>
                  <a:gd name="T80" fmla="*/ 252 w 278"/>
                  <a:gd name="T81" fmla="*/ 58 h 76"/>
                  <a:gd name="T82" fmla="*/ 252 w 278"/>
                  <a:gd name="T83" fmla="*/ 58 h 76"/>
                  <a:gd name="T84" fmla="*/ 250 w 278"/>
                  <a:gd name="T85" fmla="*/ 48 h 76"/>
                  <a:gd name="T86" fmla="*/ 248 w 278"/>
                  <a:gd name="T87" fmla="*/ 38 h 76"/>
                  <a:gd name="T88" fmla="*/ 248 w 278"/>
                  <a:gd name="T89" fmla="*/ 38 h 76"/>
                  <a:gd name="T90" fmla="*/ 250 w 278"/>
                  <a:gd name="T91" fmla="*/ 28 h 76"/>
                  <a:gd name="T92" fmla="*/ 252 w 278"/>
                  <a:gd name="T93" fmla="*/ 18 h 76"/>
                  <a:gd name="T94" fmla="*/ 38 w 278"/>
                  <a:gd name="T95"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8" h="76">
                    <a:moveTo>
                      <a:pt x="278" y="76"/>
                    </a:moveTo>
                    <a:lnTo>
                      <a:pt x="38" y="76"/>
                    </a:lnTo>
                    <a:lnTo>
                      <a:pt x="38" y="76"/>
                    </a:lnTo>
                    <a:lnTo>
                      <a:pt x="30" y="76"/>
                    </a:lnTo>
                    <a:lnTo>
                      <a:pt x="22" y="74"/>
                    </a:lnTo>
                    <a:lnTo>
                      <a:pt x="16" y="70"/>
                    </a:lnTo>
                    <a:lnTo>
                      <a:pt x="10" y="64"/>
                    </a:lnTo>
                    <a:lnTo>
                      <a:pt x="6" y="60"/>
                    </a:lnTo>
                    <a:lnTo>
                      <a:pt x="2" y="52"/>
                    </a:lnTo>
                    <a:lnTo>
                      <a:pt x="0" y="46"/>
                    </a:lnTo>
                    <a:lnTo>
                      <a:pt x="0" y="38"/>
                    </a:lnTo>
                    <a:lnTo>
                      <a:pt x="0" y="38"/>
                    </a:lnTo>
                    <a:lnTo>
                      <a:pt x="0" y="30"/>
                    </a:lnTo>
                    <a:lnTo>
                      <a:pt x="2" y="24"/>
                    </a:lnTo>
                    <a:lnTo>
                      <a:pt x="6" y="16"/>
                    </a:lnTo>
                    <a:lnTo>
                      <a:pt x="10" y="10"/>
                    </a:lnTo>
                    <a:lnTo>
                      <a:pt x="16" y="6"/>
                    </a:lnTo>
                    <a:lnTo>
                      <a:pt x="22" y="2"/>
                    </a:lnTo>
                    <a:lnTo>
                      <a:pt x="30" y="0"/>
                    </a:lnTo>
                    <a:lnTo>
                      <a:pt x="38" y="0"/>
                    </a:lnTo>
                    <a:lnTo>
                      <a:pt x="278" y="0"/>
                    </a:lnTo>
                    <a:lnTo>
                      <a:pt x="272" y="12"/>
                    </a:lnTo>
                    <a:lnTo>
                      <a:pt x="272" y="12"/>
                    </a:lnTo>
                    <a:lnTo>
                      <a:pt x="268" y="24"/>
                    </a:lnTo>
                    <a:lnTo>
                      <a:pt x="266" y="38"/>
                    </a:lnTo>
                    <a:lnTo>
                      <a:pt x="266" y="38"/>
                    </a:lnTo>
                    <a:lnTo>
                      <a:pt x="268" y="50"/>
                    </a:lnTo>
                    <a:lnTo>
                      <a:pt x="272" y="64"/>
                    </a:lnTo>
                    <a:lnTo>
                      <a:pt x="278" y="76"/>
                    </a:lnTo>
                    <a:close/>
                    <a:moveTo>
                      <a:pt x="38" y="18"/>
                    </a:moveTo>
                    <a:lnTo>
                      <a:pt x="38" y="18"/>
                    </a:lnTo>
                    <a:lnTo>
                      <a:pt x="30" y="20"/>
                    </a:lnTo>
                    <a:lnTo>
                      <a:pt x="24" y="24"/>
                    </a:lnTo>
                    <a:lnTo>
                      <a:pt x="20" y="30"/>
                    </a:lnTo>
                    <a:lnTo>
                      <a:pt x="18" y="38"/>
                    </a:lnTo>
                    <a:lnTo>
                      <a:pt x="18" y="38"/>
                    </a:lnTo>
                    <a:lnTo>
                      <a:pt x="20" y="46"/>
                    </a:lnTo>
                    <a:lnTo>
                      <a:pt x="24" y="52"/>
                    </a:lnTo>
                    <a:lnTo>
                      <a:pt x="30" y="56"/>
                    </a:lnTo>
                    <a:lnTo>
                      <a:pt x="38" y="58"/>
                    </a:lnTo>
                    <a:lnTo>
                      <a:pt x="252" y="58"/>
                    </a:lnTo>
                    <a:lnTo>
                      <a:pt x="252" y="58"/>
                    </a:lnTo>
                    <a:lnTo>
                      <a:pt x="250" y="48"/>
                    </a:lnTo>
                    <a:lnTo>
                      <a:pt x="248" y="38"/>
                    </a:lnTo>
                    <a:lnTo>
                      <a:pt x="248" y="38"/>
                    </a:lnTo>
                    <a:lnTo>
                      <a:pt x="250" y="28"/>
                    </a:lnTo>
                    <a:lnTo>
                      <a:pt x="252" y="18"/>
                    </a:lnTo>
                    <a:lnTo>
                      <a:pt x="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2" name="Freeform 43">
                <a:extLst>
                  <a:ext uri="{FF2B5EF4-FFF2-40B4-BE49-F238E27FC236}">
                    <a16:creationId xmlns:a16="http://schemas.microsoft.com/office/drawing/2014/main" id="{08D16694-995A-4924-863B-3EB02D013E98}"/>
                  </a:ext>
                </a:extLst>
              </p:cNvPr>
              <p:cNvSpPr>
                <a:spLocks/>
              </p:cNvSpPr>
              <p:nvPr/>
            </p:nvSpPr>
            <p:spPr bwMode="auto">
              <a:xfrm>
                <a:off x="842" y="889"/>
                <a:ext cx="148" cy="60"/>
              </a:xfrm>
              <a:custGeom>
                <a:avLst/>
                <a:gdLst>
                  <a:gd name="T0" fmla="*/ 16 w 148"/>
                  <a:gd name="T1" fmla="*/ 60 h 60"/>
                  <a:gd name="T2" fmla="*/ 0 w 148"/>
                  <a:gd name="T3" fmla="*/ 52 h 60"/>
                  <a:gd name="T4" fmla="*/ 4 w 148"/>
                  <a:gd name="T5" fmla="*/ 44 h 60"/>
                  <a:gd name="T6" fmla="*/ 4 w 148"/>
                  <a:gd name="T7" fmla="*/ 44 h 60"/>
                  <a:gd name="T8" fmla="*/ 10 w 148"/>
                  <a:gd name="T9" fmla="*/ 36 h 60"/>
                  <a:gd name="T10" fmla="*/ 16 w 148"/>
                  <a:gd name="T11" fmla="*/ 26 h 60"/>
                  <a:gd name="T12" fmla="*/ 24 w 148"/>
                  <a:gd name="T13" fmla="*/ 18 h 60"/>
                  <a:gd name="T14" fmla="*/ 32 w 148"/>
                  <a:gd name="T15" fmla="*/ 12 h 60"/>
                  <a:gd name="T16" fmla="*/ 42 w 148"/>
                  <a:gd name="T17" fmla="*/ 6 h 60"/>
                  <a:gd name="T18" fmla="*/ 52 w 148"/>
                  <a:gd name="T19" fmla="*/ 2 h 60"/>
                  <a:gd name="T20" fmla="*/ 64 w 148"/>
                  <a:gd name="T21" fmla="*/ 0 h 60"/>
                  <a:gd name="T22" fmla="*/ 74 w 148"/>
                  <a:gd name="T23" fmla="*/ 0 h 60"/>
                  <a:gd name="T24" fmla="*/ 74 w 148"/>
                  <a:gd name="T25" fmla="*/ 0 h 60"/>
                  <a:gd name="T26" fmla="*/ 86 w 148"/>
                  <a:gd name="T27" fmla="*/ 0 h 60"/>
                  <a:gd name="T28" fmla="*/ 96 w 148"/>
                  <a:gd name="T29" fmla="*/ 2 h 60"/>
                  <a:gd name="T30" fmla="*/ 106 w 148"/>
                  <a:gd name="T31" fmla="*/ 6 h 60"/>
                  <a:gd name="T32" fmla="*/ 116 w 148"/>
                  <a:gd name="T33" fmla="*/ 12 h 60"/>
                  <a:gd name="T34" fmla="*/ 126 w 148"/>
                  <a:gd name="T35" fmla="*/ 18 h 60"/>
                  <a:gd name="T36" fmla="*/ 132 w 148"/>
                  <a:gd name="T37" fmla="*/ 26 h 60"/>
                  <a:gd name="T38" fmla="*/ 140 w 148"/>
                  <a:gd name="T39" fmla="*/ 36 h 60"/>
                  <a:gd name="T40" fmla="*/ 146 w 148"/>
                  <a:gd name="T41" fmla="*/ 44 h 60"/>
                  <a:gd name="T42" fmla="*/ 148 w 148"/>
                  <a:gd name="T43" fmla="*/ 52 h 60"/>
                  <a:gd name="T44" fmla="*/ 132 w 148"/>
                  <a:gd name="T45" fmla="*/ 60 h 60"/>
                  <a:gd name="T46" fmla="*/ 128 w 148"/>
                  <a:gd name="T47" fmla="*/ 52 h 60"/>
                  <a:gd name="T48" fmla="*/ 128 w 148"/>
                  <a:gd name="T49" fmla="*/ 52 h 60"/>
                  <a:gd name="T50" fmla="*/ 124 w 148"/>
                  <a:gd name="T51" fmla="*/ 44 h 60"/>
                  <a:gd name="T52" fmla="*/ 120 w 148"/>
                  <a:gd name="T53" fmla="*/ 38 h 60"/>
                  <a:gd name="T54" fmla="*/ 106 w 148"/>
                  <a:gd name="T55" fmla="*/ 28 h 60"/>
                  <a:gd name="T56" fmla="*/ 92 w 148"/>
                  <a:gd name="T57" fmla="*/ 20 h 60"/>
                  <a:gd name="T58" fmla="*/ 84 w 148"/>
                  <a:gd name="T59" fmla="*/ 18 h 60"/>
                  <a:gd name="T60" fmla="*/ 74 w 148"/>
                  <a:gd name="T61" fmla="*/ 18 h 60"/>
                  <a:gd name="T62" fmla="*/ 74 w 148"/>
                  <a:gd name="T63" fmla="*/ 18 h 60"/>
                  <a:gd name="T64" fmla="*/ 66 w 148"/>
                  <a:gd name="T65" fmla="*/ 18 h 60"/>
                  <a:gd name="T66" fmla="*/ 58 w 148"/>
                  <a:gd name="T67" fmla="*/ 20 h 60"/>
                  <a:gd name="T68" fmla="*/ 42 w 148"/>
                  <a:gd name="T69" fmla="*/ 28 h 60"/>
                  <a:gd name="T70" fmla="*/ 30 w 148"/>
                  <a:gd name="T71" fmla="*/ 38 h 60"/>
                  <a:gd name="T72" fmla="*/ 24 w 148"/>
                  <a:gd name="T73" fmla="*/ 44 h 60"/>
                  <a:gd name="T74" fmla="*/ 20 w 148"/>
                  <a:gd name="T75" fmla="*/ 52 h 60"/>
                  <a:gd name="T76" fmla="*/ 16 w 148"/>
                  <a:gd name="T7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60">
                    <a:moveTo>
                      <a:pt x="16" y="60"/>
                    </a:moveTo>
                    <a:lnTo>
                      <a:pt x="0" y="52"/>
                    </a:lnTo>
                    <a:lnTo>
                      <a:pt x="4" y="44"/>
                    </a:lnTo>
                    <a:lnTo>
                      <a:pt x="4" y="44"/>
                    </a:lnTo>
                    <a:lnTo>
                      <a:pt x="10" y="36"/>
                    </a:lnTo>
                    <a:lnTo>
                      <a:pt x="16" y="26"/>
                    </a:lnTo>
                    <a:lnTo>
                      <a:pt x="24" y="18"/>
                    </a:lnTo>
                    <a:lnTo>
                      <a:pt x="32" y="12"/>
                    </a:lnTo>
                    <a:lnTo>
                      <a:pt x="42" y="6"/>
                    </a:lnTo>
                    <a:lnTo>
                      <a:pt x="52" y="2"/>
                    </a:lnTo>
                    <a:lnTo>
                      <a:pt x="64" y="0"/>
                    </a:lnTo>
                    <a:lnTo>
                      <a:pt x="74" y="0"/>
                    </a:lnTo>
                    <a:lnTo>
                      <a:pt x="74" y="0"/>
                    </a:lnTo>
                    <a:lnTo>
                      <a:pt x="86" y="0"/>
                    </a:lnTo>
                    <a:lnTo>
                      <a:pt x="96" y="2"/>
                    </a:lnTo>
                    <a:lnTo>
                      <a:pt x="106" y="6"/>
                    </a:lnTo>
                    <a:lnTo>
                      <a:pt x="116" y="12"/>
                    </a:lnTo>
                    <a:lnTo>
                      <a:pt x="126" y="18"/>
                    </a:lnTo>
                    <a:lnTo>
                      <a:pt x="132" y="26"/>
                    </a:lnTo>
                    <a:lnTo>
                      <a:pt x="140" y="36"/>
                    </a:lnTo>
                    <a:lnTo>
                      <a:pt x="146" y="44"/>
                    </a:lnTo>
                    <a:lnTo>
                      <a:pt x="148" y="52"/>
                    </a:lnTo>
                    <a:lnTo>
                      <a:pt x="132" y="60"/>
                    </a:lnTo>
                    <a:lnTo>
                      <a:pt x="128" y="52"/>
                    </a:lnTo>
                    <a:lnTo>
                      <a:pt x="128" y="52"/>
                    </a:lnTo>
                    <a:lnTo>
                      <a:pt x="124" y="44"/>
                    </a:lnTo>
                    <a:lnTo>
                      <a:pt x="120" y="38"/>
                    </a:lnTo>
                    <a:lnTo>
                      <a:pt x="106" y="28"/>
                    </a:lnTo>
                    <a:lnTo>
                      <a:pt x="92" y="20"/>
                    </a:lnTo>
                    <a:lnTo>
                      <a:pt x="84" y="18"/>
                    </a:lnTo>
                    <a:lnTo>
                      <a:pt x="74" y="18"/>
                    </a:lnTo>
                    <a:lnTo>
                      <a:pt x="74" y="18"/>
                    </a:lnTo>
                    <a:lnTo>
                      <a:pt x="66" y="18"/>
                    </a:lnTo>
                    <a:lnTo>
                      <a:pt x="58" y="20"/>
                    </a:lnTo>
                    <a:lnTo>
                      <a:pt x="42" y="28"/>
                    </a:lnTo>
                    <a:lnTo>
                      <a:pt x="30" y="38"/>
                    </a:lnTo>
                    <a:lnTo>
                      <a:pt x="24" y="44"/>
                    </a:lnTo>
                    <a:lnTo>
                      <a:pt x="20" y="52"/>
                    </a:lnTo>
                    <a:lnTo>
                      <a:pt x="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44">
                <a:extLst>
                  <a:ext uri="{FF2B5EF4-FFF2-40B4-BE49-F238E27FC236}">
                    <a16:creationId xmlns:a16="http://schemas.microsoft.com/office/drawing/2014/main" id="{50FCB019-3FAD-49ED-9A43-3691C87A1693}"/>
                  </a:ext>
                </a:extLst>
              </p:cNvPr>
              <p:cNvSpPr>
                <a:spLocks/>
              </p:cNvSpPr>
              <p:nvPr/>
            </p:nvSpPr>
            <p:spPr bwMode="auto">
              <a:xfrm>
                <a:off x="934" y="985"/>
                <a:ext cx="56" cy="56"/>
              </a:xfrm>
              <a:custGeom>
                <a:avLst/>
                <a:gdLst>
                  <a:gd name="T0" fmla="*/ 8 w 56"/>
                  <a:gd name="T1" fmla="*/ 56 h 56"/>
                  <a:gd name="T2" fmla="*/ 0 w 56"/>
                  <a:gd name="T3" fmla="*/ 40 h 56"/>
                  <a:gd name="T4" fmla="*/ 8 w 56"/>
                  <a:gd name="T5" fmla="*/ 36 h 56"/>
                  <a:gd name="T6" fmla="*/ 8 w 56"/>
                  <a:gd name="T7" fmla="*/ 36 h 56"/>
                  <a:gd name="T8" fmla="*/ 16 w 56"/>
                  <a:gd name="T9" fmla="*/ 32 h 56"/>
                  <a:gd name="T10" fmla="*/ 24 w 56"/>
                  <a:gd name="T11" fmla="*/ 24 h 56"/>
                  <a:gd name="T12" fmla="*/ 32 w 56"/>
                  <a:gd name="T13" fmla="*/ 16 h 56"/>
                  <a:gd name="T14" fmla="*/ 36 w 56"/>
                  <a:gd name="T15" fmla="*/ 8 h 56"/>
                  <a:gd name="T16" fmla="*/ 40 w 56"/>
                  <a:gd name="T17" fmla="*/ 0 h 56"/>
                  <a:gd name="T18" fmla="*/ 56 w 56"/>
                  <a:gd name="T19" fmla="*/ 6 h 56"/>
                  <a:gd name="T20" fmla="*/ 54 w 56"/>
                  <a:gd name="T21" fmla="*/ 16 h 56"/>
                  <a:gd name="T22" fmla="*/ 54 w 56"/>
                  <a:gd name="T23" fmla="*/ 16 h 56"/>
                  <a:gd name="T24" fmla="*/ 46 w 56"/>
                  <a:gd name="T25" fmla="*/ 26 h 56"/>
                  <a:gd name="T26" fmla="*/ 38 w 56"/>
                  <a:gd name="T27" fmla="*/ 38 h 56"/>
                  <a:gd name="T28" fmla="*/ 28 w 56"/>
                  <a:gd name="T29" fmla="*/ 46 h 56"/>
                  <a:gd name="T30" fmla="*/ 16 w 56"/>
                  <a:gd name="T31" fmla="*/ 52 h 56"/>
                  <a:gd name="T32" fmla="*/ 8 w 56"/>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8" y="56"/>
                    </a:moveTo>
                    <a:lnTo>
                      <a:pt x="0" y="40"/>
                    </a:lnTo>
                    <a:lnTo>
                      <a:pt x="8" y="36"/>
                    </a:lnTo>
                    <a:lnTo>
                      <a:pt x="8" y="36"/>
                    </a:lnTo>
                    <a:lnTo>
                      <a:pt x="16" y="32"/>
                    </a:lnTo>
                    <a:lnTo>
                      <a:pt x="24" y="24"/>
                    </a:lnTo>
                    <a:lnTo>
                      <a:pt x="32" y="16"/>
                    </a:lnTo>
                    <a:lnTo>
                      <a:pt x="36" y="8"/>
                    </a:lnTo>
                    <a:lnTo>
                      <a:pt x="40" y="0"/>
                    </a:lnTo>
                    <a:lnTo>
                      <a:pt x="56" y="6"/>
                    </a:lnTo>
                    <a:lnTo>
                      <a:pt x="54" y="16"/>
                    </a:lnTo>
                    <a:lnTo>
                      <a:pt x="54" y="16"/>
                    </a:lnTo>
                    <a:lnTo>
                      <a:pt x="46" y="26"/>
                    </a:lnTo>
                    <a:lnTo>
                      <a:pt x="38" y="38"/>
                    </a:lnTo>
                    <a:lnTo>
                      <a:pt x="28" y="46"/>
                    </a:lnTo>
                    <a:lnTo>
                      <a:pt x="16" y="52"/>
                    </a:lnTo>
                    <a:lnTo>
                      <a:pt x="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45">
                <a:extLst>
                  <a:ext uri="{FF2B5EF4-FFF2-40B4-BE49-F238E27FC236}">
                    <a16:creationId xmlns:a16="http://schemas.microsoft.com/office/drawing/2014/main" id="{9E18EA9A-E36F-4E95-B309-CFF05B28625F}"/>
                  </a:ext>
                </a:extLst>
              </p:cNvPr>
              <p:cNvSpPr>
                <a:spLocks/>
              </p:cNvSpPr>
              <p:nvPr/>
            </p:nvSpPr>
            <p:spPr bwMode="auto">
              <a:xfrm>
                <a:off x="842" y="985"/>
                <a:ext cx="58" cy="56"/>
              </a:xfrm>
              <a:custGeom>
                <a:avLst/>
                <a:gdLst>
                  <a:gd name="T0" fmla="*/ 50 w 58"/>
                  <a:gd name="T1" fmla="*/ 56 h 56"/>
                  <a:gd name="T2" fmla="*/ 42 w 58"/>
                  <a:gd name="T3" fmla="*/ 52 h 56"/>
                  <a:gd name="T4" fmla="*/ 42 w 58"/>
                  <a:gd name="T5" fmla="*/ 52 h 56"/>
                  <a:gd name="T6" fmla="*/ 30 w 58"/>
                  <a:gd name="T7" fmla="*/ 46 h 56"/>
                  <a:gd name="T8" fmla="*/ 20 w 58"/>
                  <a:gd name="T9" fmla="*/ 38 h 56"/>
                  <a:gd name="T10" fmla="*/ 10 w 58"/>
                  <a:gd name="T11" fmla="*/ 26 h 56"/>
                  <a:gd name="T12" fmla="*/ 4 w 58"/>
                  <a:gd name="T13" fmla="*/ 16 h 56"/>
                  <a:gd name="T14" fmla="*/ 0 w 58"/>
                  <a:gd name="T15" fmla="*/ 6 h 56"/>
                  <a:gd name="T16" fmla="*/ 16 w 58"/>
                  <a:gd name="T17" fmla="*/ 0 h 56"/>
                  <a:gd name="T18" fmla="*/ 20 w 58"/>
                  <a:gd name="T19" fmla="*/ 8 h 56"/>
                  <a:gd name="T20" fmla="*/ 20 w 58"/>
                  <a:gd name="T21" fmla="*/ 8 h 56"/>
                  <a:gd name="T22" fmla="*/ 26 w 58"/>
                  <a:gd name="T23" fmla="*/ 16 h 56"/>
                  <a:gd name="T24" fmla="*/ 32 w 58"/>
                  <a:gd name="T25" fmla="*/ 24 h 56"/>
                  <a:gd name="T26" fmla="*/ 40 w 58"/>
                  <a:gd name="T27" fmla="*/ 32 h 56"/>
                  <a:gd name="T28" fmla="*/ 48 w 58"/>
                  <a:gd name="T29" fmla="*/ 36 h 56"/>
                  <a:gd name="T30" fmla="*/ 58 w 58"/>
                  <a:gd name="T31" fmla="*/ 40 h 56"/>
                  <a:gd name="T32" fmla="*/ 50 w 58"/>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6">
                    <a:moveTo>
                      <a:pt x="50" y="56"/>
                    </a:moveTo>
                    <a:lnTo>
                      <a:pt x="42" y="52"/>
                    </a:lnTo>
                    <a:lnTo>
                      <a:pt x="42" y="52"/>
                    </a:lnTo>
                    <a:lnTo>
                      <a:pt x="30" y="46"/>
                    </a:lnTo>
                    <a:lnTo>
                      <a:pt x="20" y="38"/>
                    </a:lnTo>
                    <a:lnTo>
                      <a:pt x="10" y="26"/>
                    </a:lnTo>
                    <a:lnTo>
                      <a:pt x="4" y="16"/>
                    </a:lnTo>
                    <a:lnTo>
                      <a:pt x="0" y="6"/>
                    </a:lnTo>
                    <a:lnTo>
                      <a:pt x="16" y="0"/>
                    </a:lnTo>
                    <a:lnTo>
                      <a:pt x="20" y="8"/>
                    </a:lnTo>
                    <a:lnTo>
                      <a:pt x="20" y="8"/>
                    </a:lnTo>
                    <a:lnTo>
                      <a:pt x="26" y="16"/>
                    </a:lnTo>
                    <a:lnTo>
                      <a:pt x="32" y="24"/>
                    </a:lnTo>
                    <a:lnTo>
                      <a:pt x="40" y="32"/>
                    </a:lnTo>
                    <a:lnTo>
                      <a:pt x="48" y="36"/>
                    </a:lnTo>
                    <a:lnTo>
                      <a:pt x="58" y="40"/>
                    </a:lnTo>
                    <a:lnTo>
                      <a:pt x="5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46">
                <a:extLst>
                  <a:ext uri="{FF2B5EF4-FFF2-40B4-BE49-F238E27FC236}">
                    <a16:creationId xmlns:a16="http://schemas.microsoft.com/office/drawing/2014/main" id="{13955BD6-E33B-4EC8-AB47-325267C1EFC1}"/>
                  </a:ext>
                </a:extLst>
              </p:cNvPr>
              <p:cNvSpPr>
                <a:spLocks noEditPoints="1"/>
              </p:cNvSpPr>
              <p:nvPr/>
            </p:nvSpPr>
            <p:spPr bwMode="auto">
              <a:xfrm>
                <a:off x="576" y="993"/>
                <a:ext cx="154" cy="228"/>
              </a:xfrm>
              <a:custGeom>
                <a:avLst/>
                <a:gdLst>
                  <a:gd name="T0" fmla="*/ 146 w 154"/>
                  <a:gd name="T1" fmla="*/ 228 h 228"/>
                  <a:gd name="T2" fmla="*/ 8 w 154"/>
                  <a:gd name="T3" fmla="*/ 228 h 228"/>
                  <a:gd name="T4" fmla="*/ 0 w 154"/>
                  <a:gd name="T5" fmla="*/ 216 h 228"/>
                  <a:gd name="T6" fmla="*/ 68 w 154"/>
                  <a:gd name="T7" fmla="*/ 0 h 228"/>
                  <a:gd name="T8" fmla="*/ 86 w 154"/>
                  <a:gd name="T9" fmla="*/ 0 h 228"/>
                  <a:gd name="T10" fmla="*/ 154 w 154"/>
                  <a:gd name="T11" fmla="*/ 216 h 228"/>
                  <a:gd name="T12" fmla="*/ 146 w 154"/>
                  <a:gd name="T13" fmla="*/ 228 h 228"/>
                  <a:gd name="T14" fmla="*/ 20 w 154"/>
                  <a:gd name="T15" fmla="*/ 210 h 228"/>
                  <a:gd name="T16" fmla="*/ 134 w 154"/>
                  <a:gd name="T17" fmla="*/ 210 h 228"/>
                  <a:gd name="T18" fmla="*/ 76 w 154"/>
                  <a:gd name="T19" fmla="*/ 32 h 228"/>
                  <a:gd name="T20" fmla="*/ 20 w 154"/>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28">
                    <a:moveTo>
                      <a:pt x="146" y="228"/>
                    </a:moveTo>
                    <a:lnTo>
                      <a:pt x="8" y="228"/>
                    </a:lnTo>
                    <a:lnTo>
                      <a:pt x="0" y="216"/>
                    </a:lnTo>
                    <a:lnTo>
                      <a:pt x="68" y="0"/>
                    </a:lnTo>
                    <a:lnTo>
                      <a:pt x="86" y="0"/>
                    </a:lnTo>
                    <a:lnTo>
                      <a:pt x="154" y="216"/>
                    </a:lnTo>
                    <a:lnTo>
                      <a:pt x="146" y="228"/>
                    </a:lnTo>
                    <a:close/>
                    <a:moveTo>
                      <a:pt x="20" y="210"/>
                    </a:moveTo>
                    <a:lnTo>
                      <a:pt x="134" y="210"/>
                    </a:lnTo>
                    <a:lnTo>
                      <a:pt x="76" y="32"/>
                    </a:lnTo>
                    <a:lnTo>
                      <a:pt x="2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6" name="Freeform 47">
                <a:extLst>
                  <a:ext uri="{FF2B5EF4-FFF2-40B4-BE49-F238E27FC236}">
                    <a16:creationId xmlns:a16="http://schemas.microsoft.com/office/drawing/2014/main" id="{7748F18C-CEF6-4B7B-BF05-5EDF951111AA}"/>
                  </a:ext>
                </a:extLst>
              </p:cNvPr>
              <p:cNvSpPr>
                <a:spLocks noEditPoints="1"/>
              </p:cNvSpPr>
              <p:nvPr/>
            </p:nvSpPr>
            <p:spPr bwMode="auto">
              <a:xfrm>
                <a:off x="1102" y="993"/>
                <a:ext cx="156" cy="228"/>
              </a:xfrm>
              <a:custGeom>
                <a:avLst/>
                <a:gdLst>
                  <a:gd name="T0" fmla="*/ 146 w 156"/>
                  <a:gd name="T1" fmla="*/ 228 h 228"/>
                  <a:gd name="T2" fmla="*/ 10 w 156"/>
                  <a:gd name="T3" fmla="*/ 228 h 228"/>
                  <a:gd name="T4" fmla="*/ 0 w 156"/>
                  <a:gd name="T5" fmla="*/ 216 h 228"/>
                  <a:gd name="T6" fmla="*/ 70 w 156"/>
                  <a:gd name="T7" fmla="*/ 0 h 228"/>
                  <a:gd name="T8" fmla="*/ 86 w 156"/>
                  <a:gd name="T9" fmla="*/ 0 h 228"/>
                  <a:gd name="T10" fmla="*/ 156 w 156"/>
                  <a:gd name="T11" fmla="*/ 216 h 228"/>
                  <a:gd name="T12" fmla="*/ 146 w 156"/>
                  <a:gd name="T13" fmla="*/ 228 h 228"/>
                  <a:gd name="T14" fmla="*/ 22 w 156"/>
                  <a:gd name="T15" fmla="*/ 210 h 228"/>
                  <a:gd name="T16" fmla="*/ 134 w 156"/>
                  <a:gd name="T17" fmla="*/ 210 h 228"/>
                  <a:gd name="T18" fmla="*/ 78 w 156"/>
                  <a:gd name="T19" fmla="*/ 32 h 228"/>
                  <a:gd name="T20" fmla="*/ 22 w 156"/>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28">
                    <a:moveTo>
                      <a:pt x="146" y="228"/>
                    </a:moveTo>
                    <a:lnTo>
                      <a:pt x="10" y="228"/>
                    </a:lnTo>
                    <a:lnTo>
                      <a:pt x="0" y="216"/>
                    </a:lnTo>
                    <a:lnTo>
                      <a:pt x="70" y="0"/>
                    </a:lnTo>
                    <a:lnTo>
                      <a:pt x="86" y="0"/>
                    </a:lnTo>
                    <a:lnTo>
                      <a:pt x="156" y="216"/>
                    </a:lnTo>
                    <a:lnTo>
                      <a:pt x="146" y="228"/>
                    </a:lnTo>
                    <a:close/>
                    <a:moveTo>
                      <a:pt x="22" y="210"/>
                    </a:moveTo>
                    <a:lnTo>
                      <a:pt x="134" y="210"/>
                    </a:lnTo>
                    <a:lnTo>
                      <a:pt x="78" y="32"/>
                    </a:lnTo>
                    <a:lnTo>
                      <a:pt x="22"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7" name="Freeform 48">
                <a:extLst>
                  <a:ext uri="{FF2B5EF4-FFF2-40B4-BE49-F238E27FC236}">
                    <a16:creationId xmlns:a16="http://schemas.microsoft.com/office/drawing/2014/main" id="{7BF41B90-7220-44D6-9D87-C0669781ECB9}"/>
                  </a:ext>
                </a:extLst>
              </p:cNvPr>
              <p:cNvSpPr>
                <a:spLocks noEditPoints="1"/>
              </p:cNvSpPr>
              <p:nvPr/>
            </p:nvSpPr>
            <p:spPr bwMode="auto">
              <a:xfrm>
                <a:off x="528" y="1203"/>
                <a:ext cx="250" cy="134"/>
              </a:xfrm>
              <a:custGeom>
                <a:avLst/>
                <a:gdLst>
                  <a:gd name="T0" fmla="*/ 124 w 250"/>
                  <a:gd name="T1" fmla="*/ 134 h 134"/>
                  <a:gd name="T2" fmla="*/ 124 w 250"/>
                  <a:gd name="T3" fmla="*/ 134 h 134"/>
                  <a:gd name="T4" fmla="*/ 112 w 250"/>
                  <a:gd name="T5" fmla="*/ 134 h 134"/>
                  <a:gd name="T6" fmla="*/ 100 w 250"/>
                  <a:gd name="T7" fmla="*/ 132 h 134"/>
                  <a:gd name="T8" fmla="*/ 88 w 250"/>
                  <a:gd name="T9" fmla="*/ 128 h 134"/>
                  <a:gd name="T10" fmla="*/ 76 w 250"/>
                  <a:gd name="T11" fmla="*/ 124 h 134"/>
                  <a:gd name="T12" fmla="*/ 56 w 250"/>
                  <a:gd name="T13" fmla="*/ 114 h 134"/>
                  <a:gd name="T14" fmla="*/ 36 w 250"/>
                  <a:gd name="T15" fmla="*/ 98 h 134"/>
                  <a:gd name="T16" fmla="*/ 22 w 250"/>
                  <a:gd name="T17" fmla="*/ 80 h 134"/>
                  <a:gd name="T18" fmla="*/ 10 w 250"/>
                  <a:gd name="T19" fmla="*/ 58 h 134"/>
                  <a:gd name="T20" fmla="*/ 6 w 250"/>
                  <a:gd name="T21" fmla="*/ 46 h 134"/>
                  <a:gd name="T22" fmla="*/ 2 w 250"/>
                  <a:gd name="T23" fmla="*/ 34 h 134"/>
                  <a:gd name="T24" fmla="*/ 0 w 250"/>
                  <a:gd name="T25" fmla="*/ 22 h 134"/>
                  <a:gd name="T26" fmla="*/ 0 w 250"/>
                  <a:gd name="T27" fmla="*/ 10 h 134"/>
                  <a:gd name="T28" fmla="*/ 0 w 250"/>
                  <a:gd name="T29" fmla="*/ 0 h 134"/>
                  <a:gd name="T30" fmla="*/ 250 w 250"/>
                  <a:gd name="T31" fmla="*/ 0 h 134"/>
                  <a:gd name="T32" fmla="*/ 250 w 250"/>
                  <a:gd name="T33" fmla="*/ 10 h 134"/>
                  <a:gd name="T34" fmla="*/ 250 w 250"/>
                  <a:gd name="T35" fmla="*/ 10 h 134"/>
                  <a:gd name="T36" fmla="*/ 250 w 250"/>
                  <a:gd name="T37" fmla="*/ 22 h 134"/>
                  <a:gd name="T38" fmla="*/ 248 w 250"/>
                  <a:gd name="T39" fmla="*/ 34 h 134"/>
                  <a:gd name="T40" fmla="*/ 244 w 250"/>
                  <a:gd name="T41" fmla="*/ 46 h 134"/>
                  <a:gd name="T42" fmla="*/ 240 w 250"/>
                  <a:gd name="T43" fmla="*/ 58 h 134"/>
                  <a:gd name="T44" fmla="*/ 228 w 250"/>
                  <a:gd name="T45" fmla="*/ 80 h 134"/>
                  <a:gd name="T46" fmla="*/ 214 w 250"/>
                  <a:gd name="T47" fmla="*/ 98 h 134"/>
                  <a:gd name="T48" fmla="*/ 194 w 250"/>
                  <a:gd name="T49" fmla="*/ 114 h 134"/>
                  <a:gd name="T50" fmla="*/ 174 w 250"/>
                  <a:gd name="T51" fmla="*/ 124 h 134"/>
                  <a:gd name="T52" fmla="*/ 162 w 250"/>
                  <a:gd name="T53" fmla="*/ 128 h 134"/>
                  <a:gd name="T54" fmla="*/ 150 w 250"/>
                  <a:gd name="T55" fmla="*/ 132 h 134"/>
                  <a:gd name="T56" fmla="*/ 138 w 250"/>
                  <a:gd name="T57" fmla="*/ 134 h 134"/>
                  <a:gd name="T58" fmla="*/ 124 w 250"/>
                  <a:gd name="T59" fmla="*/ 134 h 134"/>
                  <a:gd name="T60" fmla="*/ 124 w 250"/>
                  <a:gd name="T61" fmla="*/ 134 h 134"/>
                  <a:gd name="T62" fmla="*/ 18 w 250"/>
                  <a:gd name="T63" fmla="*/ 18 h 134"/>
                  <a:gd name="T64" fmla="*/ 18 w 250"/>
                  <a:gd name="T65" fmla="*/ 18 h 134"/>
                  <a:gd name="T66" fmla="*/ 22 w 250"/>
                  <a:gd name="T67" fmla="*/ 38 h 134"/>
                  <a:gd name="T68" fmla="*/ 30 w 250"/>
                  <a:gd name="T69" fmla="*/ 56 h 134"/>
                  <a:gd name="T70" fmla="*/ 40 w 250"/>
                  <a:gd name="T71" fmla="*/ 74 h 134"/>
                  <a:gd name="T72" fmla="*/ 52 w 250"/>
                  <a:gd name="T73" fmla="*/ 88 h 134"/>
                  <a:gd name="T74" fmla="*/ 68 w 250"/>
                  <a:gd name="T75" fmla="*/ 100 h 134"/>
                  <a:gd name="T76" fmla="*/ 86 w 250"/>
                  <a:gd name="T77" fmla="*/ 108 h 134"/>
                  <a:gd name="T78" fmla="*/ 104 w 250"/>
                  <a:gd name="T79" fmla="*/ 114 h 134"/>
                  <a:gd name="T80" fmla="*/ 124 w 250"/>
                  <a:gd name="T81" fmla="*/ 116 h 134"/>
                  <a:gd name="T82" fmla="*/ 124 w 250"/>
                  <a:gd name="T83" fmla="*/ 116 h 134"/>
                  <a:gd name="T84" fmla="*/ 146 w 250"/>
                  <a:gd name="T85" fmla="*/ 114 h 134"/>
                  <a:gd name="T86" fmla="*/ 164 w 250"/>
                  <a:gd name="T87" fmla="*/ 108 h 134"/>
                  <a:gd name="T88" fmla="*/ 182 w 250"/>
                  <a:gd name="T89" fmla="*/ 100 h 134"/>
                  <a:gd name="T90" fmla="*/ 198 w 250"/>
                  <a:gd name="T91" fmla="*/ 88 h 134"/>
                  <a:gd name="T92" fmla="*/ 210 w 250"/>
                  <a:gd name="T93" fmla="*/ 74 h 134"/>
                  <a:gd name="T94" fmla="*/ 220 w 250"/>
                  <a:gd name="T95" fmla="*/ 56 h 134"/>
                  <a:gd name="T96" fmla="*/ 228 w 250"/>
                  <a:gd name="T97" fmla="*/ 38 h 134"/>
                  <a:gd name="T98" fmla="*/ 232 w 250"/>
                  <a:gd name="T99" fmla="*/ 18 h 134"/>
                  <a:gd name="T100" fmla="*/ 18 w 250"/>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134">
                    <a:moveTo>
                      <a:pt x="124" y="134"/>
                    </a:moveTo>
                    <a:lnTo>
                      <a:pt x="124" y="134"/>
                    </a:lnTo>
                    <a:lnTo>
                      <a:pt x="112" y="134"/>
                    </a:lnTo>
                    <a:lnTo>
                      <a:pt x="100" y="132"/>
                    </a:lnTo>
                    <a:lnTo>
                      <a:pt x="88" y="128"/>
                    </a:lnTo>
                    <a:lnTo>
                      <a:pt x="76" y="124"/>
                    </a:lnTo>
                    <a:lnTo>
                      <a:pt x="56" y="114"/>
                    </a:lnTo>
                    <a:lnTo>
                      <a:pt x="36" y="98"/>
                    </a:lnTo>
                    <a:lnTo>
                      <a:pt x="22" y="80"/>
                    </a:lnTo>
                    <a:lnTo>
                      <a:pt x="10" y="58"/>
                    </a:lnTo>
                    <a:lnTo>
                      <a:pt x="6" y="46"/>
                    </a:lnTo>
                    <a:lnTo>
                      <a:pt x="2" y="34"/>
                    </a:lnTo>
                    <a:lnTo>
                      <a:pt x="0" y="22"/>
                    </a:lnTo>
                    <a:lnTo>
                      <a:pt x="0" y="10"/>
                    </a:lnTo>
                    <a:lnTo>
                      <a:pt x="0" y="0"/>
                    </a:lnTo>
                    <a:lnTo>
                      <a:pt x="250" y="0"/>
                    </a:lnTo>
                    <a:lnTo>
                      <a:pt x="250" y="10"/>
                    </a:lnTo>
                    <a:lnTo>
                      <a:pt x="250" y="10"/>
                    </a:lnTo>
                    <a:lnTo>
                      <a:pt x="250" y="22"/>
                    </a:lnTo>
                    <a:lnTo>
                      <a:pt x="248" y="34"/>
                    </a:lnTo>
                    <a:lnTo>
                      <a:pt x="244" y="46"/>
                    </a:lnTo>
                    <a:lnTo>
                      <a:pt x="240" y="58"/>
                    </a:lnTo>
                    <a:lnTo>
                      <a:pt x="228" y="80"/>
                    </a:lnTo>
                    <a:lnTo>
                      <a:pt x="214" y="98"/>
                    </a:lnTo>
                    <a:lnTo>
                      <a:pt x="194" y="114"/>
                    </a:lnTo>
                    <a:lnTo>
                      <a:pt x="174" y="124"/>
                    </a:lnTo>
                    <a:lnTo>
                      <a:pt x="162" y="128"/>
                    </a:lnTo>
                    <a:lnTo>
                      <a:pt x="150" y="132"/>
                    </a:lnTo>
                    <a:lnTo>
                      <a:pt x="138" y="134"/>
                    </a:lnTo>
                    <a:lnTo>
                      <a:pt x="124" y="134"/>
                    </a:lnTo>
                    <a:lnTo>
                      <a:pt x="124" y="134"/>
                    </a:lnTo>
                    <a:close/>
                    <a:moveTo>
                      <a:pt x="18" y="18"/>
                    </a:moveTo>
                    <a:lnTo>
                      <a:pt x="18" y="18"/>
                    </a:lnTo>
                    <a:lnTo>
                      <a:pt x="22" y="38"/>
                    </a:lnTo>
                    <a:lnTo>
                      <a:pt x="30" y="56"/>
                    </a:lnTo>
                    <a:lnTo>
                      <a:pt x="40" y="74"/>
                    </a:lnTo>
                    <a:lnTo>
                      <a:pt x="52" y="88"/>
                    </a:lnTo>
                    <a:lnTo>
                      <a:pt x="68" y="100"/>
                    </a:lnTo>
                    <a:lnTo>
                      <a:pt x="86" y="108"/>
                    </a:lnTo>
                    <a:lnTo>
                      <a:pt x="104" y="114"/>
                    </a:lnTo>
                    <a:lnTo>
                      <a:pt x="124" y="116"/>
                    </a:lnTo>
                    <a:lnTo>
                      <a:pt x="124" y="116"/>
                    </a:lnTo>
                    <a:lnTo>
                      <a:pt x="146" y="114"/>
                    </a:lnTo>
                    <a:lnTo>
                      <a:pt x="164" y="108"/>
                    </a:lnTo>
                    <a:lnTo>
                      <a:pt x="182" y="100"/>
                    </a:lnTo>
                    <a:lnTo>
                      <a:pt x="198" y="88"/>
                    </a:lnTo>
                    <a:lnTo>
                      <a:pt x="210" y="74"/>
                    </a:lnTo>
                    <a:lnTo>
                      <a:pt x="220" y="56"/>
                    </a:lnTo>
                    <a:lnTo>
                      <a:pt x="228" y="38"/>
                    </a:lnTo>
                    <a:lnTo>
                      <a:pt x="232"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8" name="Freeform 49">
                <a:extLst>
                  <a:ext uri="{FF2B5EF4-FFF2-40B4-BE49-F238E27FC236}">
                    <a16:creationId xmlns:a16="http://schemas.microsoft.com/office/drawing/2014/main" id="{4FFD0141-97D2-4B3D-9EF5-F913239C1F23}"/>
                  </a:ext>
                </a:extLst>
              </p:cNvPr>
              <p:cNvSpPr>
                <a:spLocks noEditPoints="1"/>
              </p:cNvSpPr>
              <p:nvPr/>
            </p:nvSpPr>
            <p:spPr bwMode="auto">
              <a:xfrm>
                <a:off x="1056" y="1203"/>
                <a:ext cx="248" cy="134"/>
              </a:xfrm>
              <a:custGeom>
                <a:avLst/>
                <a:gdLst>
                  <a:gd name="T0" fmla="*/ 124 w 248"/>
                  <a:gd name="T1" fmla="*/ 134 h 134"/>
                  <a:gd name="T2" fmla="*/ 124 w 248"/>
                  <a:gd name="T3" fmla="*/ 134 h 134"/>
                  <a:gd name="T4" fmla="*/ 112 w 248"/>
                  <a:gd name="T5" fmla="*/ 134 h 134"/>
                  <a:gd name="T6" fmla="*/ 98 w 248"/>
                  <a:gd name="T7" fmla="*/ 132 h 134"/>
                  <a:gd name="T8" fmla="*/ 86 w 248"/>
                  <a:gd name="T9" fmla="*/ 128 h 134"/>
                  <a:gd name="T10" fmla="*/ 76 w 248"/>
                  <a:gd name="T11" fmla="*/ 124 h 134"/>
                  <a:gd name="T12" fmla="*/ 54 w 248"/>
                  <a:gd name="T13" fmla="*/ 114 h 134"/>
                  <a:gd name="T14" fmla="*/ 36 w 248"/>
                  <a:gd name="T15" fmla="*/ 98 h 134"/>
                  <a:gd name="T16" fmla="*/ 20 w 248"/>
                  <a:gd name="T17" fmla="*/ 80 h 134"/>
                  <a:gd name="T18" fmla="*/ 8 w 248"/>
                  <a:gd name="T19" fmla="*/ 58 h 134"/>
                  <a:gd name="T20" fmla="*/ 4 w 248"/>
                  <a:gd name="T21" fmla="*/ 46 h 134"/>
                  <a:gd name="T22" fmla="*/ 2 w 248"/>
                  <a:gd name="T23" fmla="*/ 34 h 134"/>
                  <a:gd name="T24" fmla="*/ 0 w 248"/>
                  <a:gd name="T25" fmla="*/ 22 h 134"/>
                  <a:gd name="T26" fmla="*/ 0 w 248"/>
                  <a:gd name="T27" fmla="*/ 10 h 134"/>
                  <a:gd name="T28" fmla="*/ 0 w 248"/>
                  <a:gd name="T29" fmla="*/ 0 h 134"/>
                  <a:gd name="T30" fmla="*/ 248 w 248"/>
                  <a:gd name="T31" fmla="*/ 0 h 134"/>
                  <a:gd name="T32" fmla="*/ 248 w 248"/>
                  <a:gd name="T33" fmla="*/ 10 h 134"/>
                  <a:gd name="T34" fmla="*/ 248 w 248"/>
                  <a:gd name="T35" fmla="*/ 10 h 134"/>
                  <a:gd name="T36" fmla="*/ 248 w 248"/>
                  <a:gd name="T37" fmla="*/ 22 h 134"/>
                  <a:gd name="T38" fmla="*/ 246 w 248"/>
                  <a:gd name="T39" fmla="*/ 34 h 134"/>
                  <a:gd name="T40" fmla="*/ 244 w 248"/>
                  <a:gd name="T41" fmla="*/ 46 h 134"/>
                  <a:gd name="T42" fmla="*/ 240 w 248"/>
                  <a:gd name="T43" fmla="*/ 58 h 134"/>
                  <a:gd name="T44" fmla="*/ 228 w 248"/>
                  <a:gd name="T45" fmla="*/ 80 h 134"/>
                  <a:gd name="T46" fmla="*/ 212 w 248"/>
                  <a:gd name="T47" fmla="*/ 98 h 134"/>
                  <a:gd name="T48" fmla="*/ 194 w 248"/>
                  <a:gd name="T49" fmla="*/ 114 h 134"/>
                  <a:gd name="T50" fmla="*/ 172 w 248"/>
                  <a:gd name="T51" fmla="*/ 124 h 134"/>
                  <a:gd name="T52" fmla="*/ 162 w 248"/>
                  <a:gd name="T53" fmla="*/ 128 h 134"/>
                  <a:gd name="T54" fmla="*/ 150 w 248"/>
                  <a:gd name="T55" fmla="*/ 132 h 134"/>
                  <a:gd name="T56" fmla="*/ 136 w 248"/>
                  <a:gd name="T57" fmla="*/ 134 h 134"/>
                  <a:gd name="T58" fmla="*/ 124 w 248"/>
                  <a:gd name="T59" fmla="*/ 134 h 134"/>
                  <a:gd name="T60" fmla="*/ 124 w 248"/>
                  <a:gd name="T61" fmla="*/ 134 h 134"/>
                  <a:gd name="T62" fmla="*/ 18 w 248"/>
                  <a:gd name="T63" fmla="*/ 18 h 134"/>
                  <a:gd name="T64" fmla="*/ 18 w 248"/>
                  <a:gd name="T65" fmla="*/ 18 h 134"/>
                  <a:gd name="T66" fmla="*/ 22 w 248"/>
                  <a:gd name="T67" fmla="*/ 38 h 134"/>
                  <a:gd name="T68" fmla="*/ 28 w 248"/>
                  <a:gd name="T69" fmla="*/ 56 h 134"/>
                  <a:gd name="T70" fmla="*/ 38 w 248"/>
                  <a:gd name="T71" fmla="*/ 74 h 134"/>
                  <a:gd name="T72" fmla="*/ 52 w 248"/>
                  <a:gd name="T73" fmla="*/ 88 h 134"/>
                  <a:gd name="T74" fmla="*/ 66 w 248"/>
                  <a:gd name="T75" fmla="*/ 100 h 134"/>
                  <a:gd name="T76" fmla="*/ 84 w 248"/>
                  <a:gd name="T77" fmla="*/ 108 h 134"/>
                  <a:gd name="T78" fmla="*/ 104 w 248"/>
                  <a:gd name="T79" fmla="*/ 114 h 134"/>
                  <a:gd name="T80" fmla="*/ 124 w 248"/>
                  <a:gd name="T81" fmla="*/ 116 h 134"/>
                  <a:gd name="T82" fmla="*/ 124 w 248"/>
                  <a:gd name="T83" fmla="*/ 116 h 134"/>
                  <a:gd name="T84" fmla="*/ 144 w 248"/>
                  <a:gd name="T85" fmla="*/ 114 h 134"/>
                  <a:gd name="T86" fmla="*/ 164 w 248"/>
                  <a:gd name="T87" fmla="*/ 108 h 134"/>
                  <a:gd name="T88" fmla="*/ 182 w 248"/>
                  <a:gd name="T89" fmla="*/ 100 h 134"/>
                  <a:gd name="T90" fmla="*/ 196 w 248"/>
                  <a:gd name="T91" fmla="*/ 88 h 134"/>
                  <a:gd name="T92" fmla="*/ 210 w 248"/>
                  <a:gd name="T93" fmla="*/ 74 h 134"/>
                  <a:gd name="T94" fmla="*/ 220 w 248"/>
                  <a:gd name="T95" fmla="*/ 56 h 134"/>
                  <a:gd name="T96" fmla="*/ 226 w 248"/>
                  <a:gd name="T97" fmla="*/ 38 h 134"/>
                  <a:gd name="T98" fmla="*/ 230 w 248"/>
                  <a:gd name="T99" fmla="*/ 18 h 134"/>
                  <a:gd name="T100" fmla="*/ 18 w 248"/>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34">
                    <a:moveTo>
                      <a:pt x="124" y="134"/>
                    </a:moveTo>
                    <a:lnTo>
                      <a:pt x="124" y="134"/>
                    </a:lnTo>
                    <a:lnTo>
                      <a:pt x="112" y="134"/>
                    </a:lnTo>
                    <a:lnTo>
                      <a:pt x="98" y="132"/>
                    </a:lnTo>
                    <a:lnTo>
                      <a:pt x="86" y="128"/>
                    </a:lnTo>
                    <a:lnTo>
                      <a:pt x="76" y="124"/>
                    </a:lnTo>
                    <a:lnTo>
                      <a:pt x="54" y="114"/>
                    </a:lnTo>
                    <a:lnTo>
                      <a:pt x="36" y="98"/>
                    </a:lnTo>
                    <a:lnTo>
                      <a:pt x="20" y="80"/>
                    </a:lnTo>
                    <a:lnTo>
                      <a:pt x="8" y="58"/>
                    </a:lnTo>
                    <a:lnTo>
                      <a:pt x="4" y="46"/>
                    </a:lnTo>
                    <a:lnTo>
                      <a:pt x="2" y="34"/>
                    </a:lnTo>
                    <a:lnTo>
                      <a:pt x="0" y="22"/>
                    </a:lnTo>
                    <a:lnTo>
                      <a:pt x="0" y="10"/>
                    </a:lnTo>
                    <a:lnTo>
                      <a:pt x="0" y="0"/>
                    </a:lnTo>
                    <a:lnTo>
                      <a:pt x="248" y="0"/>
                    </a:lnTo>
                    <a:lnTo>
                      <a:pt x="248" y="10"/>
                    </a:lnTo>
                    <a:lnTo>
                      <a:pt x="248" y="10"/>
                    </a:lnTo>
                    <a:lnTo>
                      <a:pt x="248" y="22"/>
                    </a:lnTo>
                    <a:lnTo>
                      <a:pt x="246" y="34"/>
                    </a:lnTo>
                    <a:lnTo>
                      <a:pt x="244" y="46"/>
                    </a:lnTo>
                    <a:lnTo>
                      <a:pt x="240" y="58"/>
                    </a:lnTo>
                    <a:lnTo>
                      <a:pt x="228" y="80"/>
                    </a:lnTo>
                    <a:lnTo>
                      <a:pt x="212" y="98"/>
                    </a:lnTo>
                    <a:lnTo>
                      <a:pt x="194" y="114"/>
                    </a:lnTo>
                    <a:lnTo>
                      <a:pt x="172" y="124"/>
                    </a:lnTo>
                    <a:lnTo>
                      <a:pt x="162" y="128"/>
                    </a:lnTo>
                    <a:lnTo>
                      <a:pt x="150" y="132"/>
                    </a:lnTo>
                    <a:lnTo>
                      <a:pt x="136" y="134"/>
                    </a:lnTo>
                    <a:lnTo>
                      <a:pt x="124" y="134"/>
                    </a:lnTo>
                    <a:lnTo>
                      <a:pt x="124" y="134"/>
                    </a:lnTo>
                    <a:close/>
                    <a:moveTo>
                      <a:pt x="18" y="18"/>
                    </a:moveTo>
                    <a:lnTo>
                      <a:pt x="18" y="18"/>
                    </a:lnTo>
                    <a:lnTo>
                      <a:pt x="22" y="38"/>
                    </a:lnTo>
                    <a:lnTo>
                      <a:pt x="28" y="56"/>
                    </a:lnTo>
                    <a:lnTo>
                      <a:pt x="38" y="74"/>
                    </a:lnTo>
                    <a:lnTo>
                      <a:pt x="52" y="88"/>
                    </a:lnTo>
                    <a:lnTo>
                      <a:pt x="66" y="100"/>
                    </a:lnTo>
                    <a:lnTo>
                      <a:pt x="84" y="108"/>
                    </a:lnTo>
                    <a:lnTo>
                      <a:pt x="104" y="114"/>
                    </a:lnTo>
                    <a:lnTo>
                      <a:pt x="124" y="116"/>
                    </a:lnTo>
                    <a:lnTo>
                      <a:pt x="124" y="116"/>
                    </a:lnTo>
                    <a:lnTo>
                      <a:pt x="144" y="114"/>
                    </a:lnTo>
                    <a:lnTo>
                      <a:pt x="164" y="108"/>
                    </a:lnTo>
                    <a:lnTo>
                      <a:pt x="182" y="100"/>
                    </a:lnTo>
                    <a:lnTo>
                      <a:pt x="196" y="88"/>
                    </a:lnTo>
                    <a:lnTo>
                      <a:pt x="210" y="74"/>
                    </a:lnTo>
                    <a:lnTo>
                      <a:pt x="220" y="56"/>
                    </a:lnTo>
                    <a:lnTo>
                      <a:pt x="226" y="38"/>
                    </a:lnTo>
                    <a:lnTo>
                      <a:pt x="230"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9" name="Freeform 50">
                <a:extLst>
                  <a:ext uri="{FF2B5EF4-FFF2-40B4-BE49-F238E27FC236}">
                    <a16:creationId xmlns:a16="http://schemas.microsoft.com/office/drawing/2014/main" id="{95BD89CF-056B-42C6-BDEF-BEF833BEA382}"/>
                  </a:ext>
                </a:extLst>
              </p:cNvPr>
              <p:cNvSpPr>
                <a:spLocks/>
              </p:cNvSpPr>
              <p:nvPr/>
            </p:nvSpPr>
            <p:spPr bwMode="auto">
              <a:xfrm>
                <a:off x="800" y="843"/>
                <a:ext cx="232" cy="86"/>
              </a:xfrm>
              <a:custGeom>
                <a:avLst/>
                <a:gdLst>
                  <a:gd name="T0" fmla="*/ 216 w 232"/>
                  <a:gd name="T1" fmla="*/ 86 h 86"/>
                  <a:gd name="T2" fmla="*/ 212 w 232"/>
                  <a:gd name="T3" fmla="*/ 78 h 86"/>
                  <a:gd name="T4" fmla="*/ 212 w 232"/>
                  <a:gd name="T5" fmla="*/ 78 h 86"/>
                  <a:gd name="T6" fmla="*/ 204 w 232"/>
                  <a:gd name="T7" fmla="*/ 66 h 86"/>
                  <a:gd name="T8" fmla="*/ 196 w 232"/>
                  <a:gd name="T9" fmla="*/ 54 h 86"/>
                  <a:gd name="T10" fmla="*/ 184 w 232"/>
                  <a:gd name="T11" fmla="*/ 44 h 86"/>
                  <a:gd name="T12" fmla="*/ 172 w 232"/>
                  <a:gd name="T13" fmla="*/ 34 h 86"/>
                  <a:gd name="T14" fmla="*/ 160 w 232"/>
                  <a:gd name="T15" fmla="*/ 28 h 86"/>
                  <a:gd name="T16" fmla="*/ 146 w 232"/>
                  <a:gd name="T17" fmla="*/ 22 h 86"/>
                  <a:gd name="T18" fmla="*/ 132 w 232"/>
                  <a:gd name="T19" fmla="*/ 20 h 86"/>
                  <a:gd name="T20" fmla="*/ 116 w 232"/>
                  <a:gd name="T21" fmla="*/ 18 h 86"/>
                  <a:gd name="T22" fmla="*/ 116 w 232"/>
                  <a:gd name="T23" fmla="*/ 18 h 86"/>
                  <a:gd name="T24" fmla="*/ 102 w 232"/>
                  <a:gd name="T25" fmla="*/ 20 h 86"/>
                  <a:gd name="T26" fmla="*/ 86 w 232"/>
                  <a:gd name="T27" fmla="*/ 22 h 86"/>
                  <a:gd name="T28" fmla="*/ 74 w 232"/>
                  <a:gd name="T29" fmla="*/ 28 h 86"/>
                  <a:gd name="T30" fmla="*/ 60 w 232"/>
                  <a:gd name="T31" fmla="*/ 34 h 86"/>
                  <a:gd name="T32" fmla="*/ 48 w 232"/>
                  <a:gd name="T33" fmla="*/ 44 h 86"/>
                  <a:gd name="T34" fmla="*/ 38 w 232"/>
                  <a:gd name="T35" fmla="*/ 54 h 86"/>
                  <a:gd name="T36" fmla="*/ 28 w 232"/>
                  <a:gd name="T37" fmla="*/ 66 h 86"/>
                  <a:gd name="T38" fmla="*/ 20 w 232"/>
                  <a:gd name="T39" fmla="*/ 78 h 86"/>
                  <a:gd name="T40" fmla="*/ 18 w 232"/>
                  <a:gd name="T41" fmla="*/ 86 h 86"/>
                  <a:gd name="T42" fmla="*/ 0 w 232"/>
                  <a:gd name="T43" fmla="*/ 78 h 86"/>
                  <a:gd name="T44" fmla="*/ 4 w 232"/>
                  <a:gd name="T45" fmla="*/ 70 h 86"/>
                  <a:gd name="T46" fmla="*/ 4 w 232"/>
                  <a:gd name="T47" fmla="*/ 70 h 86"/>
                  <a:gd name="T48" fmla="*/ 14 w 232"/>
                  <a:gd name="T49" fmla="*/ 56 h 86"/>
                  <a:gd name="T50" fmla="*/ 24 w 232"/>
                  <a:gd name="T51" fmla="*/ 42 h 86"/>
                  <a:gd name="T52" fmla="*/ 36 w 232"/>
                  <a:gd name="T53" fmla="*/ 30 h 86"/>
                  <a:gd name="T54" fmla="*/ 50 w 232"/>
                  <a:gd name="T55" fmla="*/ 20 h 86"/>
                  <a:gd name="T56" fmla="*/ 66 w 232"/>
                  <a:gd name="T57" fmla="*/ 12 h 86"/>
                  <a:gd name="T58" fmla="*/ 82 w 232"/>
                  <a:gd name="T59" fmla="*/ 6 h 86"/>
                  <a:gd name="T60" fmla="*/ 98 w 232"/>
                  <a:gd name="T61" fmla="*/ 2 h 86"/>
                  <a:gd name="T62" fmla="*/ 116 w 232"/>
                  <a:gd name="T63" fmla="*/ 0 h 86"/>
                  <a:gd name="T64" fmla="*/ 116 w 232"/>
                  <a:gd name="T65" fmla="*/ 0 h 86"/>
                  <a:gd name="T66" fmla="*/ 134 w 232"/>
                  <a:gd name="T67" fmla="*/ 2 h 86"/>
                  <a:gd name="T68" fmla="*/ 152 w 232"/>
                  <a:gd name="T69" fmla="*/ 6 h 86"/>
                  <a:gd name="T70" fmla="*/ 168 w 232"/>
                  <a:gd name="T71" fmla="*/ 12 h 86"/>
                  <a:gd name="T72" fmla="*/ 182 w 232"/>
                  <a:gd name="T73" fmla="*/ 20 h 86"/>
                  <a:gd name="T74" fmla="*/ 196 w 232"/>
                  <a:gd name="T75" fmla="*/ 30 h 86"/>
                  <a:gd name="T76" fmla="*/ 208 w 232"/>
                  <a:gd name="T77" fmla="*/ 42 h 86"/>
                  <a:gd name="T78" fmla="*/ 220 w 232"/>
                  <a:gd name="T79" fmla="*/ 56 h 86"/>
                  <a:gd name="T80" fmla="*/ 228 w 232"/>
                  <a:gd name="T81" fmla="*/ 70 h 86"/>
                  <a:gd name="T82" fmla="*/ 232 w 232"/>
                  <a:gd name="T83" fmla="*/ 78 h 86"/>
                  <a:gd name="T84" fmla="*/ 216 w 232"/>
                  <a:gd name="T8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86">
                    <a:moveTo>
                      <a:pt x="216" y="86"/>
                    </a:moveTo>
                    <a:lnTo>
                      <a:pt x="212" y="78"/>
                    </a:lnTo>
                    <a:lnTo>
                      <a:pt x="212" y="78"/>
                    </a:lnTo>
                    <a:lnTo>
                      <a:pt x="204" y="66"/>
                    </a:lnTo>
                    <a:lnTo>
                      <a:pt x="196" y="54"/>
                    </a:lnTo>
                    <a:lnTo>
                      <a:pt x="184" y="44"/>
                    </a:lnTo>
                    <a:lnTo>
                      <a:pt x="172" y="34"/>
                    </a:lnTo>
                    <a:lnTo>
                      <a:pt x="160" y="28"/>
                    </a:lnTo>
                    <a:lnTo>
                      <a:pt x="146" y="22"/>
                    </a:lnTo>
                    <a:lnTo>
                      <a:pt x="132" y="20"/>
                    </a:lnTo>
                    <a:lnTo>
                      <a:pt x="116" y="18"/>
                    </a:lnTo>
                    <a:lnTo>
                      <a:pt x="116" y="18"/>
                    </a:lnTo>
                    <a:lnTo>
                      <a:pt x="102" y="20"/>
                    </a:lnTo>
                    <a:lnTo>
                      <a:pt x="86" y="22"/>
                    </a:lnTo>
                    <a:lnTo>
                      <a:pt x="74" y="28"/>
                    </a:lnTo>
                    <a:lnTo>
                      <a:pt x="60" y="34"/>
                    </a:lnTo>
                    <a:lnTo>
                      <a:pt x="48" y="44"/>
                    </a:lnTo>
                    <a:lnTo>
                      <a:pt x="38" y="54"/>
                    </a:lnTo>
                    <a:lnTo>
                      <a:pt x="28" y="66"/>
                    </a:lnTo>
                    <a:lnTo>
                      <a:pt x="20" y="78"/>
                    </a:lnTo>
                    <a:lnTo>
                      <a:pt x="18" y="86"/>
                    </a:lnTo>
                    <a:lnTo>
                      <a:pt x="0" y="78"/>
                    </a:lnTo>
                    <a:lnTo>
                      <a:pt x="4" y="70"/>
                    </a:lnTo>
                    <a:lnTo>
                      <a:pt x="4" y="70"/>
                    </a:lnTo>
                    <a:lnTo>
                      <a:pt x="14" y="56"/>
                    </a:lnTo>
                    <a:lnTo>
                      <a:pt x="24" y="42"/>
                    </a:lnTo>
                    <a:lnTo>
                      <a:pt x="36" y="30"/>
                    </a:lnTo>
                    <a:lnTo>
                      <a:pt x="50" y="20"/>
                    </a:lnTo>
                    <a:lnTo>
                      <a:pt x="66" y="12"/>
                    </a:lnTo>
                    <a:lnTo>
                      <a:pt x="82" y="6"/>
                    </a:lnTo>
                    <a:lnTo>
                      <a:pt x="98" y="2"/>
                    </a:lnTo>
                    <a:lnTo>
                      <a:pt x="116" y="0"/>
                    </a:lnTo>
                    <a:lnTo>
                      <a:pt x="116" y="0"/>
                    </a:lnTo>
                    <a:lnTo>
                      <a:pt x="134" y="2"/>
                    </a:lnTo>
                    <a:lnTo>
                      <a:pt x="152" y="6"/>
                    </a:lnTo>
                    <a:lnTo>
                      <a:pt x="168" y="12"/>
                    </a:lnTo>
                    <a:lnTo>
                      <a:pt x="182" y="20"/>
                    </a:lnTo>
                    <a:lnTo>
                      <a:pt x="196" y="30"/>
                    </a:lnTo>
                    <a:lnTo>
                      <a:pt x="208" y="42"/>
                    </a:lnTo>
                    <a:lnTo>
                      <a:pt x="220" y="56"/>
                    </a:lnTo>
                    <a:lnTo>
                      <a:pt x="228" y="70"/>
                    </a:lnTo>
                    <a:lnTo>
                      <a:pt x="232" y="78"/>
                    </a:lnTo>
                    <a:lnTo>
                      <a:pt x="21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287" name="TextBox 286">
              <a:extLst>
                <a:ext uri="{FF2B5EF4-FFF2-40B4-BE49-F238E27FC236}">
                  <a16:creationId xmlns:a16="http://schemas.microsoft.com/office/drawing/2014/main" id="{6EA8C44B-2AA1-4715-BB6B-3FCD847C327F}"/>
                </a:ext>
              </a:extLst>
            </p:cNvPr>
            <p:cNvSpPr txBox="1"/>
            <p:nvPr/>
          </p:nvSpPr>
          <p:spPr>
            <a:xfrm>
              <a:off x="7830812" y="2672736"/>
              <a:ext cx="1045143" cy="186043"/>
            </a:xfrm>
            <a:prstGeom prst="rect">
              <a:avLst/>
            </a:prstGeom>
            <a:noFill/>
            <a:ln w="12700" cap="sq">
              <a:noFill/>
              <a:miter lim="800000"/>
            </a:ln>
          </p:spPr>
          <p:txBody>
            <a:bodyPr wrap="square" lIns="61200" tIns="36576"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AT" sz="1000" b="1" i="0" u="none" strike="noStrike" kern="0" cap="none" spc="0" normalizeH="0" baseline="0" noProof="0" dirty="0">
                  <a:ln>
                    <a:noFill/>
                  </a:ln>
                  <a:solidFill>
                    <a:srgbClr val="FFE600"/>
                  </a:solidFill>
                  <a:effectLst/>
                  <a:uLnTx/>
                  <a:uFillTx/>
                </a:rPr>
                <a:t>Consumer Protection</a:t>
              </a:r>
            </a:p>
          </p:txBody>
        </p:sp>
        <p:grpSp>
          <p:nvGrpSpPr>
            <p:cNvPr id="288" name="Group 49">
              <a:extLst>
                <a:ext uri="{FF2B5EF4-FFF2-40B4-BE49-F238E27FC236}">
                  <a16:creationId xmlns:a16="http://schemas.microsoft.com/office/drawing/2014/main" id="{A65B8428-BA1C-4C0A-AC59-D898C48CDF74}"/>
                </a:ext>
              </a:extLst>
            </p:cNvPr>
            <p:cNvGrpSpPr>
              <a:grpSpLocks noChangeAspect="1"/>
            </p:cNvGrpSpPr>
            <p:nvPr/>
          </p:nvGrpSpPr>
          <p:grpSpPr bwMode="auto">
            <a:xfrm>
              <a:off x="8807688" y="3607696"/>
              <a:ext cx="83073" cy="122013"/>
              <a:chOff x="2027" y="1937"/>
              <a:chExt cx="512" cy="752"/>
            </a:xfrm>
            <a:solidFill>
              <a:srgbClr val="FFE600"/>
            </a:solidFill>
          </p:grpSpPr>
          <p:sp>
            <p:nvSpPr>
              <p:cNvPr id="308" name="Freeform 50">
                <a:extLst>
                  <a:ext uri="{FF2B5EF4-FFF2-40B4-BE49-F238E27FC236}">
                    <a16:creationId xmlns:a16="http://schemas.microsoft.com/office/drawing/2014/main" id="{0ED88C2E-956B-4BB5-B94B-853427179222}"/>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51">
                <a:extLst>
                  <a:ext uri="{FF2B5EF4-FFF2-40B4-BE49-F238E27FC236}">
                    <a16:creationId xmlns:a16="http://schemas.microsoft.com/office/drawing/2014/main" id="{46ED5A2C-9D63-4B3F-AD9D-62FC52BD2BE7}"/>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52">
                <a:extLst>
                  <a:ext uri="{FF2B5EF4-FFF2-40B4-BE49-F238E27FC236}">
                    <a16:creationId xmlns:a16="http://schemas.microsoft.com/office/drawing/2014/main" id="{8DF00EF8-171B-48B4-B37B-DEF4D41E1218}"/>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53">
                <a:extLst>
                  <a:ext uri="{FF2B5EF4-FFF2-40B4-BE49-F238E27FC236}">
                    <a16:creationId xmlns:a16="http://schemas.microsoft.com/office/drawing/2014/main" id="{037742CE-95F7-48D8-907A-FC9B98E6112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12" name="Freeform 54">
                <a:extLst>
                  <a:ext uri="{FF2B5EF4-FFF2-40B4-BE49-F238E27FC236}">
                    <a16:creationId xmlns:a16="http://schemas.microsoft.com/office/drawing/2014/main" id="{8B5DB061-C15B-4D83-9949-620C220ABD87}"/>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55">
                <a:extLst>
                  <a:ext uri="{FF2B5EF4-FFF2-40B4-BE49-F238E27FC236}">
                    <a16:creationId xmlns:a16="http://schemas.microsoft.com/office/drawing/2014/main" id="{2AF36D7A-4A38-4F3B-A8B1-EFDB0FFB4836}"/>
                  </a:ext>
                </a:extLst>
              </p:cNvPr>
              <p:cNvSpPr>
                <a:spLocks noEditPoints="1"/>
              </p:cNvSpPr>
              <p:nvPr/>
            </p:nvSpPr>
            <p:spPr bwMode="auto">
              <a:xfrm>
                <a:off x="2229" y="2581"/>
                <a:ext cx="108" cy="108"/>
              </a:xfrm>
              <a:custGeom>
                <a:avLst/>
                <a:gdLst>
                  <a:gd name="T0" fmla="*/ 54 w 108"/>
                  <a:gd name="T1" fmla="*/ 108 h 108"/>
                  <a:gd name="T2" fmla="*/ 32 w 108"/>
                  <a:gd name="T3" fmla="*/ 104 h 108"/>
                  <a:gd name="T4" fmla="*/ 16 w 108"/>
                  <a:gd name="T5" fmla="*/ 92 h 108"/>
                  <a:gd name="T6" fmla="*/ 4 w 108"/>
                  <a:gd name="T7" fmla="*/ 74 h 108"/>
                  <a:gd name="T8" fmla="*/ 0 w 108"/>
                  <a:gd name="T9" fmla="*/ 54 h 108"/>
                  <a:gd name="T10" fmla="*/ 0 w 108"/>
                  <a:gd name="T11" fmla="*/ 42 h 108"/>
                  <a:gd name="T12" fmla="*/ 10 w 108"/>
                  <a:gd name="T13" fmla="*/ 24 h 108"/>
                  <a:gd name="T14" fmla="*/ 24 w 108"/>
                  <a:gd name="T15" fmla="*/ 8 h 108"/>
                  <a:gd name="T16" fmla="*/ 42 w 108"/>
                  <a:gd name="T17" fmla="*/ 0 h 108"/>
                  <a:gd name="T18" fmla="*/ 54 w 108"/>
                  <a:gd name="T19" fmla="*/ 0 h 108"/>
                  <a:gd name="T20" fmla="*/ 74 w 108"/>
                  <a:gd name="T21" fmla="*/ 4 h 108"/>
                  <a:gd name="T22" fmla="*/ 92 w 108"/>
                  <a:gd name="T23" fmla="*/ 16 h 108"/>
                  <a:gd name="T24" fmla="*/ 104 w 108"/>
                  <a:gd name="T25" fmla="*/ 32 h 108"/>
                  <a:gd name="T26" fmla="*/ 108 w 108"/>
                  <a:gd name="T27" fmla="*/ 54 h 108"/>
                  <a:gd name="T28" fmla="*/ 106 w 108"/>
                  <a:gd name="T29" fmla="*/ 64 h 108"/>
                  <a:gd name="T30" fmla="*/ 98 w 108"/>
                  <a:gd name="T31" fmla="*/ 84 h 108"/>
                  <a:gd name="T32" fmla="*/ 84 w 108"/>
                  <a:gd name="T33" fmla="*/ 98 h 108"/>
                  <a:gd name="T34" fmla="*/ 64 w 108"/>
                  <a:gd name="T35" fmla="*/ 106 h 108"/>
                  <a:gd name="T36" fmla="*/ 54 w 108"/>
                  <a:gd name="T37" fmla="*/ 108 h 108"/>
                  <a:gd name="T38" fmla="*/ 54 w 108"/>
                  <a:gd name="T39" fmla="*/ 18 h 108"/>
                  <a:gd name="T40" fmla="*/ 40 w 108"/>
                  <a:gd name="T41" fmla="*/ 20 h 108"/>
                  <a:gd name="T42" fmla="*/ 28 w 108"/>
                  <a:gd name="T43" fmla="*/ 28 h 108"/>
                  <a:gd name="T44" fmla="*/ 20 w 108"/>
                  <a:gd name="T45" fmla="*/ 40 h 108"/>
                  <a:gd name="T46" fmla="*/ 18 w 108"/>
                  <a:gd name="T47" fmla="*/ 54 h 108"/>
                  <a:gd name="T48" fmla="*/ 18 w 108"/>
                  <a:gd name="T49" fmla="*/ 60 h 108"/>
                  <a:gd name="T50" fmla="*/ 24 w 108"/>
                  <a:gd name="T51" fmla="*/ 74 h 108"/>
                  <a:gd name="T52" fmla="*/ 34 w 108"/>
                  <a:gd name="T53" fmla="*/ 84 h 108"/>
                  <a:gd name="T54" fmla="*/ 46 w 108"/>
                  <a:gd name="T55" fmla="*/ 88 h 108"/>
                  <a:gd name="T56" fmla="*/ 54 w 108"/>
                  <a:gd name="T57" fmla="*/ 90 h 108"/>
                  <a:gd name="T58" fmla="*/ 68 w 108"/>
                  <a:gd name="T59" fmla="*/ 86 h 108"/>
                  <a:gd name="T60" fmla="*/ 80 w 108"/>
                  <a:gd name="T61" fmla="*/ 78 h 108"/>
                  <a:gd name="T62" fmla="*/ 88 w 108"/>
                  <a:gd name="T63" fmla="*/ 68 h 108"/>
                  <a:gd name="T64" fmla="*/ 90 w 108"/>
                  <a:gd name="T65" fmla="*/ 54 h 108"/>
                  <a:gd name="T66" fmla="*/ 90 w 108"/>
                  <a:gd name="T67" fmla="*/ 46 h 108"/>
                  <a:gd name="T68" fmla="*/ 84 w 108"/>
                  <a:gd name="T69" fmla="*/ 34 h 108"/>
                  <a:gd name="T70" fmla="*/ 74 w 108"/>
                  <a:gd name="T71" fmla="*/ 24 h 108"/>
                  <a:gd name="T72" fmla="*/ 62 w 108"/>
                  <a:gd name="T73" fmla="*/ 18 h 108"/>
                  <a:gd name="T74" fmla="*/ 54 w 108"/>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8">
                    <a:moveTo>
                      <a:pt x="54" y="108"/>
                    </a:moveTo>
                    <a:lnTo>
                      <a:pt x="54" y="108"/>
                    </a:lnTo>
                    <a:lnTo>
                      <a:pt x="42" y="106"/>
                    </a:lnTo>
                    <a:lnTo>
                      <a:pt x="32" y="104"/>
                    </a:lnTo>
                    <a:lnTo>
                      <a:pt x="24" y="98"/>
                    </a:lnTo>
                    <a:lnTo>
                      <a:pt x="16" y="92"/>
                    </a:lnTo>
                    <a:lnTo>
                      <a:pt x="10" y="84"/>
                    </a:lnTo>
                    <a:lnTo>
                      <a:pt x="4" y="74"/>
                    </a:lnTo>
                    <a:lnTo>
                      <a:pt x="0" y="64"/>
                    </a:lnTo>
                    <a:lnTo>
                      <a:pt x="0" y="54"/>
                    </a:lnTo>
                    <a:lnTo>
                      <a:pt x="0" y="54"/>
                    </a:lnTo>
                    <a:lnTo>
                      <a:pt x="0" y="42"/>
                    </a:lnTo>
                    <a:lnTo>
                      <a:pt x="4" y="32"/>
                    </a:lnTo>
                    <a:lnTo>
                      <a:pt x="10" y="24"/>
                    </a:lnTo>
                    <a:lnTo>
                      <a:pt x="16" y="16"/>
                    </a:lnTo>
                    <a:lnTo>
                      <a:pt x="24" y="8"/>
                    </a:lnTo>
                    <a:lnTo>
                      <a:pt x="32" y="4"/>
                    </a:lnTo>
                    <a:lnTo>
                      <a:pt x="42" y="0"/>
                    </a:lnTo>
                    <a:lnTo>
                      <a:pt x="54" y="0"/>
                    </a:lnTo>
                    <a:lnTo>
                      <a:pt x="54" y="0"/>
                    </a:lnTo>
                    <a:lnTo>
                      <a:pt x="64" y="0"/>
                    </a:lnTo>
                    <a:lnTo>
                      <a:pt x="74" y="4"/>
                    </a:lnTo>
                    <a:lnTo>
                      <a:pt x="84" y="8"/>
                    </a:lnTo>
                    <a:lnTo>
                      <a:pt x="92" y="16"/>
                    </a:lnTo>
                    <a:lnTo>
                      <a:pt x="98" y="24"/>
                    </a:lnTo>
                    <a:lnTo>
                      <a:pt x="104" y="32"/>
                    </a:lnTo>
                    <a:lnTo>
                      <a:pt x="106" y="42"/>
                    </a:lnTo>
                    <a:lnTo>
                      <a:pt x="108" y="54"/>
                    </a:lnTo>
                    <a:lnTo>
                      <a:pt x="108" y="54"/>
                    </a:lnTo>
                    <a:lnTo>
                      <a:pt x="106" y="64"/>
                    </a:lnTo>
                    <a:lnTo>
                      <a:pt x="104" y="74"/>
                    </a:lnTo>
                    <a:lnTo>
                      <a:pt x="98" y="84"/>
                    </a:lnTo>
                    <a:lnTo>
                      <a:pt x="92" y="92"/>
                    </a:lnTo>
                    <a:lnTo>
                      <a:pt x="84" y="98"/>
                    </a:lnTo>
                    <a:lnTo>
                      <a:pt x="74" y="104"/>
                    </a:lnTo>
                    <a:lnTo>
                      <a:pt x="64" y="106"/>
                    </a:lnTo>
                    <a:lnTo>
                      <a:pt x="54" y="108"/>
                    </a:lnTo>
                    <a:lnTo>
                      <a:pt x="54" y="108"/>
                    </a:lnTo>
                    <a:close/>
                    <a:moveTo>
                      <a:pt x="54" y="18"/>
                    </a:moveTo>
                    <a:lnTo>
                      <a:pt x="54" y="18"/>
                    </a:lnTo>
                    <a:lnTo>
                      <a:pt x="46" y="18"/>
                    </a:lnTo>
                    <a:lnTo>
                      <a:pt x="40" y="20"/>
                    </a:lnTo>
                    <a:lnTo>
                      <a:pt x="34" y="24"/>
                    </a:lnTo>
                    <a:lnTo>
                      <a:pt x="28" y="28"/>
                    </a:lnTo>
                    <a:lnTo>
                      <a:pt x="24" y="34"/>
                    </a:lnTo>
                    <a:lnTo>
                      <a:pt x="20" y="40"/>
                    </a:lnTo>
                    <a:lnTo>
                      <a:pt x="18" y="46"/>
                    </a:lnTo>
                    <a:lnTo>
                      <a:pt x="18" y="54"/>
                    </a:lnTo>
                    <a:lnTo>
                      <a:pt x="18" y="54"/>
                    </a:lnTo>
                    <a:lnTo>
                      <a:pt x="18" y="60"/>
                    </a:lnTo>
                    <a:lnTo>
                      <a:pt x="20" y="68"/>
                    </a:lnTo>
                    <a:lnTo>
                      <a:pt x="24" y="74"/>
                    </a:lnTo>
                    <a:lnTo>
                      <a:pt x="28" y="78"/>
                    </a:lnTo>
                    <a:lnTo>
                      <a:pt x="34" y="84"/>
                    </a:lnTo>
                    <a:lnTo>
                      <a:pt x="40" y="86"/>
                    </a:lnTo>
                    <a:lnTo>
                      <a:pt x="46" y="88"/>
                    </a:lnTo>
                    <a:lnTo>
                      <a:pt x="54" y="90"/>
                    </a:lnTo>
                    <a:lnTo>
                      <a:pt x="54" y="90"/>
                    </a:lnTo>
                    <a:lnTo>
                      <a:pt x="62" y="88"/>
                    </a:lnTo>
                    <a:lnTo>
                      <a:pt x="68" y="86"/>
                    </a:lnTo>
                    <a:lnTo>
                      <a:pt x="74" y="84"/>
                    </a:lnTo>
                    <a:lnTo>
                      <a:pt x="80" y="78"/>
                    </a:lnTo>
                    <a:lnTo>
                      <a:pt x="84" y="74"/>
                    </a:lnTo>
                    <a:lnTo>
                      <a:pt x="88" y="68"/>
                    </a:lnTo>
                    <a:lnTo>
                      <a:pt x="90" y="60"/>
                    </a:lnTo>
                    <a:lnTo>
                      <a:pt x="90" y="54"/>
                    </a:lnTo>
                    <a:lnTo>
                      <a:pt x="90" y="54"/>
                    </a:lnTo>
                    <a:lnTo>
                      <a:pt x="90" y="46"/>
                    </a:lnTo>
                    <a:lnTo>
                      <a:pt x="88" y="40"/>
                    </a:lnTo>
                    <a:lnTo>
                      <a:pt x="84" y="34"/>
                    </a:lnTo>
                    <a:lnTo>
                      <a:pt x="80" y="28"/>
                    </a:lnTo>
                    <a:lnTo>
                      <a:pt x="74" y="24"/>
                    </a:lnTo>
                    <a:lnTo>
                      <a:pt x="68" y="20"/>
                    </a:lnTo>
                    <a:lnTo>
                      <a:pt x="62" y="18"/>
                    </a:lnTo>
                    <a:lnTo>
                      <a:pt x="54" y="18"/>
                    </a:lnTo>
                    <a:lnTo>
                      <a:pt x="5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Rectangle 56">
                <a:extLst>
                  <a:ext uri="{FF2B5EF4-FFF2-40B4-BE49-F238E27FC236}">
                    <a16:creationId xmlns:a16="http://schemas.microsoft.com/office/drawing/2014/main" id="{41BD9D13-D2CB-41CB-ACA6-9B82223715DD}"/>
                  </a:ext>
                </a:extLst>
              </p:cNvPr>
              <p:cNvSpPr>
                <a:spLocks noChangeArrowheads="1"/>
              </p:cNvSpPr>
              <p:nvPr/>
            </p:nvSpPr>
            <p:spPr bwMode="auto">
              <a:xfrm>
                <a:off x="2273" y="25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Rectangle 57">
                <a:extLst>
                  <a:ext uri="{FF2B5EF4-FFF2-40B4-BE49-F238E27FC236}">
                    <a16:creationId xmlns:a16="http://schemas.microsoft.com/office/drawing/2014/main" id="{ED8553FB-B0B5-4279-A994-F6D43D9962E5}"/>
                  </a:ext>
                </a:extLst>
              </p:cNvPr>
              <p:cNvSpPr>
                <a:spLocks noChangeArrowheads="1"/>
              </p:cNvSpPr>
              <p:nvPr/>
            </p:nvSpPr>
            <p:spPr bwMode="auto">
              <a:xfrm>
                <a:off x="2319"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6" name="Rectangle 58">
                <a:extLst>
                  <a:ext uri="{FF2B5EF4-FFF2-40B4-BE49-F238E27FC236}">
                    <a16:creationId xmlns:a16="http://schemas.microsoft.com/office/drawing/2014/main" id="{3A7FFDF3-E644-41CC-ACD0-21BD7269932C}"/>
                  </a:ext>
                </a:extLst>
              </p:cNvPr>
              <p:cNvSpPr>
                <a:spLocks noChangeArrowheads="1"/>
              </p:cNvSpPr>
              <p:nvPr/>
            </p:nvSpPr>
            <p:spPr bwMode="auto">
              <a:xfrm>
                <a:off x="2027"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289" name="Group 288">
              <a:extLst>
                <a:ext uri="{FF2B5EF4-FFF2-40B4-BE49-F238E27FC236}">
                  <a16:creationId xmlns:a16="http://schemas.microsoft.com/office/drawing/2014/main" id="{09CE4AC3-1898-4CB6-BA06-1D169F8A5348}"/>
                </a:ext>
              </a:extLst>
            </p:cNvPr>
            <p:cNvGrpSpPr/>
            <p:nvPr/>
          </p:nvGrpSpPr>
          <p:grpSpPr>
            <a:xfrm>
              <a:off x="7918920" y="3616004"/>
              <a:ext cx="155067" cy="150692"/>
              <a:chOff x="2689225" y="3098800"/>
              <a:chExt cx="1600200" cy="1098550"/>
            </a:xfrm>
            <a:solidFill>
              <a:srgbClr val="FFE600"/>
            </a:solidFill>
          </p:grpSpPr>
          <p:sp>
            <p:nvSpPr>
              <p:cNvPr id="292" name="Freeform 23">
                <a:extLst>
                  <a:ext uri="{FF2B5EF4-FFF2-40B4-BE49-F238E27FC236}">
                    <a16:creationId xmlns:a16="http://schemas.microsoft.com/office/drawing/2014/main" id="{7C1889CD-883A-4209-85AA-F6F334A5FA7B}"/>
                  </a:ext>
                </a:extLst>
              </p:cNvPr>
              <p:cNvSpPr>
                <a:spLocks noEditPoints="1"/>
              </p:cNvSpPr>
              <p:nvPr/>
            </p:nvSpPr>
            <p:spPr bwMode="auto">
              <a:xfrm>
                <a:off x="2689225" y="4016375"/>
                <a:ext cx="1600200" cy="180975"/>
              </a:xfrm>
              <a:custGeom>
                <a:avLst/>
                <a:gdLst>
                  <a:gd name="T0" fmla="*/ 52 w 1008"/>
                  <a:gd name="T1" fmla="*/ 114 h 114"/>
                  <a:gd name="T2" fmla="*/ 42 w 1008"/>
                  <a:gd name="T3" fmla="*/ 114 h 114"/>
                  <a:gd name="T4" fmla="*/ 24 w 1008"/>
                  <a:gd name="T5" fmla="*/ 106 h 114"/>
                  <a:gd name="T6" fmla="*/ 8 w 1008"/>
                  <a:gd name="T7" fmla="*/ 90 h 114"/>
                  <a:gd name="T8" fmla="*/ 0 w 1008"/>
                  <a:gd name="T9" fmla="*/ 72 h 114"/>
                  <a:gd name="T10" fmla="*/ 0 w 1008"/>
                  <a:gd name="T11" fmla="*/ 0 h 114"/>
                  <a:gd name="T12" fmla="*/ 430 w 1008"/>
                  <a:gd name="T13" fmla="*/ 16 h 114"/>
                  <a:gd name="T14" fmla="*/ 432 w 1008"/>
                  <a:gd name="T15" fmla="*/ 26 h 114"/>
                  <a:gd name="T16" fmla="*/ 444 w 1008"/>
                  <a:gd name="T17" fmla="*/ 38 h 114"/>
                  <a:gd name="T18" fmla="*/ 568 w 1008"/>
                  <a:gd name="T19" fmla="*/ 38 h 114"/>
                  <a:gd name="T20" fmla="*/ 576 w 1008"/>
                  <a:gd name="T21" fmla="*/ 38 h 114"/>
                  <a:gd name="T22" fmla="*/ 588 w 1008"/>
                  <a:gd name="T23" fmla="*/ 26 h 114"/>
                  <a:gd name="T24" fmla="*/ 590 w 1008"/>
                  <a:gd name="T25" fmla="*/ 0 h 114"/>
                  <a:gd name="T26" fmla="*/ 1008 w 1008"/>
                  <a:gd name="T27" fmla="*/ 60 h 114"/>
                  <a:gd name="T28" fmla="*/ 1008 w 1008"/>
                  <a:gd name="T29" fmla="*/ 72 h 114"/>
                  <a:gd name="T30" fmla="*/ 1000 w 1008"/>
                  <a:gd name="T31" fmla="*/ 90 h 114"/>
                  <a:gd name="T32" fmla="*/ 984 w 1008"/>
                  <a:gd name="T33" fmla="*/ 106 h 114"/>
                  <a:gd name="T34" fmla="*/ 966 w 1008"/>
                  <a:gd name="T35" fmla="*/ 114 h 114"/>
                  <a:gd name="T36" fmla="*/ 956 w 1008"/>
                  <a:gd name="T37" fmla="*/ 114 h 114"/>
                  <a:gd name="T38" fmla="*/ 18 w 1008"/>
                  <a:gd name="T39" fmla="*/ 60 h 114"/>
                  <a:gd name="T40" fmla="*/ 18 w 1008"/>
                  <a:gd name="T41" fmla="*/ 68 h 114"/>
                  <a:gd name="T42" fmla="*/ 24 w 1008"/>
                  <a:gd name="T43" fmla="*/ 80 h 114"/>
                  <a:gd name="T44" fmla="*/ 34 w 1008"/>
                  <a:gd name="T45" fmla="*/ 90 h 114"/>
                  <a:gd name="T46" fmla="*/ 46 w 1008"/>
                  <a:gd name="T47" fmla="*/ 96 h 114"/>
                  <a:gd name="T48" fmla="*/ 956 w 1008"/>
                  <a:gd name="T49" fmla="*/ 96 h 114"/>
                  <a:gd name="T50" fmla="*/ 962 w 1008"/>
                  <a:gd name="T51" fmla="*/ 96 h 114"/>
                  <a:gd name="T52" fmla="*/ 974 w 1008"/>
                  <a:gd name="T53" fmla="*/ 90 h 114"/>
                  <a:gd name="T54" fmla="*/ 984 w 1008"/>
                  <a:gd name="T55" fmla="*/ 80 h 114"/>
                  <a:gd name="T56" fmla="*/ 990 w 1008"/>
                  <a:gd name="T57" fmla="*/ 68 h 114"/>
                  <a:gd name="T58" fmla="*/ 990 w 1008"/>
                  <a:gd name="T59" fmla="*/ 18 h 114"/>
                  <a:gd name="T60" fmla="*/ 608 w 1008"/>
                  <a:gd name="T61" fmla="*/ 18 h 114"/>
                  <a:gd name="T62" fmla="*/ 604 w 1008"/>
                  <a:gd name="T63" fmla="*/ 34 h 114"/>
                  <a:gd name="T64" fmla="*/ 596 w 1008"/>
                  <a:gd name="T65" fmla="*/ 46 h 114"/>
                  <a:gd name="T66" fmla="*/ 584 w 1008"/>
                  <a:gd name="T67" fmla="*/ 54 h 114"/>
                  <a:gd name="T68" fmla="*/ 568 w 1008"/>
                  <a:gd name="T69" fmla="*/ 56 h 114"/>
                  <a:gd name="T70" fmla="*/ 452 w 1008"/>
                  <a:gd name="T71" fmla="*/ 56 h 114"/>
                  <a:gd name="T72" fmla="*/ 438 w 1008"/>
                  <a:gd name="T73" fmla="*/ 54 h 114"/>
                  <a:gd name="T74" fmla="*/ 426 w 1008"/>
                  <a:gd name="T75" fmla="*/ 46 h 114"/>
                  <a:gd name="T76" fmla="*/ 416 w 1008"/>
                  <a:gd name="T77" fmla="*/ 34 h 114"/>
                  <a:gd name="T78" fmla="*/ 412 w 1008"/>
                  <a:gd name="T7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8" h="114">
                    <a:moveTo>
                      <a:pt x="956" y="114"/>
                    </a:moveTo>
                    <a:lnTo>
                      <a:pt x="52" y="114"/>
                    </a:lnTo>
                    <a:lnTo>
                      <a:pt x="52" y="114"/>
                    </a:lnTo>
                    <a:lnTo>
                      <a:pt x="42" y="114"/>
                    </a:lnTo>
                    <a:lnTo>
                      <a:pt x="32" y="110"/>
                    </a:lnTo>
                    <a:lnTo>
                      <a:pt x="24" y="106"/>
                    </a:lnTo>
                    <a:lnTo>
                      <a:pt x="16" y="98"/>
                    </a:lnTo>
                    <a:lnTo>
                      <a:pt x="8" y="90"/>
                    </a:lnTo>
                    <a:lnTo>
                      <a:pt x="4" y="82"/>
                    </a:lnTo>
                    <a:lnTo>
                      <a:pt x="0" y="72"/>
                    </a:lnTo>
                    <a:lnTo>
                      <a:pt x="0" y="60"/>
                    </a:lnTo>
                    <a:lnTo>
                      <a:pt x="0" y="0"/>
                    </a:lnTo>
                    <a:lnTo>
                      <a:pt x="430" y="0"/>
                    </a:lnTo>
                    <a:lnTo>
                      <a:pt x="430" y="16"/>
                    </a:lnTo>
                    <a:lnTo>
                      <a:pt x="430" y="16"/>
                    </a:lnTo>
                    <a:lnTo>
                      <a:pt x="432" y="26"/>
                    </a:lnTo>
                    <a:lnTo>
                      <a:pt x="438" y="32"/>
                    </a:lnTo>
                    <a:lnTo>
                      <a:pt x="444" y="38"/>
                    </a:lnTo>
                    <a:lnTo>
                      <a:pt x="452" y="38"/>
                    </a:lnTo>
                    <a:lnTo>
                      <a:pt x="568" y="38"/>
                    </a:lnTo>
                    <a:lnTo>
                      <a:pt x="568" y="38"/>
                    </a:lnTo>
                    <a:lnTo>
                      <a:pt x="576" y="38"/>
                    </a:lnTo>
                    <a:lnTo>
                      <a:pt x="584" y="32"/>
                    </a:lnTo>
                    <a:lnTo>
                      <a:pt x="588" y="26"/>
                    </a:lnTo>
                    <a:lnTo>
                      <a:pt x="590" y="16"/>
                    </a:lnTo>
                    <a:lnTo>
                      <a:pt x="590" y="0"/>
                    </a:lnTo>
                    <a:lnTo>
                      <a:pt x="1008" y="0"/>
                    </a:lnTo>
                    <a:lnTo>
                      <a:pt x="1008" y="60"/>
                    </a:lnTo>
                    <a:lnTo>
                      <a:pt x="1008" y="60"/>
                    </a:lnTo>
                    <a:lnTo>
                      <a:pt x="1008" y="72"/>
                    </a:lnTo>
                    <a:lnTo>
                      <a:pt x="1004" y="82"/>
                    </a:lnTo>
                    <a:lnTo>
                      <a:pt x="1000" y="90"/>
                    </a:lnTo>
                    <a:lnTo>
                      <a:pt x="992" y="98"/>
                    </a:lnTo>
                    <a:lnTo>
                      <a:pt x="984" y="106"/>
                    </a:lnTo>
                    <a:lnTo>
                      <a:pt x="976" y="110"/>
                    </a:lnTo>
                    <a:lnTo>
                      <a:pt x="966" y="114"/>
                    </a:lnTo>
                    <a:lnTo>
                      <a:pt x="956" y="114"/>
                    </a:lnTo>
                    <a:lnTo>
                      <a:pt x="956" y="114"/>
                    </a:lnTo>
                    <a:close/>
                    <a:moveTo>
                      <a:pt x="18" y="18"/>
                    </a:moveTo>
                    <a:lnTo>
                      <a:pt x="18" y="60"/>
                    </a:lnTo>
                    <a:lnTo>
                      <a:pt x="18" y="60"/>
                    </a:lnTo>
                    <a:lnTo>
                      <a:pt x="18" y="68"/>
                    </a:lnTo>
                    <a:lnTo>
                      <a:pt x="20" y="74"/>
                    </a:lnTo>
                    <a:lnTo>
                      <a:pt x="24" y="80"/>
                    </a:lnTo>
                    <a:lnTo>
                      <a:pt x="28" y="86"/>
                    </a:lnTo>
                    <a:lnTo>
                      <a:pt x="34" y="90"/>
                    </a:lnTo>
                    <a:lnTo>
                      <a:pt x="40" y="94"/>
                    </a:lnTo>
                    <a:lnTo>
                      <a:pt x="46" y="96"/>
                    </a:lnTo>
                    <a:lnTo>
                      <a:pt x="52" y="96"/>
                    </a:lnTo>
                    <a:lnTo>
                      <a:pt x="956" y="96"/>
                    </a:lnTo>
                    <a:lnTo>
                      <a:pt x="956" y="96"/>
                    </a:lnTo>
                    <a:lnTo>
                      <a:pt x="962" y="96"/>
                    </a:lnTo>
                    <a:lnTo>
                      <a:pt x="968" y="94"/>
                    </a:lnTo>
                    <a:lnTo>
                      <a:pt x="974" y="90"/>
                    </a:lnTo>
                    <a:lnTo>
                      <a:pt x="980" y="86"/>
                    </a:lnTo>
                    <a:lnTo>
                      <a:pt x="984" y="80"/>
                    </a:lnTo>
                    <a:lnTo>
                      <a:pt x="988" y="74"/>
                    </a:lnTo>
                    <a:lnTo>
                      <a:pt x="990" y="68"/>
                    </a:lnTo>
                    <a:lnTo>
                      <a:pt x="990" y="60"/>
                    </a:lnTo>
                    <a:lnTo>
                      <a:pt x="990" y="18"/>
                    </a:lnTo>
                    <a:lnTo>
                      <a:pt x="608" y="18"/>
                    </a:lnTo>
                    <a:lnTo>
                      <a:pt x="608" y="18"/>
                    </a:lnTo>
                    <a:lnTo>
                      <a:pt x="606" y="26"/>
                    </a:lnTo>
                    <a:lnTo>
                      <a:pt x="604" y="34"/>
                    </a:lnTo>
                    <a:lnTo>
                      <a:pt x="600" y="40"/>
                    </a:lnTo>
                    <a:lnTo>
                      <a:pt x="596" y="46"/>
                    </a:lnTo>
                    <a:lnTo>
                      <a:pt x="590" y="50"/>
                    </a:lnTo>
                    <a:lnTo>
                      <a:pt x="584" y="54"/>
                    </a:lnTo>
                    <a:lnTo>
                      <a:pt x="576" y="56"/>
                    </a:lnTo>
                    <a:lnTo>
                      <a:pt x="568" y="56"/>
                    </a:lnTo>
                    <a:lnTo>
                      <a:pt x="452" y="56"/>
                    </a:lnTo>
                    <a:lnTo>
                      <a:pt x="452" y="56"/>
                    </a:lnTo>
                    <a:lnTo>
                      <a:pt x="444" y="56"/>
                    </a:lnTo>
                    <a:lnTo>
                      <a:pt x="438" y="54"/>
                    </a:lnTo>
                    <a:lnTo>
                      <a:pt x="430" y="50"/>
                    </a:lnTo>
                    <a:lnTo>
                      <a:pt x="426" y="46"/>
                    </a:lnTo>
                    <a:lnTo>
                      <a:pt x="420" y="40"/>
                    </a:lnTo>
                    <a:lnTo>
                      <a:pt x="416" y="34"/>
                    </a:lnTo>
                    <a:lnTo>
                      <a:pt x="414" y="26"/>
                    </a:lnTo>
                    <a:lnTo>
                      <a:pt x="41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3" name="Freeform 24">
                <a:extLst>
                  <a:ext uri="{FF2B5EF4-FFF2-40B4-BE49-F238E27FC236}">
                    <a16:creationId xmlns:a16="http://schemas.microsoft.com/office/drawing/2014/main" id="{6FE7D374-2AD5-4FE0-9D00-16F11DAA3A7E}"/>
                  </a:ext>
                </a:extLst>
              </p:cNvPr>
              <p:cNvSpPr>
                <a:spLocks/>
              </p:cNvSpPr>
              <p:nvPr/>
            </p:nvSpPr>
            <p:spPr bwMode="auto">
              <a:xfrm>
                <a:off x="2784475" y="3143250"/>
                <a:ext cx="1409700" cy="901700"/>
              </a:xfrm>
              <a:custGeom>
                <a:avLst/>
                <a:gdLst>
                  <a:gd name="T0" fmla="*/ 888 w 888"/>
                  <a:gd name="T1" fmla="*/ 568 h 568"/>
                  <a:gd name="T2" fmla="*/ 0 w 888"/>
                  <a:gd name="T3" fmla="*/ 568 h 568"/>
                  <a:gd name="T4" fmla="*/ 0 w 888"/>
                  <a:gd name="T5" fmla="*/ 42 h 568"/>
                  <a:gd name="T6" fmla="*/ 0 w 888"/>
                  <a:gd name="T7" fmla="*/ 42 h 568"/>
                  <a:gd name="T8" fmla="*/ 0 w 888"/>
                  <a:gd name="T9" fmla="*/ 34 h 568"/>
                  <a:gd name="T10" fmla="*/ 2 w 888"/>
                  <a:gd name="T11" fmla="*/ 26 h 568"/>
                  <a:gd name="T12" fmla="*/ 6 w 888"/>
                  <a:gd name="T13" fmla="*/ 18 h 568"/>
                  <a:gd name="T14" fmla="*/ 12 w 888"/>
                  <a:gd name="T15" fmla="*/ 12 h 568"/>
                  <a:gd name="T16" fmla="*/ 18 w 888"/>
                  <a:gd name="T17" fmla="*/ 6 h 568"/>
                  <a:gd name="T18" fmla="*/ 24 w 888"/>
                  <a:gd name="T19" fmla="*/ 2 h 568"/>
                  <a:gd name="T20" fmla="*/ 32 w 888"/>
                  <a:gd name="T21" fmla="*/ 0 h 568"/>
                  <a:gd name="T22" fmla="*/ 42 w 888"/>
                  <a:gd name="T23" fmla="*/ 0 h 568"/>
                  <a:gd name="T24" fmla="*/ 142 w 888"/>
                  <a:gd name="T25" fmla="*/ 0 h 568"/>
                  <a:gd name="T26" fmla="*/ 142 w 888"/>
                  <a:gd name="T27" fmla="*/ 18 h 568"/>
                  <a:gd name="T28" fmla="*/ 42 w 888"/>
                  <a:gd name="T29" fmla="*/ 18 h 568"/>
                  <a:gd name="T30" fmla="*/ 42 w 888"/>
                  <a:gd name="T31" fmla="*/ 18 h 568"/>
                  <a:gd name="T32" fmla="*/ 32 w 888"/>
                  <a:gd name="T33" fmla="*/ 20 h 568"/>
                  <a:gd name="T34" fmla="*/ 24 w 888"/>
                  <a:gd name="T35" fmla="*/ 24 h 568"/>
                  <a:gd name="T36" fmla="*/ 20 w 888"/>
                  <a:gd name="T37" fmla="*/ 32 h 568"/>
                  <a:gd name="T38" fmla="*/ 18 w 888"/>
                  <a:gd name="T39" fmla="*/ 42 h 568"/>
                  <a:gd name="T40" fmla="*/ 18 w 888"/>
                  <a:gd name="T41" fmla="*/ 550 h 568"/>
                  <a:gd name="T42" fmla="*/ 870 w 888"/>
                  <a:gd name="T43" fmla="*/ 550 h 568"/>
                  <a:gd name="T44" fmla="*/ 870 w 888"/>
                  <a:gd name="T45" fmla="*/ 42 h 568"/>
                  <a:gd name="T46" fmla="*/ 870 w 888"/>
                  <a:gd name="T47" fmla="*/ 42 h 568"/>
                  <a:gd name="T48" fmla="*/ 868 w 888"/>
                  <a:gd name="T49" fmla="*/ 32 h 568"/>
                  <a:gd name="T50" fmla="*/ 864 w 888"/>
                  <a:gd name="T51" fmla="*/ 24 h 568"/>
                  <a:gd name="T52" fmla="*/ 856 w 888"/>
                  <a:gd name="T53" fmla="*/ 20 h 568"/>
                  <a:gd name="T54" fmla="*/ 846 w 888"/>
                  <a:gd name="T55" fmla="*/ 18 h 568"/>
                  <a:gd name="T56" fmla="*/ 746 w 888"/>
                  <a:gd name="T57" fmla="*/ 18 h 568"/>
                  <a:gd name="T58" fmla="*/ 746 w 888"/>
                  <a:gd name="T59" fmla="*/ 0 h 568"/>
                  <a:gd name="T60" fmla="*/ 846 w 888"/>
                  <a:gd name="T61" fmla="*/ 0 h 568"/>
                  <a:gd name="T62" fmla="*/ 846 w 888"/>
                  <a:gd name="T63" fmla="*/ 0 h 568"/>
                  <a:gd name="T64" fmla="*/ 854 w 888"/>
                  <a:gd name="T65" fmla="*/ 0 h 568"/>
                  <a:gd name="T66" fmla="*/ 862 w 888"/>
                  <a:gd name="T67" fmla="*/ 2 h 568"/>
                  <a:gd name="T68" fmla="*/ 870 w 888"/>
                  <a:gd name="T69" fmla="*/ 6 h 568"/>
                  <a:gd name="T70" fmla="*/ 876 w 888"/>
                  <a:gd name="T71" fmla="*/ 12 h 568"/>
                  <a:gd name="T72" fmla="*/ 882 w 888"/>
                  <a:gd name="T73" fmla="*/ 18 h 568"/>
                  <a:gd name="T74" fmla="*/ 886 w 888"/>
                  <a:gd name="T75" fmla="*/ 26 h 568"/>
                  <a:gd name="T76" fmla="*/ 888 w 888"/>
                  <a:gd name="T77" fmla="*/ 34 h 568"/>
                  <a:gd name="T78" fmla="*/ 888 w 888"/>
                  <a:gd name="T79" fmla="*/ 42 h 568"/>
                  <a:gd name="T80" fmla="*/ 888 w 888"/>
                  <a:gd name="T81"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8" h="568">
                    <a:moveTo>
                      <a:pt x="888" y="568"/>
                    </a:moveTo>
                    <a:lnTo>
                      <a:pt x="0" y="568"/>
                    </a:lnTo>
                    <a:lnTo>
                      <a:pt x="0" y="42"/>
                    </a:lnTo>
                    <a:lnTo>
                      <a:pt x="0" y="42"/>
                    </a:lnTo>
                    <a:lnTo>
                      <a:pt x="0" y="34"/>
                    </a:lnTo>
                    <a:lnTo>
                      <a:pt x="2" y="26"/>
                    </a:lnTo>
                    <a:lnTo>
                      <a:pt x="6" y="18"/>
                    </a:lnTo>
                    <a:lnTo>
                      <a:pt x="12" y="12"/>
                    </a:lnTo>
                    <a:lnTo>
                      <a:pt x="18" y="6"/>
                    </a:lnTo>
                    <a:lnTo>
                      <a:pt x="24" y="2"/>
                    </a:lnTo>
                    <a:lnTo>
                      <a:pt x="32" y="0"/>
                    </a:lnTo>
                    <a:lnTo>
                      <a:pt x="42" y="0"/>
                    </a:lnTo>
                    <a:lnTo>
                      <a:pt x="142" y="0"/>
                    </a:lnTo>
                    <a:lnTo>
                      <a:pt x="142" y="18"/>
                    </a:lnTo>
                    <a:lnTo>
                      <a:pt x="42" y="18"/>
                    </a:lnTo>
                    <a:lnTo>
                      <a:pt x="42" y="18"/>
                    </a:lnTo>
                    <a:lnTo>
                      <a:pt x="32" y="20"/>
                    </a:lnTo>
                    <a:lnTo>
                      <a:pt x="24" y="24"/>
                    </a:lnTo>
                    <a:lnTo>
                      <a:pt x="20" y="32"/>
                    </a:lnTo>
                    <a:lnTo>
                      <a:pt x="18" y="42"/>
                    </a:lnTo>
                    <a:lnTo>
                      <a:pt x="18" y="550"/>
                    </a:lnTo>
                    <a:lnTo>
                      <a:pt x="870" y="550"/>
                    </a:lnTo>
                    <a:lnTo>
                      <a:pt x="870" y="42"/>
                    </a:lnTo>
                    <a:lnTo>
                      <a:pt x="870" y="42"/>
                    </a:lnTo>
                    <a:lnTo>
                      <a:pt x="868" y="32"/>
                    </a:lnTo>
                    <a:lnTo>
                      <a:pt x="864" y="24"/>
                    </a:lnTo>
                    <a:lnTo>
                      <a:pt x="856" y="20"/>
                    </a:lnTo>
                    <a:lnTo>
                      <a:pt x="846" y="18"/>
                    </a:lnTo>
                    <a:lnTo>
                      <a:pt x="746" y="18"/>
                    </a:lnTo>
                    <a:lnTo>
                      <a:pt x="746" y="0"/>
                    </a:lnTo>
                    <a:lnTo>
                      <a:pt x="846" y="0"/>
                    </a:lnTo>
                    <a:lnTo>
                      <a:pt x="846" y="0"/>
                    </a:lnTo>
                    <a:lnTo>
                      <a:pt x="854" y="0"/>
                    </a:lnTo>
                    <a:lnTo>
                      <a:pt x="862" y="2"/>
                    </a:lnTo>
                    <a:lnTo>
                      <a:pt x="870" y="6"/>
                    </a:lnTo>
                    <a:lnTo>
                      <a:pt x="876" y="12"/>
                    </a:lnTo>
                    <a:lnTo>
                      <a:pt x="882" y="18"/>
                    </a:lnTo>
                    <a:lnTo>
                      <a:pt x="886" y="26"/>
                    </a:lnTo>
                    <a:lnTo>
                      <a:pt x="888" y="34"/>
                    </a:lnTo>
                    <a:lnTo>
                      <a:pt x="888" y="42"/>
                    </a:lnTo>
                    <a:lnTo>
                      <a:pt x="888" y="5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4" name="Freeform 25">
                <a:extLst>
                  <a:ext uri="{FF2B5EF4-FFF2-40B4-BE49-F238E27FC236}">
                    <a16:creationId xmlns:a16="http://schemas.microsoft.com/office/drawing/2014/main" id="{B77EA892-3794-4FE0-AD5E-B04918633E20}"/>
                  </a:ext>
                </a:extLst>
              </p:cNvPr>
              <p:cNvSpPr>
                <a:spLocks/>
              </p:cNvSpPr>
              <p:nvPr/>
            </p:nvSpPr>
            <p:spPr bwMode="auto">
              <a:xfrm>
                <a:off x="2873375" y="3222625"/>
                <a:ext cx="1231900" cy="742950"/>
              </a:xfrm>
              <a:custGeom>
                <a:avLst/>
                <a:gdLst>
                  <a:gd name="T0" fmla="*/ 754 w 776"/>
                  <a:gd name="T1" fmla="*/ 468 h 468"/>
                  <a:gd name="T2" fmla="*/ 22 w 776"/>
                  <a:gd name="T3" fmla="*/ 468 h 468"/>
                  <a:gd name="T4" fmla="*/ 22 w 776"/>
                  <a:gd name="T5" fmla="*/ 468 h 468"/>
                  <a:gd name="T6" fmla="*/ 14 w 776"/>
                  <a:gd name="T7" fmla="*/ 466 h 468"/>
                  <a:gd name="T8" fmla="*/ 6 w 776"/>
                  <a:gd name="T9" fmla="*/ 462 h 468"/>
                  <a:gd name="T10" fmla="*/ 2 w 776"/>
                  <a:gd name="T11" fmla="*/ 456 h 468"/>
                  <a:gd name="T12" fmla="*/ 0 w 776"/>
                  <a:gd name="T13" fmla="*/ 446 h 468"/>
                  <a:gd name="T14" fmla="*/ 0 w 776"/>
                  <a:gd name="T15" fmla="*/ 22 h 468"/>
                  <a:gd name="T16" fmla="*/ 0 w 776"/>
                  <a:gd name="T17" fmla="*/ 22 h 468"/>
                  <a:gd name="T18" fmla="*/ 2 w 776"/>
                  <a:gd name="T19" fmla="*/ 14 h 468"/>
                  <a:gd name="T20" fmla="*/ 6 w 776"/>
                  <a:gd name="T21" fmla="*/ 6 h 468"/>
                  <a:gd name="T22" fmla="*/ 14 w 776"/>
                  <a:gd name="T23" fmla="*/ 2 h 468"/>
                  <a:gd name="T24" fmla="*/ 22 w 776"/>
                  <a:gd name="T25" fmla="*/ 0 h 468"/>
                  <a:gd name="T26" fmla="*/ 86 w 776"/>
                  <a:gd name="T27" fmla="*/ 0 h 468"/>
                  <a:gd name="T28" fmla="*/ 86 w 776"/>
                  <a:gd name="T29" fmla="*/ 18 h 468"/>
                  <a:gd name="T30" fmla="*/ 22 w 776"/>
                  <a:gd name="T31" fmla="*/ 18 h 468"/>
                  <a:gd name="T32" fmla="*/ 22 w 776"/>
                  <a:gd name="T33" fmla="*/ 18 h 468"/>
                  <a:gd name="T34" fmla="*/ 20 w 776"/>
                  <a:gd name="T35" fmla="*/ 18 h 468"/>
                  <a:gd name="T36" fmla="*/ 18 w 776"/>
                  <a:gd name="T37" fmla="*/ 22 h 468"/>
                  <a:gd name="T38" fmla="*/ 18 w 776"/>
                  <a:gd name="T39" fmla="*/ 446 h 468"/>
                  <a:gd name="T40" fmla="*/ 18 w 776"/>
                  <a:gd name="T41" fmla="*/ 446 h 468"/>
                  <a:gd name="T42" fmla="*/ 20 w 776"/>
                  <a:gd name="T43" fmla="*/ 450 h 468"/>
                  <a:gd name="T44" fmla="*/ 22 w 776"/>
                  <a:gd name="T45" fmla="*/ 450 h 468"/>
                  <a:gd name="T46" fmla="*/ 754 w 776"/>
                  <a:gd name="T47" fmla="*/ 450 h 468"/>
                  <a:gd name="T48" fmla="*/ 754 w 776"/>
                  <a:gd name="T49" fmla="*/ 450 h 468"/>
                  <a:gd name="T50" fmla="*/ 756 w 776"/>
                  <a:gd name="T51" fmla="*/ 450 h 468"/>
                  <a:gd name="T52" fmla="*/ 758 w 776"/>
                  <a:gd name="T53" fmla="*/ 446 h 468"/>
                  <a:gd name="T54" fmla="*/ 758 w 776"/>
                  <a:gd name="T55" fmla="*/ 22 h 468"/>
                  <a:gd name="T56" fmla="*/ 758 w 776"/>
                  <a:gd name="T57" fmla="*/ 22 h 468"/>
                  <a:gd name="T58" fmla="*/ 756 w 776"/>
                  <a:gd name="T59" fmla="*/ 18 h 468"/>
                  <a:gd name="T60" fmla="*/ 754 w 776"/>
                  <a:gd name="T61" fmla="*/ 18 h 468"/>
                  <a:gd name="T62" fmla="*/ 690 w 776"/>
                  <a:gd name="T63" fmla="*/ 18 h 468"/>
                  <a:gd name="T64" fmla="*/ 690 w 776"/>
                  <a:gd name="T65" fmla="*/ 0 h 468"/>
                  <a:gd name="T66" fmla="*/ 754 w 776"/>
                  <a:gd name="T67" fmla="*/ 0 h 468"/>
                  <a:gd name="T68" fmla="*/ 754 w 776"/>
                  <a:gd name="T69" fmla="*/ 0 h 468"/>
                  <a:gd name="T70" fmla="*/ 762 w 776"/>
                  <a:gd name="T71" fmla="*/ 2 h 468"/>
                  <a:gd name="T72" fmla="*/ 770 w 776"/>
                  <a:gd name="T73" fmla="*/ 6 h 468"/>
                  <a:gd name="T74" fmla="*/ 774 w 776"/>
                  <a:gd name="T75" fmla="*/ 14 h 468"/>
                  <a:gd name="T76" fmla="*/ 776 w 776"/>
                  <a:gd name="T77" fmla="*/ 22 h 468"/>
                  <a:gd name="T78" fmla="*/ 776 w 776"/>
                  <a:gd name="T79" fmla="*/ 446 h 468"/>
                  <a:gd name="T80" fmla="*/ 776 w 776"/>
                  <a:gd name="T81" fmla="*/ 446 h 468"/>
                  <a:gd name="T82" fmla="*/ 774 w 776"/>
                  <a:gd name="T83" fmla="*/ 456 h 468"/>
                  <a:gd name="T84" fmla="*/ 770 w 776"/>
                  <a:gd name="T85" fmla="*/ 462 h 468"/>
                  <a:gd name="T86" fmla="*/ 762 w 776"/>
                  <a:gd name="T87" fmla="*/ 466 h 468"/>
                  <a:gd name="T88" fmla="*/ 754 w 776"/>
                  <a:gd name="T89" fmla="*/ 468 h 468"/>
                  <a:gd name="T90" fmla="*/ 754 w 776"/>
                  <a:gd name="T9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6" h="468">
                    <a:moveTo>
                      <a:pt x="754" y="468"/>
                    </a:moveTo>
                    <a:lnTo>
                      <a:pt x="22" y="468"/>
                    </a:lnTo>
                    <a:lnTo>
                      <a:pt x="22" y="468"/>
                    </a:lnTo>
                    <a:lnTo>
                      <a:pt x="14" y="466"/>
                    </a:lnTo>
                    <a:lnTo>
                      <a:pt x="6" y="462"/>
                    </a:lnTo>
                    <a:lnTo>
                      <a:pt x="2" y="456"/>
                    </a:lnTo>
                    <a:lnTo>
                      <a:pt x="0" y="446"/>
                    </a:lnTo>
                    <a:lnTo>
                      <a:pt x="0" y="22"/>
                    </a:lnTo>
                    <a:lnTo>
                      <a:pt x="0" y="22"/>
                    </a:lnTo>
                    <a:lnTo>
                      <a:pt x="2" y="14"/>
                    </a:lnTo>
                    <a:lnTo>
                      <a:pt x="6" y="6"/>
                    </a:lnTo>
                    <a:lnTo>
                      <a:pt x="14" y="2"/>
                    </a:lnTo>
                    <a:lnTo>
                      <a:pt x="22" y="0"/>
                    </a:lnTo>
                    <a:lnTo>
                      <a:pt x="86" y="0"/>
                    </a:lnTo>
                    <a:lnTo>
                      <a:pt x="86" y="18"/>
                    </a:lnTo>
                    <a:lnTo>
                      <a:pt x="22" y="18"/>
                    </a:lnTo>
                    <a:lnTo>
                      <a:pt x="22" y="18"/>
                    </a:lnTo>
                    <a:lnTo>
                      <a:pt x="20" y="18"/>
                    </a:lnTo>
                    <a:lnTo>
                      <a:pt x="18" y="22"/>
                    </a:lnTo>
                    <a:lnTo>
                      <a:pt x="18" y="446"/>
                    </a:lnTo>
                    <a:lnTo>
                      <a:pt x="18" y="446"/>
                    </a:lnTo>
                    <a:lnTo>
                      <a:pt x="20" y="450"/>
                    </a:lnTo>
                    <a:lnTo>
                      <a:pt x="22" y="450"/>
                    </a:lnTo>
                    <a:lnTo>
                      <a:pt x="754" y="450"/>
                    </a:lnTo>
                    <a:lnTo>
                      <a:pt x="754" y="450"/>
                    </a:lnTo>
                    <a:lnTo>
                      <a:pt x="756" y="450"/>
                    </a:lnTo>
                    <a:lnTo>
                      <a:pt x="758" y="446"/>
                    </a:lnTo>
                    <a:lnTo>
                      <a:pt x="758" y="22"/>
                    </a:lnTo>
                    <a:lnTo>
                      <a:pt x="758" y="22"/>
                    </a:lnTo>
                    <a:lnTo>
                      <a:pt x="756" y="18"/>
                    </a:lnTo>
                    <a:lnTo>
                      <a:pt x="754" y="18"/>
                    </a:lnTo>
                    <a:lnTo>
                      <a:pt x="690" y="18"/>
                    </a:lnTo>
                    <a:lnTo>
                      <a:pt x="690" y="0"/>
                    </a:lnTo>
                    <a:lnTo>
                      <a:pt x="754" y="0"/>
                    </a:lnTo>
                    <a:lnTo>
                      <a:pt x="754" y="0"/>
                    </a:lnTo>
                    <a:lnTo>
                      <a:pt x="762" y="2"/>
                    </a:lnTo>
                    <a:lnTo>
                      <a:pt x="770" y="6"/>
                    </a:lnTo>
                    <a:lnTo>
                      <a:pt x="774" y="14"/>
                    </a:lnTo>
                    <a:lnTo>
                      <a:pt x="776" y="22"/>
                    </a:lnTo>
                    <a:lnTo>
                      <a:pt x="776" y="446"/>
                    </a:lnTo>
                    <a:lnTo>
                      <a:pt x="776" y="446"/>
                    </a:lnTo>
                    <a:lnTo>
                      <a:pt x="774" y="456"/>
                    </a:lnTo>
                    <a:lnTo>
                      <a:pt x="770" y="462"/>
                    </a:lnTo>
                    <a:lnTo>
                      <a:pt x="762" y="466"/>
                    </a:lnTo>
                    <a:lnTo>
                      <a:pt x="754" y="468"/>
                    </a:lnTo>
                    <a:lnTo>
                      <a:pt x="754" y="4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5" name="Freeform 26">
                <a:extLst>
                  <a:ext uri="{FF2B5EF4-FFF2-40B4-BE49-F238E27FC236}">
                    <a16:creationId xmlns:a16="http://schemas.microsoft.com/office/drawing/2014/main" id="{91369047-E97F-45E7-AF36-10C9C40FE2CF}"/>
                  </a:ext>
                </a:extLst>
              </p:cNvPr>
              <p:cNvSpPr>
                <a:spLocks noEditPoints="1"/>
              </p:cNvSpPr>
              <p:nvPr/>
            </p:nvSpPr>
            <p:spPr bwMode="auto">
              <a:xfrm>
                <a:off x="3054350" y="3098800"/>
                <a:ext cx="447675" cy="682625"/>
              </a:xfrm>
              <a:custGeom>
                <a:avLst/>
                <a:gdLst>
                  <a:gd name="T0" fmla="*/ 282 w 282"/>
                  <a:gd name="T1" fmla="*/ 430 h 430"/>
                  <a:gd name="T2" fmla="*/ 264 w 282"/>
                  <a:gd name="T3" fmla="*/ 430 h 430"/>
                  <a:gd name="T4" fmla="*/ 264 w 282"/>
                  <a:gd name="T5" fmla="*/ 420 h 430"/>
                  <a:gd name="T6" fmla="*/ 264 w 282"/>
                  <a:gd name="T7" fmla="*/ 420 h 430"/>
                  <a:gd name="T8" fmla="*/ 264 w 282"/>
                  <a:gd name="T9" fmla="*/ 414 h 430"/>
                  <a:gd name="T10" fmla="*/ 262 w 282"/>
                  <a:gd name="T11" fmla="*/ 406 h 430"/>
                  <a:gd name="T12" fmla="*/ 258 w 282"/>
                  <a:gd name="T13" fmla="*/ 400 h 430"/>
                  <a:gd name="T14" fmla="*/ 254 w 282"/>
                  <a:gd name="T15" fmla="*/ 396 h 430"/>
                  <a:gd name="T16" fmla="*/ 250 w 282"/>
                  <a:gd name="T17" fmla="*/ 392 h 430"/>
                  <a:gd name="T18" fmla="*/ 244 w 282"/>
                  <a:gd name="T19" fmla="*/ 388 h 430"/>
                  <a:gd name="T20" fmla="*/ 236 w 282"/>
                  <a:gd name="T21" fmla="*/ 386 h 430"/>
                  <a:gd name="T22" fmla="*/ 230 w 282"/>
                  <a:gd name="T23" fmla="*/ 386 h 430"/>
                  <a:gd name="T24" fmla="*/ 0 w 282"/>
                  <a:gd name="T25" fmla="*/ 386 h 430"/>
                  <a:gd name="T26" fmla="*/ 0 w 282"/>
                  <a:gd name="T27" fmla="*/ 0 h 430"/>
                  <a:gd name="T28" fmla="*/ 230 w 282"/>
                  <a:gd name="T29" fmla="*/ 0 h 430"/>
                  <a:gd name="T30" fmla="*/ 230 w 282"/>
                  <a:gd name="T31" fmla="*/ 0 h 430"/>
                  <a:gd name="T32" fmla="*/ 240 w 282"/>
                  <a:gd name="T33" fmla="*/ 0 h 430"/>
                  <a:gd name="T34" fmla="*/ 250 w 282"/>
                  <a:gd name="T35" fmla="*/ 4 h 430"/>
                  <a:gd name="T36" fmla="*/ 260 w 282"/>
                  <a:gd name="T37" fmla="*/ 8 h 430"/>
                  <a:gd name="T38" fmla="*/ 268 w 282"/>
                  <a:gd name="T39" fmla="*/ 14 h 430"/>
                  <a:gd name="T40" fmla="*/ 274 w 282"/>
                  <a:gd name="T41" fmla="*/ 22 h 430"/>
                  <a:gd name="T42" fmla="*/ 278 w 282"/>
                  <a:gd name="T43" fmla="*/ 32 h 430"/>
                  <a:gd name="T44" fmla="*/ 282 w 282"/>
                  <a:gd name="T45" fmla="*/ 42 h 430"/>
                  <a:gd name="T46" fmla="*/ 282 w 282"/>
                  <a:gd name="T47" fmla="*/ 52 h 430"/>
                  <a:gd name="T48" fmla="*/ 282 w 282"/>
                  <a:gd name="T49" fmla="*/ 386 h 430"/>
                  <a:gd name="T50" fmla="*/ 270 w 282"/>
                  <a:gd name="T51" fmla="*/ 386 h 430"/>
                  <a:gd name="T52" fmla="*/ 270 w 282"/>
                  <a:gd name="T53" fmla="*/ 386 h 430"/>
                  <a:gd name="T54" fmla="*/ 276 w 282"/>
                  <a:gd name="T55" fmla="*/ 392 h 430"/>
                  <a:gd name="T56" fmla="*/ 280 w 282"/>
                  <a:gd name="T57" fmla="*/ 402 h 430"/>
                  <a:gd name="T58" fmla="*/ 282 w 282"/>
                  <a:gd name="T59" fmla="*/ 410 h 430"/>
                  <a:gd name="T60" fmla="*/ 282 w 282"/>
                  <a:gd name="T61" fmla="*/ 420 h 430"/>
                  <a:gd name="T62" fmla="*/ 282 w 282"/>
                  <a:gd name="T63" fmla="*/ 430 h 430"/>
                  <a:gd name="T64" fmla="*/ 18 w 282"/>
                  <a:gd name="T65" fmla="*/ 368 h 430"/>
                  <a:gd name="T66" fmla="*/ 230 w 282"/>
                  <a:gd name="T67" fmla="*/ 368 h 430"/>
                  <a:gd name="T68" fmla="*/ 230 w 282"/>
                  <a:gd name="T69" fmla="*/ 368 h 430"/>
                  <a:gd name="T70" fmla="*/ 240 w 282"/>
                  <a:gd name="T71" fmla="*/ 368 h 430"/>
                  <a:gd name="T72" fmla="*/ 248 w 282"/>
                  <a:gd name="T73" fmla="*/ 370 h 430"/>
                  <a:gd name="T74" fmla="*/ 258 w 282"/>
                  <a:gd name="T75" fmla="*/ 374 h 430"/>
                  <a:gd name="T76" fmla="*/ 264 w 282"/>
                  <a:gd name="T77" fmla="*/ 380 h 430"/>
                  <a:gd name="T78" fmla="*/ 264 w 282"/>
                  <a:gd name="T79" fmla="*/ 52 h 430"/>
                  <a:gd name="T80" fmla="*/ 264 w 282"/>
                  <a:gd name="T81" fmla="*/ 52 h 430"/>
                  <a:gd name="T82" fmla="*/ 264 w 282"/>
                  <a:gd name="T83" fmla="*/ 46 h 430"/>
                  <a:gd name="T84" fmla="*/ 262 w 282"/>
                  <a:gd name="T85" fmla="*/ 38 h 430"/>
                  <a:gd name="T86" fmla="*/ 258 w 282"/>
                  <a:gd name="T87" fmla="*/ 32 h 430"/>
                  <a:gd name="T88" fmla="*/ 254 w 282"/>
                  <a:gd name="T89" fmla="*/ 28 h 430"/>
                  <a:gd name="T90" fmla="*/ 250 w 282"/>
                  <a:gd name="T91" fmla="*/ 24 h 430"/>
                  <a:gd name="T92" fmla="*/ 244 w 282"/>
                  <a:gd name="T93" fmla="*/ 20 h 430"/>
                  <a:gd name="T94" fmla="*/ 236 w 282"/>
                  <a:gd name="T95" fmla="*/ 18 h 430"/>
                  <a:gd name="T96" fmla="*/ 230 w 282"/>
                  <a:gd name="T97" fmla="*/ 18 h 430"/>
                  <a:gd name="T98" fmla="*/ 18 w 282"/>
                  <a:gd name="T99" fmla="*/ 18 h 430"/>
                  <a:gd name="T100" fmla="*/ 18 w 282"/>
                  <a:gd name="T101" fmla="*/ 36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30">
                    <a:moveTo>
                      <a:pt x="282" y="430"/>
                    </a:moveTo>
                    <a:lnTo>
                      <a:pt x="264" y="430"/>
                    </a:lnTo>
                    <a:lnTo>
                      <a:pt x="264" y="420"/>
                    </a:lnTo>
                    <a:lnTo>
                      <a:pt x="264" y="420"/>
                    </a:lnTo>
                    <a:lnTo>
                      <a:pt x="264" y="414"/>
                    </a:lnTo>
                    <a:lnTo>
                      <a:pt x="262" y="406"/>
                    </a:lnTo>
                    <a:lnTo>
                      <a:pt x="258" y="400"/>
                    </a:lnTo>
                    <a:lnTo>
                      <a:pt x="254" y="396"/>
                    </a:lnTo>
                    <a:lnTo>
                      <a:pt x="250" y="392"/>
                    </a:lnTo>
                    <a:lnTo>
                      <a:pt x="244" y="388"/>
                    </a:lnTo>
                    <a:lnTo>
                      <a:pt x="236" y="386"/>
                    </a:lnTo>
                    <a:lnTo>
                      <a:pt x="230" y="386"/>
                    </a:lnTo>
                    <a:lnTo>
                      <a:pt x="0" y="386"/>
                    </a:lnTo>
                    <a:lnTo>
                      <a:pt x="0" y="0"/>
                    </a:lnTo>
                    <a:lnTo>
                      <a:pt x="230" y="0"/>
                    </a:lnTo>
                    <a:lnTo>
                      <a:pt x="230" y="0"/>
                    </a:lnTo>
                    <a:lnTo>
                      <a:pt x="240" y="0"/>
                    </a:lnTo>
                    <a:lnTo>
                      <a:pt x="250" y="4"/>
                    </a:lnTo>
                    <a:lnTo>
                      <a:pt x="260" y="8"/>
                    </a:lnTo>
                    <a:lnTo>
                      <a:pt x="268" y="14"/>
                    </a:lnTo>
                    <a:lnTo>
                      <a:pt x="274" y="22"/>
                    </a:lnTo>
                    <a:lnTo>
                      <a:pt x="278" y="32"/>
                    </a:lnTo>
                    <a:lnTo>
                      <a:pt x="282" y="42"/>
                    </a:lnTo>
                    <a:lnTo>
                      <a:pt x="282" y="52"/>
                    </a:lnTo>
                    <a:lnTo>
                      <a:pt x="282" y="386"/>
                    </a:lnTo>
                    <a:lnTo>
                      <a:pt x="270" y="386"/>
                    </a:lnTo>
                    <a:lnTo>
                      <a:pt x="270" y="386"/>
                    </a:lnTo>
                    <a:lnTo>
                      <a:pt x="276" y="392"/>
                    </a:lnTo>
                    <a:lnTo>
                      <a:pt x="280" y="402"/>
                    </a:lnTo>
                    <a:lnTo>
                      <a:pt x="282" y="410"/>
                    </a:lnTo>
                    <a:lnTo>
                      <a:pt x="282" y="420"/>
                    </a:lnTo>
                    <a:lnTo>
                      <a:pt x="282" y="430"/>
                    </a:lnTo>
                    <a:close/>
                    <a:moveTo>
                      <a:pt x="18" y="368"/>
                    </a:moveTo>
                    <a:lnTo>
                      <a:pt x="230" y="368"/>
                    </a:lnTo>
                    <a:lnTo>
                      <a:pt x="230" y="368"/>
                    </a:lnTo>
                    <a:lnTo>
                      <a:pt x="240" y="368"/>
                    </a:lnTo>
                    <a:lnTo>
                      <a:pt x="248" y="370"/>
                    </a:lnTo>
                    <a:lnTo>
                      <a:pt x="258" y="374"/>
                    </a:lnTo>
                    <a:lnTo>
                      <a:pt x="264" y="380"/>
                    </a:lnTo>
                    <a:lnTo>
                      <a:pt x="264" y="52"/>
                    </a:lnTo>
                    <a:lnTo>
                      <a:pt x="264" y="52"/>
                    </a:lnTo>
                    <a:lnTo>
                      <a:pt x="264" y="46"/>
                    </a:lnTo>
                    <a:lnTo>
                      <a:pt x="262" y="38"/>
                    </a:lnTo>
                    <a:lnTo>
                      <a:pt x="258" y="32"/>
                    </a:lnTo>
                    <a:lnTo>
                      <a:pt x="254" y="28"/>
                    </a:lnTo>
                    <a:lnTo>
                      <a:pt x="250" y="24"/>
                    </a:lnTo>
                    <a:lnTo>
                      <a:pt x="244" y="20"/>
                    </a:lnTo>
                    <a:lnTo>
                      <a:pt x="236" y="18"/>
                    </a:lnTo>
                    <a:lnTo>
                      <a:pt x="230" y="18"/>
                    </a:lnTo>
                    <a:lnTo>
                      <a:pt x="18" y="18"/>
                    </a:lnTo>
                    <a:lnTo>
                      <a:pt x="18" y="3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6" name="Freeform 27">
                <a:extLst>
                  <a:ext uri="{FF2B5EF4-FFF2-40B4-BE49-F238E27FC236}">
                    <a16:creationId xmlns:a16="http://schemas.microsoft.com/office/drawing/2014/main" id="{887A5002-6E4E-4AC4-9AAD-2D18B8490AA7}"/>
                  </a:ext>
                </a:extLst>
              </p:cNvPr>
              <p:cNvSpPr>
                <a:spLocks noEditPoints="1"/>
              </p:cNvSpPr>
              <p:nvPr/>
            </p:nvSpPr>
            <p:spPr bwMode="auto">
              <a:xfrm>
                <a:off x="3473450" y="3098800"/>
                <a:ext cx="450850" cy="666750"/>
              </a:xfrm>
              <a:custGeom>
                <a:avLst/>
                <a:gdLst>
                  <a:gd name="T0" fmla="*/ 18 w 284"/>
                  <a:gd name="T1" fmla="*/ 420 h 420"/>
                  <a:gd name="T2" fmla="*/ 0 w 284"/>
                  <a:gd name="T3" fmla="*/ 420 h 420"/>
                  <a:gd name="T4" fmla="*/ 0 w 284"/>
                  <a:gd name="T5" fmla="*/ 52 h 420"/>
                  <a:gd name="T6" fmla="*/ 0 w 284"/>
                  <a:gd name="T7" fmla="*/ 52 h 420"/>
                  <a:gd name="T8" fmla="*/ 2 w 284"/>
                  <a:gd name="T9" fmla="*/ 42 h 420"/>
                  <a:gd name="T10" fmla="*/ 6 w 284"/>
                  <a:gd name="T11" fmla="*/ 32 h 420"/>
                  <a:gd name="T12" fmla="*/ 10 w 284"/>
                  <a:gd name="T13" fmla="*/ 22 h 420"/>
                  <a:gd name="T14" fmla="*/ 16 w 284"/>
                  <a:gd name="T15" fmla="*/ 14 h 420"/>
                  <a:gd name="T16" fmla="*/ 24 w 284"/>
                  <a:gd name="T17" fmla="*/ 8 h 420"/>
                  <a:gd name="T18" fmla="*/ 34 w 284"/>
                  <a:gd name="T19" fmla="*/ 4 h 420"/>
                  <a:gd name="T20" fmla="*/ 44 w 284"/>
                  <a:gd name="T21" fmla="*/ 0 h 420"/>
                  <a:gd name="T22" fmla="*/ 54 w 284"/>
                  <a:gd name="T23" fmla="*/ 0 h 420"/>
                  <a:gd name="T24" fmla="*/ 284 w 284"/>
                  <a:gd name="T25" fmla="*/ 0 h 420"/>
                  <a:gd name="T26" fmla="*/ 284 w 284"/>
                  <a:gd name="T27" fmla="*/ 386 h 420"/>
                  <a:gd name="T28" fmla="*/ 54 w 284"/>
                  <a:gd name="T29" fmla="*/ 386 h 420"/>
                  <a:gd name="T30" fmla="*/ 54 w 284"/>
                  <a:gd name="T31" fmla="*/ 386 h 420"/>
                  <a:gd name="T32" fmla="*/ 48 w 284"/>
                  <a:gd name="T33" fmla="*/ 386 h 420"/>
                  <a:gd name="T34" fmla="*/ 40 w 284"/>
                  <a:gd name="T35" fmla="*/ 388 h 420"/>
                  <a:gd name="T36" fmla="*/ 34 w 284"/>
                  <a:gd name="T37" fmla="*/ 392 h 420"/>
                  <a:gd name="T38" fmla="*/ 30 w 284"/>
                  <a:gd name="T39" fmla="*/ 396 h 420"/>
                  <a:gd name="T40" fmla="*/ 24 w 284"/>
                  <a:gd name="T41" fmla="*/ 400 h 420"/>
                  <a:gd name="T42" fmla="*/ 22 w 284"/>
                  <a:gd name="T43" fmla="*/ 406 h 420"/>
                  <a:gd name="T44" fmla="*/ 20 w 284"/>
                  <a:gd name="T45" fmla="*/ 414 h 420"/>
                  <a:gd name="T46" fmla="*/ 18 w 284"/>
                  <a:gd name="T47" fmla="*/ 420 h 420"/>
                  <a:gd name="T48" fmla="*/ 18 w 284"/>
                  <a:gd name="T49" fmla="*/ 420 h 420"/>
                  <a:gd name="T50" fmla="*/ 54 w 284"/>
                  <a:gd name="T51" fmla="*/ 18 h 420"/>
                  <a:gd name="T52" fmla="*/ 54 w 284"/>
                  <a:gd name="T53" fmla="*/ 18 h 420"/>
                  <a:gd name="T54" fmla="*/ 48 w 284"/>
                  <a:gd name="T55" fmla="*/ 18 h 420"/>
                  <a:gd name="T56" fmla="*/ 40 w 284"/>
                  <a:gd name="T57" fmla="*/ 20 h 420"/>
                  <a:gd name="T58" fmla="*/ 34 w 284"/>
                  <a:gd name="T59" fmla="*/ 24 h 420"/>
                  <a:gd name="T60" fmla="*/ 30 w 284"/>
                  <a:gd name="T61" fmla="*/ 28 h 420"/>
                  <a:gd name="T62" fmla="*/ 24 w 284"/>
                  <a:gd name="T63" fmla="*/ 32 h 420"/>
                  <a:gd name="T64" fmla="*/ 22 w 284"/>
                  <a:gd name="T65" fmla="*/ 38 h 420"/>
                  <a:gd name="T66" fmla="*/ 20 w 284"/>
                  <a:gd name="T67" fmla="*/ 46 h 420"/>
                  <a:gd name="T68" fmla="*/ 18 w 284"/>
                  <a:gd name="T69" fmla="*/ 52 h 420"/>
                  <a:gd name="T70" fmla="*/ 18 w 284"/>
                  <a:gd name="T71" fmla="*/ 380 h 420"/>
                  <a:gd name="T72" fmla="*/ 18 w 284"/>
                  <a:gd name="T73" fmla="*/ 380 h 420"/>
                  <a:gd name="T74" fmla="*/ 26 w 284"/>
                  <a:gd name="T75" fmla="*/ 374 h 420"/>
                  <a:gd name="T76" fmla="*/ 34 w 284"/>
                  <a:gd name="T77" fmla="*/ 370 h 420"/>
                  <a:gd name="T78" fmla="*/ 44 w 284"/>
                  <a:gd name="T79" fmla="*/ 368 h 420"/>
                  <a:gd name="T80" fmla="*/ 54 w 284"/>
                  <a:gd name="T81" fmla="*/ 368 h 420"/>
                  <a:gd name="T82" fmla="*/ 266 w 284"/>
                  <a:gd name="T83" fmla="*/ 368 h 420"/>
                  <a:gd name="T84" fmla="*/ 266 w 284"/>
                  <a:gd name="T85" fmla="*/ 18 h 420"/>
                  <a:gd name="T86" fmla="*/ 54 w 284"/>
                  <a:gd name="T87" fmla="*/ 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420">
                    <a:moveTo>
                      <a:pt x="18" y="420"/>
                    </a:moveTo>
                    <a:lnTo>
                      <a:pt x="0" y="420"/>
                    </a:lnTo>
                    <a:lnTo>
                      <a:pt x="0" y="52"/>
                    </a:lnTo>
                    <a:lnTo>
                      <a:pt x="0" y="52"/>
                    </a:lnTo>
                    <a:lnTo>
                      <a:pt x="2" y="42"/>
                    </a:lnTo>
                    <a:lnTo>
                      <a:pt x="6" y="32"/>
                    </a:lnTo>
                    <a:lnTo>
                      <a:pt x="10" y="22"/>
                    </a:lnTo>
                    <a:lnTo>
                      <a:pt x="16" y="14"/>
                    </a:lnTo>
                    <a:lnTo>
                      <a:pt x="24" y="8"/>
                    </a:lnTo>
                    <a:lnTo>
                      <a:pt x="34" y="4"/>
                    </a:lnTo>
                    <a:lnTo>
                      <a:pt x="44" y="0"/>
                    </a:lnTo>
                    <a:lnTo>
                      <a:pt x="54" y="0"/>
                    </a:lnTo>
                    <a:lnTo>
                      <a:pt x="284" y="0"/>
                    </a:lnTo>
                    <a:lnTo>
                      <a:pt x="284" y="386"/>
                    </a:lnTo>
                    <a:lnTo>
                      <a:pt x="54" y="386"/>
                    </a:lnTo>
                    <a:lnTo>
                      <a:pt x="54" y="386"/>
                    </a:lnTo>
                    <a:lnTo>
                      <a:pt x="48" y="386"/>
                    </a:lnTo>
                    <a:lnTo>
                      <a:pt x="40" y="388"/>
                    </a:lnTo>
                    <a:lnTo>
                      <a:pt x="34" y="392"/>
                    </a:lnTo>
                    <a:lnTo>
                      <a:pt x="30" y="396"/>
                    </a:lnTo>
                    <a:lnTo>
                      <a:pt x="24" y="400"/>
                    </a:lnTo>
                    <a:lnTo>
                      <a:pt x="22" y="406"/>
                    </a:lnTo>
                    <a:lnTo>
                      <a:pt x="20" y="414"/>
                    </a:lnTo>
                    <a:lnTo>
                      <a:pt x="18" y="420"/>
                    </a:lnTo>
                    <a:lnTo>
                      <a:pt x="18" y="420"/>
                    </a:lnTo>
                    <a:close/>
                    <a:moveTo>
                      <a:pt x="54" y="18"/>
                    </a:moveTo>
                    <a:lnTo>
                      <a:pt x="54" y="18"/>
                    </a:lnTo>
                    <a:lnTo>
                      <a:pt x="48" y="18"/>
                    </a:lnTo>
                    <a:lnTo>
                      <a:pt x="40" y="20"/>
                    </a:lnTo>
                    <a:lnTo>
                      <a:pt x="34" y="24"/>
                    </a:lnTo>
                    <a:lnTo>
                      <a:pt x="30" y="28"/>
                    </a:lnTo>
                    <a:lnTo>
                      <a:pt x="24" y="32"/>
                    </a:lnTo>
                    <a:lnTo>
                      <a:pt x="22" y="38"/>
                    </a:lnTo>
                    <a:lnTo>
                      <a:pt x="20" y="46"/>
                    </a:lnTo>
                    <a:lnTo>
                      <a:pt x="18" y="52"/>
                    </a:lnTo>
                    <a:lnTo>
                      <a:pt x="18" y="380"/>
                    </a:lnTo>
                    <a:lnTo>
                      <a:pt x="18" y="380"/>
                    </a:lnTo>
                    <a:lnTo>
                      <a:pt x="26" y="374"/>
                    </a:lnTo>
                    <a:lnTo>
                      <a:pt x="34" y="370"/>
                    </a:lnTo>
                    <a:lnTo>
                      <a:pt x="44" y="368"/>
                    </a:lnTo>
                    <a:lnTo>
                      <a:pt x="54" y="368"/>
                    </a:lnTo>
                    <a:lnTo>
                      <a:pt x="266" y="368"/>
                    </a:lnTo>
                    <a:lnTo>
                      <a:pt x="266" y="18"/>
                    </a:lnTo>
                    <a:lnTo>
                      <a:pt x="5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7" name="Rectangle 28">
                <a:extLst>
                  <a:ext uri="{FF2B5EF4-FFF2-40B4-BE49-F238E27FC236}">
                    <a16:creationId xmlns:a16="http://schemas.microsoft.com/office/drawing/2014/main" id="{E2EEF2A7-3EEB-4757-93B9-5C814ACA79D2}"/>
                  </a:ext>
                </a:extLst>
              </p:cNvPr>
              <p:cNvSpPr>
                <a:spLocks noChangeArrowheads="1"/>
              </p:cNvSpPr>
              <p:nvPr/>
            </p:nvSpPr>
            <p:spPr bwMode="auto">
              <a:xfrm>
                <a:off x="3279775" y="327660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8" name="Rectangle 29">
                <a:extLst>
                  <a:ext uri="{FF2B5EF4-FFF2-40B4-BE49-F238E27FC236}">
                    <a16:creationId xmlns:a16="http://schemas.microsoft.com/office/drawing/2014/main" id="{57F981AD-4CEA-4F0B-BDB4-AEC5FF4C7198}"/>
                  </a:ext>
                </a:extLst>
              </p:cNvPr>
              <p:cNvSpPr>
                <a:spLocks noChangeArrowheads="1"/>
              </p:cNvSpPr>
              <p:nvPr/>
            </p:nvSpPr>
            <p:spPr bwMode="auto">
              <a:xfrm>
                <a:off x="3279775" y="334645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9" name="Rectangle 30">
                <a:extLst>
                  <a:ext uri="{FF2B5EF4-FFF2-40B4-BE49-F238E27FC236}">
                    <a16:creationId xmlns:a16="http://schemas.microsoft.com/office/drawing/2014/main" id="{92D47D44-6F86-49D1-8EE4-A86E4B11D73D}"/>
                  </a:ext>
                </a:extLst>
              </p:cNvPr>
              <p:cNvSpPr>
                <a:spLocks noChangeArrowheads="1"/>
              </p:cNvSpPr>
              <p:nvPr/>
            </p:nvSpPr>
            <p:spPr bwMode="auto">
              <a:xfrm>
                <a:off x="31337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0" name="Rectangle 31">
                <a:extLst>
                  <a:ext uri="{FF2B5EF4-FFF2-40B4-BE49-F238E27FC236}">
                    <a16:creationId xmlns:a16="http://schemas.microsoft.com/office/drawing/2014/main" id="{0B675156-66B2-42EA-BB9B-460584CC0204}"/>
                  </a:ext>
                </a:extLst>
              </p:cNvPr>
              <p:cNvSpPr>
                <a:spLocks noChangeArrowheads="1"/>
              </p:cNvSpPr>
              <p:nvPr/>
            </p:nvSpPr>
            <p:spPr bwMode="auto">
              <a:xfrm>
                <a:off x="31337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1" name="Rectangle 32">
                <a:extLst>
                  <a:ext uri="{FF2B5EF4-FFF2-40B4-BE49-F238E27FC236}">
                    <a16:creationId xmlns:a16="http://schemas.microsoft.com/office/drawing/2014/main" id="{2691159C-1D03-4D4F-96D9-DDE0ABF4D650}"/>
                  </a:ext>
                </a:extLst>
              </p:cNvPr>
              <p:cNvSpPr>
                <a:spLocks noChangeArrowheads="1"/>
              </p:cNvSpPr>
              <p:nvPr/>
            </p:nvSpPr>
            <p:spPr bwMode="auto">
              <a:xfrm>
                <a:off x="31337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2" name="Rectangle 33">
                <a:extLst>
                  <a:ext uri="{FF2B5EF4-FFF2-40B4-BE49-F238E27FC236}">
                    <a16:creationId xmlns:a16="http://schemas.microsoft.com/office/drawing/2014/main" id="{BD37B748-4AE8-43BA-BD91-AE555E6FFE26}"/>
                  </a:ext>
                </a:extLst>
              </p:cNvPr>
              <p:cNvSpPr>
                <a:spLocks noChangeArrowheads="1"/>
              </p:cNvSpPr>
              <p:nvPr/>
            </p:nvSpPr>
            <p:spPr bwMode="auto">
              <a:xfrm>
                <a:off x="3552825" y="32766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3" name="Rectangle 34">
                <a:extLst>
                  <a:ext uri="{FF2B5EF4-FFF2-40B4-BE49-F238E27FC236}">
                    <a16:creationId xmlns:a16="http://schemas.microsoft.com/office/drawing/2014/main" id="{BA30E3F5-4006-47D3-A8EC-4FD54A1CDC55}"/>
                  </a:ext>
                </a:extLst>
              </p:cNvPr>
              <p:cNvSpPr>
                <a:spLocks noChangeArrowheads="1"/>
              </p:cNvSpPr>
              <p:nvPr/>
            </p:nvSpPr>
            <p:spPr bwMode="auto">
              <a:xfrm>
                <a:off x="3552825" y="334645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4" name="Rectangle 35">
                <a:extLst>
                  <a:ext uri="{FF2B5EF4-FFF2-40B4-BE49-F238E27FC236}">
                    <a16:creationId xmlns:a16="http://schemas.microsoft.com/office/drawing/2014/main" id="{E41A9C76-830C-43F1-B5E5-2C17771A0DC8}"/>
                  </a:ext>
                </a:extLst>
              </p:cNvPr>
              <p:cNvSpPr>
                <a:spLocks noChangeArrowheads="1"/>
              </p:cNvSpPr>
              <p:nvPr/>
            </p:nvSpPr>
            <p:spPr bwMode="auto">
              <a:xfrm>
                <a:off x="35528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5" name="Rectangle 36">
                <a:extLst>
                  <a:ext uri="{FF2B5EF4-FFF2-40B4-BE49-F238E27FC236}">
                    <a16:creationId xmlns:a16="http://schemas.microsoft.com/office/drawing/2014/main" id="{408E6DAB-CEC8-42D4-9D88-C72FFCDBF29A}"/>
                  </a:ext>
                </a:extLst>
              </p:cNvPr>
              <p:cNvSpPr>
                <a:spLocks noChangeArrowheads="1"/>
              </p:cNvSpPr>
              <p:nvPr/>
            </p:nvSpPr>
            <p:spPr bwMode="auto">
              <a:xfrm>
                <a:off x="35528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6" name="Rectangle 37">
                <a:extLst>
                  <a:ext uri="{FF2B5EF4-FFF2-40B4-BE49-F238E27FC236}">
                    <a16:creationId xmlns:a16="http://schemas.microsoft.com/office/drawing/2014/main" id="{3BF6F852-D46D-40D6-A9D4-FB0369E031BC}"/>
                  </a:ext>
                </a:extLst>
              </p:cNvPr>
              <p:cNvSpPr>
                <a:spLocks noChangeArrowheads="1"/>
              </p:cNvSpPr>
              <p:nvPr/>
            </p:nvSpPr>
            <p:spPr bwMode="auto">
              <a:xfrm>
                <a:off x="35528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7" name="Freeform 38">
                <a:extLst>
                  <a:ext uri="{FF2B5EF4-FFF2-40B4-BE49-F238E27FC236}">
                    <a16:creationId xmlns:a16="http://schemas.microsoft.com/office/drawing/2014/main" id="{BC80FB6A-0C9F-4E3B-92F2-C855A8870B3E}"/>
                  </a:ext>
                </a:extLst>
              </p:cNvPr>
              <p:cNvSpPr>
                <a:spLocks noEditPoints="1"/>
              </p:cNvSpPr>
              <p:nvPr/>
            </p:nvSpPr>
            <p:spPr bwMode="auto">
              <a:xfrm>
                <a:off x="3133725" y="3276600"/>
                <a:ext cx="120650" cy="98425"/>
              </a:xfrm>
              <a:custGeom>
                <a:avLst/>
                <a:gdLst>
                  <a:gd name="T0" fmla="*/ 76 w 76"/>
                  <a:gd name="T1" fmla="*/ 62 h 62"/>
                  <a:gd name="T2" fmla="*/ 0 w 76"/>
                  <a:gd name="T3" fmla="*/ 62 h 62"/>
                  <a:gd name="T4" fmla="*/ 0 w 76"/>
                  <a:gd name="T5" fmla="*/ 0 h 62"/>
                  <a:gd name="T6" fmla="*/ 76 w 76"/>
                  <a:gd name="T7" fmla="*/ 0 h 62"/>
                  <a:gd name="T8" fmla="*/ 76 w 76"/>
                  <a:gd name="T9" fmla="*/ 62 h 62"/>
                  <a:gd name="T10" fmla="*/ 18 w 76"/>
                  <a:gd name="T11" fmla="*/ 44 h 62"/>
                  <a:gd name="T12" fmla="*/ 58 w 76"/>
                  <a:gd name="T13" fmla="*/ 44 h 62"/>
                  <a:gd name="T14" fmla="*/ 58 w 76"/>
                  <a:gd name="T15" fmla="*/ 18 h 62"/>
                  <a:gd name="T16" fmla="*/ 18 w 76"/>
                  <a:gd name="T17" fmla="*/ 18 h 62"/>
                  <a:gd name="T18" fmla="*/ 18 w 76"/>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62">
                    <a:moveTo>
                      <a:pt x="76" y="62"/>
                    </a:moveTo>
                    <a:lnTo>
                      <a:pt x="0" y="62"/>
                    </a:lnTo>
                    <a:lnTo>
                      <a:pt x="0" y="0"/>
                    </a:lnTo>
                    <a:lnTo>
                      <a:pt x="76" y="0"/>
                    </a:lnTo>
                    <a:lnTo>
                      <a:pt x="76" y="62"/>
                    </a:lnTo>
                    <a:close/>
                    <a:moveTo>
                      <a:pt x="18" y="44"/>
                    </a:moveTo>
                    <a:lnTo>
                      <a:pt x="58" y="44"/>
                    </a:lnTo>
                    <a:lnTo>
                      <a:pt x="58" y="18"/>
                    </a:lnTo>
                    <a:lnTo>
                      <a:pt x="18" y="18"/>
                    </a:lnTo>
                    <a:lnTo>
                      <a:pt x="1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grpSp>
        <p:sp>
          <p:nvSpPr>
            <p:cNvPr id="290" name="TextBox 289">
              <a:extLst>
                <a:ext uri="{FF2B5EF4-FFF2-40B4-BE49-F238E27FC236}">
                  <a16:creationId xmlns:a16="http://schemas.microsoft.com/office/drawing/2014/main" id="{26903884-EFF6-41D1-B4CD-7CF6EE013128}"/>
                </a:ext>
              </a:extLst>
            </p:cNvPr>
            <p:cNvSpPr txBox="1"/>
            <p:nvPr/>
          </p:nvSpPr>
          <p:spPr>
            <a:xfrm>
              <a:off x="7655928" y="3817233"/>
              <a:ext cx="1045143" cy="186043"/>
            </a:xfrm>
            <a:prstGeom prst="rect">
              <a:avLst/>
            </a:prstGeom>
            <a:noFill/>
            <a:ln w="12700" cap="sq">
              <a:noFill/>
              <a:miter lim="800000"/>
            </a:ln>
          </p:spPr>
          <p:txBody>
            <a:bodyPr wrap="square" lIns="0" tIns="0" rIns="0" bIns="0"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lang="de-AT" sz="1000" b="1" kern="0" dirty="0">
                  <a:solidFill>
                    <a:srgbClr val="FFE600"/>
                  </a:solidFill>
                </a:rPr>
                <a:t>Off</a:t>
              </a:r>
              <a:r>
                <a:rPr kumimoji="0" lang="de-AT" sz="1000" b="1" i="0" u="none" strike="noStrike" kern="0" cap="none" spc="0" normalizeH="0" baseline="0" noProof="0" dirty="0">
                  <a:ln>
                    <a:noFill/>
                  </a:ln>
                  <a:solidFill>
                    <a:srgbClr val="FFE600"/>
                  </a:solidFill>
                  <a:effectLst/>
                  <a:uLnTx/>
                  <a:uFillTx/>
                </a:rPr>
                <a:t>-</a:t>
              </a:r>
              <a:r>
                <a:rPr kumimoji="0" lang="de-AT" sz="1000" i="0" u="none" strike="noStrike" kern="0" cap="none" spc="0" normalizeH="0" baseline="0" noProof="0" dirty="0" err="1">
                  <a:ln>
                    <a:noFill/>
                  </a:ln>
                  <a:solidFill>
                    <a:srgbClr val="FFE600"/>
                  </a:solidFill>
                  <a:effectLst/>
                  <a:uLnTx/>
                  <a:uFillTx/>
                </a:rPr>
                <a:t>chain</a:t>
              </a:r>
              <a:endParaRPr kumimoji="0" lang="de-AT" sz="1000" i="0" u="none" strike="noStrike" kern="0" cap="none" spc="0" normalizeH="0" baseline="0" noProof="0" dirty="0">
                <a:ln>
                  <a:noFill/>
                </a:ln>
                <a:solidFill>
                  <a:srgbClr val="FFE600"/>
                </a:solidFill>
                <a:effectLst/>
                <a:uLnTx/>
                <a:uFillTx/>
              </a:endParaRPr>
            </a:p>
          </p:txBody>
        </p:sp>
        <p:sp>
          <p:nvSpPr>
            <p:cNvPr id="291" name="TextBox 290">
              <a:extLst>
                <a:ext uri="{FF2B5EF4-FFF2-40B4-BE49-F238E27FC236}">
                  <a16:creationId xmlns:a16="http://schemas.microsoft.com/office/drawing/2014/main" id="{2D2B35F4-8FA8-4D55-B969-E86152365C50}"/>
                </a:ext>
              </a:extLst>
            </p:cNvPr>
            <p:cNvSpPr txBox="1"/>
            <p:nvPr/>
          </p:nvSpPr>
          <p:spPr>
            <a:xfrm>
              <a:off x="8671491" y="3832185"/>
              <a:ext cx="563412" cy="186043"/>
            </a:xfrm>
            <a:prstGeom prst="rect">
              <a:avLst/>
            </a:prstGeom>
            <a:noFill/>
            <a:ln w="12700" cap="sq">
              <a:noFill/>
              <a:miter lim="800000"/>
            </a:ln>
          </p:spPr>
          <p:txBody>
            <a:bodyPr wrap="square" lIns="0" tIns="0" rIns="0" bIns="0" rtlCol="0">
              <a:noAutofit/>
            </a:bodyPr>
            <a:lstStyle/>
            <a:p>
              <a:pPr defTabSz="685434">
                <a:spcBef>
                  <a:spcPct val="20000"/>
                </a:spcBef>
                <a:buClr>
                  <a:srgbClr val="FFE600"/>
                </a:buClr>
                <a:buSzPct val="80000"/>
              </a:pPr>
              <a:r>
                <a:rPr lang="de-AT" sz="1000" b="1" kern="0" dirty="0">
                  <a:solidFill>
                    <a:srgbClr val="FFE600"/>
                  </a:solidFill>
                </a:rPr>
                <a:t>On-</a:t>
              </a:r>
              <a:r>
                <a:rPr lang="de-AT" sz="1000" kern="0" dirty="0">
                  <a:solidFill>
                    <a:srgbClr val="FFE600"/>
                  </a:solidFill>
                </a:rPr>
                <a:t>chain</a:t>
              </a:r>
            </a:p>
          </p:txBody>
        </p:sp>
      </p:grpSp>
    </p:spTree>
    <p:extLst>
      <p:ext uri="{BB962C8B-B14F-4D97-AF65-F5344CB8AC3E}">
        <p14:creationId xmlns:p14="http://schemas.microsoft.com/office/powerpoint/2010/main" val="37485380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EDD9-F5B3-48C1-A24A-E9D32D175F99}"/>
              </a:ext>
            </a:extLst>
          </p:cNvPr>
          <p:cNvSpPr>
            <a:spLocks noGrp="1"/>
          </p:cNvSpPr>
          <p:nvPr>
            <p:ph type="title"/>
          </p:nvPr>
        </p:nvSpPr>
        <p:spPr/>
        <p:txBody>
          <a:bodyPr/>
          <a:lstStyle/>
          <a:p>
            <a:r>
              <a:rPr lang="de-AT" dirty="0" err="1"/>
              <a:t>Principle</a:t>
            </a:r>
            <a:r>
              <a:rPr lang="de-AT" dirty="0"/>
              <a:t> 17</a:t>
            </a:r>
          </a:p>
        </p:txBody>
      </p:sp>
      <p:sp>
        <p:nvSpPr>
          <p:cNvPr id="3" name="Text Placeholder 2">
            <a:extLst>
              <a:ext uri="{FF2B5EF4-FFF2-40B4-BE49-F238E27FC236}">
                <a16:creationId xmlns:a16="http://schemas.microsoft.com/office/drawing/2014/main" id="{3141DF54-C884-476C-A8C7-858491B06CF9}"/>
              </a:ext>
            </a:extLst>
          </p:cNvPr>
          <p:cNvSpPr>
            <a:spLocks noGrp="1"/>
          </p:cNvSpPr>
          <p:nvPr>
            <p:ph type="body" sz="quarter" idx="15"/>
          </p:nvPr>
        </p:nvSpPr>
        <p:spPr/>
        <p:txBody>
          <a:bodyPr>
            <a:normAutofit/>
          </a:bodyPr>
          <a:lstStyle/>
          <a:p>
            <a:r>
              <a:rPr lang="de-AT" dirty="0"/>
              <a:t>Duty to Code Cooling-Off (Right of </a:t>
            </a:r>
            <a:r>
              <a:rPr lang="de-AT" dirty="0" err="1"/>
              <a:t>Reflection</a:t>
            </a:r>
            <a:r>
              <a:rPr lang="de-AT" dirty="0"/>
              <a:t> </a:t>
            </a:r>
            <a:r>
              <a:rPr lang="de-AT" dirty="0" err="1"/>
              <a:t>or</a:t>
            </a:r>
            <a:r>
              <a:rPr lang="de-AT" dirty="0"/>
              <a:t> Right of </a:t>
            </a:r>
            <a:r>
              <a:rPr lang="de-AT" dirty="0" err="1"/>
              <a:t>Withdrawal</a:t>
            </a:r>
            <a:r>
              <a:rPr lang="de-AT" dirty="0"/>
              <a:t>)</a:t>
            </a:r>
          </a:p>
        </p:txBody>
      </p:sp>
      <p:sp>
        <p:nvSpPr>
          <p:cNvPr id="4" name="Slide Number Placeholder 3">
            <a:extLst>
              <a:ext uri="{FF2B5EF4-FFF2-40B4-BE49-F238E27FC236}">
                <a16:creationId xmlns:a16="http://schemas.microsoft.com/office/drawing/2014/main" id="{E92C1F4C-BAA7-4D66-A70F-6C6921EB3B00}"/>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17</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9747F8B6-02C9-4FC3-8B9A-876E20C94D57}"/>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sp>
        <p:nvSpPr>
          <p:cNvPr id="23" name="TextBox 22">
            <a:extLst>
              <a:ext uri="{FF2B5EF4-FFF2-40B4-BE49-F238E27FC236}">
                <a16:creationId xmlns:a16="http://schemas.microsoft.com/office/drawing/2014/main" id="{BC7C2141-9F76-43EF-98CA-2132286A7E58}"/>
              </a:ext>
            </a:extLst>
          </p:cNvPr>
          <p:cNvSpPr txBox="1"/>
          <p:nvPr/>
        </p:nvSpPr>
        <p:spPr>
          <a:xfrm>
            <a:off x="5654842" y="2959768"/>
            <a:ext cx="914400" cy="914400"/>
          </a:xfrm>
          <a:prstGeom prst="rect">
            <a:avLst/>
          </a:prstGeom>
          <a:noFill/>
          <a:ln w="12700" cap="sq">
            <a:noFill/>
            <a:miter lim="800000"/>
          </a:ln>
        </p:spPr>
        <p:txBody>
          <a:bodyPr wrap="square" lIns="61200" tIns="36576" rIns="0" bIns="0" rtlCol="0">
            <a:noAutofit/>
          </a:bodyPr>
          <a:lstStyle/>
          <a:p>
            <a: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pPr>
            <a:endParaRPr kumimoji="0" lang="de-AT" sz="1400" b="0" i="0" u="none" strike="noStrike" kern="0" cap="none" spc="0" normalizeH="0" baseline="0" noProof="0" dirty="0">
              <a:ln>
                <a:noFill/>
              </a:ln>
              <a:solidFill>
                <a:schemeClr val="bg1"/>
              </a:solidFill>
              <a:effectLst/>
              <a:uLnTx/>
              <a:uFillTx/>
            </a:endParaRPr>
          </a:p>
        </p:txBody>
      </p:sp>
      <p:grpSp>
        <p:nvGrpSpPr>
          <p:cNvPr id="66" name="Group 65">
            <a:extLst>
              <a:ext uri="{FF2B5EF4-FFF2-40B4-BE49-F238E27FC236}">
                <a16:creationId xmlns:a16="http://schemas.microsoft.com/office/drawing/2014/main" id="{97CF6859-F951-4136-BBAF-3392E7FA1EE1}"/>
              </a:ext>
            </a:extLst>
          </p:cNvPr>
          <p:cNvGrpSpPr/>
          <p:nvPr/>
        </p:nvGrpSpPr>
        <p:grpSpPr>
          <a:xfrm>
            <a:off x="624757" y="1131672"/>
            <a:ext cx="9274611" cy="5560325"/>
            <a:chOff x="609601" y="1360977"/>
            <a:chExt cx="10981142" cy="756408"/>
          </a:xfrm>
        </p:grpSpPr>
        <p:sp>
          <p:nvSpPr>
            <p:cNvPr id="67" name="Rectangle 66">
              <a:extLst>
                <a:ext uri="{FF2B5EF4-FFF2-40B4-BE49-F238E27FC236}">
                  <a16:creationId xmlns:a16="http://schemas.microsoft.com/office/drawing/2014/main" id="{EB7BB794-3086-4215-9148-62F830FFF1D6}"/>
                </a:ext>
              </a:extLst>
            </p:cNvPr>
            <p:cNvSpPr/>
            <p:nvPr/>
          </p:nvSpPr>
          <p:spPr>
            <a:xfrm>
              <a:off x="609601" y="1360977"/>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c) The SMART CONTRACT shall be programmed in such a way that when a CONSUMER exercises their right of withdrawal, the exercise of such right by itself results in a reverse TRANSACTION, taking into consideration the nature of the performance. If the nature of the performance prevents a reverse TRANSACTION, the CONSUMER may be entitled to a monetary claim representing the value of the TRANSACTION.</a:t>
              </a:r>
            </a:p>
            <a:p>
              <a:pPr marR="0" defTabSz="685434" eaLnBrk="1" fontAlgn="auto" latinLnBrk="0" hangingPunct="1">
                <a:lnSpc>
                  <a:spcPct val="100000"/>
                </a:lnSpc>
                <a:spcBef>
                  <a:spcPct val="20000"/>
                </a:spcBef>
                <a:spcAft>
                  <a:spcPts val="0"/>
                </a:spcAft>
                <a:buClr>
                  <a:srgbClr val="FFE600"/>
                </a:buClr>
                <a:buSzPct val="80000"/>
                <a:tabLst/>
              </a:pPr>
              <a:endParaRPr lang="en-US" sz="1600" kern="0" dirty="0">
                <a:solidFill>
                  <a:schemeClr val="bg1"/>
                </a:solidFill>
              </a:endParaRPr>
            </a:p>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d) The SMART CONTRACT shall be programmed in such a way that the CONSUMER is informed</a:t>
              </a:r>
            </a:p>
            <a:p>
              <a:pPr marL="800100" lvl="1" indent="-342900" defTabSz="685434">
                <a:spcBef>
                  <a:spcPct val="20000"/>
                </a:spcBef>
                <a:buClr>
                  <a:srgbClr val="FFE600"/>
                </a:buClr>
                <a:buSzPct val="80000"/>
                <a:buFont typeface="+mj-lt"/>
                <a:buAutoNum type="arabicPeriod"/>
              </a:pPr>
              <a:r>
                <a:rPr lang="en-US" sz="1600" kern="0" dirty="0">
                  <a:solidFill>
                    <a:schemeClr val="bg1"/>
                  </a:solidFill>
                </a:rPr>
                <a:t>that the reverse TRANSACTION has taken place and</a:t>
              </a:r>
            </a:p>
            <a:p>
              <a:pPr marL="800100" lvl="1" indent="-342900" defTabSz="685434">
                <a:spcBef>
                  <a:spcPct val="20000"/>
                </a:spcBef>
                <a:buClr>
                  <a:srgbClr val="FFE600"/>
                </a:buClr>
                <a:buSzPct val="80000"/>
                <a:buFont typeface="+mj-lt"/>
                <a:buAutoNum type="arabicPeriod"/>
              </a:pPr>
              <a:r>
                <a:rPr lang="en-US" sz="1600" kern="0" dirty="0">
                  <a:solidFill>
                    <a:schemeClr val="bg1"/>
                  </a:solidFill>
                </a:rPr>
                <a:t>that certain other rights, but also duties, might exist following the withdrawal.</a:t>
              </a:r>
            </a:p>
            <a:p>
              <a:pPr lvl="1" defTabSz="685434">
                <a:spcBef>
                  <a:spcPct val="20000"/>
                </a:spcBef>
                <a:buClr>
                  <a:srgbClr val="FFE600"/>
                </a:buClr>
                <a:buSzPct val="80000"/>
              </a:pPr>
              <a:endParaRPr lang="en-US" sz="1600" kern="0" dirty="0">
                <a:solidFill>
                  <a:schemeClr val="bg1"/>
                </a:solidFill>
              </a:endParaRPr>
            </a:p>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e) Coding a cooling-off period or a reverse TRANSACTION following the exercise of the right to</a:t>
              </a:r>
            </a:p>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withdrawal as part of the SMART CONTRACT will not be necessary if a consumer would not</a:t>
              </a:r>
            </a:p>
            <a:p>
              <a:pPr marR="0" defTabSz="685434" eaLnBrk="1" fontAlgn="auto" latinLnBrk="0" hangingPunct="1">
                <a:lnSpc>
                  <a:spcPct val="100000"/>
                </a:lnSpc>
                <a:spcBef>
                  <a:spcPct val="20000"/>
                </a:spcBef>
                <a:spcAft>
                  <a:spcPts val="0"/>
                </a:spcAft>
                <a:buClr>
                  <a:srgbClr val="FFE600"/>
                </a:buClr>
                <a:buSzPct val="80000"/>
                <a:tabLst/>
              </a:pPr>
              <a:r>
                <a:rPr lang="en-US" sz="1600" kern="0" dirty="0">
                  <a:solidFill>
                    <a:schemeClr val="bg1"/>
                  </a:solidFill>
                </a:rPr>
                <a:t>be entitled to such a right, given for example the nature of the good, product or service.</a:t>
              </a:r>
              <a:endParaRPr lang="en-GB" sz="1600" kern="0" dirty="0">
                <a:solidFill>
                  <a:schemeClr val="bg1"/>
                </a:solidFill>
              </a:endParaRPr>
            </a:p>
          </p:txBody>
        </p:sp>
        <p:grpSp>
          <p:nvGrpSpPr>
            <p:cNvPr id="68" name="Group 67">
              <a:extLst>
                <a:ext uri="{FF2B5EF4-FFF2-40B4-BE49-F238E27FC236}">
                  <a16:creationId xmlns:a16="http://schemas.microsoft.com/office/drawing/2014/main" id="{63BAA7C8-D3C2-4787-873F-B8946A97FF4C}"/>
                </a:ext>
              </a:extLst>
            </p:cNvPr>
            <p:cNvGrpSpPr/>
            <p:nvPr/>
          </p:nvGrpSpPr>
          <p:grpSpPr>
            <a:xfrm>
              <a:off x="11444402" y="1393610"/>
              <a:ext cx="146341" cy="239780"/>
              <a:chOff x="4011103" y="2105333"/>
              <a:chExt cx="146341" cy="239780"/>
            </a:xfrm>
          </p:grpSpPr>
          <p:grpSp>
            <p:nvGrpSpPr>
              <p:cNvPr id="73" name="Group 72">
                <a:extLst>
                  <a:ext uri="{FF2B5EF4-FFF2-40B4-BE49-F238E27FC236}">
                    <a16:creationId xmlns:a16="http://schemas.microsoft.com/office/drawing/2014/main" id="{53571E3D-02F5-4247-BB78-4901BB1CD2D0}"/>
                  </a:ext>
                </a:extLst>
              </p:cNvPr>
              <p:cNvGrpSpPr/>
              <p:nvPr/>
            </p:nvGrpSpPr>
            <p:grpSpPr>
              <a:xfrm rot="10800000">
                <a:off x="4011103" y="2137035"/>
                <a:ext cx="40849" cy="208078"/>
                <a:chOff x="906170" y="2076504"/>
                <a:chExt cx="79774" cy="406348"/>
              </a:xfrm>
            </p:grpSpPr>
            <p:sp>
              <p:nvSpPr>
                <p:cNvPr id="84" name="Rectangle 83">
                  <a:extLst>
                    <a:ext uri="{FF2B5EF4-FFF2-40B4-BE49-F238E27FC236}">
                      <a16:creationId xmlns:a16="http://schemas.microsoft.com/office/drawing/2014/main" id="{9108241F-D8B4-4681-A445-51010238D661}"/>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5" name="Rectangle 84">
                  <a:extLst>
                    <a:ext uri="{FF2B5EF4-FFF2-40B4-BE49-F238E27FC236}">
                      <a16:creationId xmlns:a16="http://schemas.microsoft.com/office/drawing/2014/main" id="{BAE050BA-7868-4E7B-A86E-ADF4FD73E03E}"/>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86" name="Rectangle 85">
                  <a:extLst>
                    <a:ext uri="{FF2B5EF4-FFF2-40B4-BE49-F238E27FC236}">
                      <a16:creationId xmlns:a16="http://schemas.microsoft.com/office/drawing/2014/main" id="{7F136E01-ADB2-4757-B9E7-5F58CA11EA73}"/>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74" name="Straight Connector 73">
                <a:extLst>
                  <a:ext uri="{FF2B5EF4-FFF2-40B4-BE49-F238E27FC236}">
                    <a16:creationId xmlns:a16="http://schemas.microsoft.com/office/drawing/2014/main" id="{756019C9-EEF1-40CD-BBC0-910D70F37A33}"/>
                  </a:ext>
                </a:extLst>
              </p:cNvPr>
              <p:cNvCxnSpPr>
                <a:stCxn id="86"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F6FC095-24F4-4263-A685-6EAC516D1E9B}"/>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43ACB234-87A9-47E7-9906-F086EB11BCCE}"/>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77" name="Straight Connector 76">
                <a:extLst>
                  <a:ext uri="{FF2B5EF4-FFF2-40B4-BE49-F238E27FC236}">
                    <a16:creationId xmlns:a16="http://schemas.microsoft.com/office/drawing/2014/main" id="{FE4F9789-8317-49B3-90DB-5C8C8D62D296}"/>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C52755F-478D-4A32-8389-CA8412DD750A}"/>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70FF57AE-5C78-4BE6-845F-827F8D59A0B4}"/>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47AA068E-7982-41A0-A2CE-87EA22DD1896}"/>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81" name="Group 80">
                <a:extLst>
                  <a:ext uri="{FF2B5EF4-FFF2-40B4-BE49-F238E27FC236}">
                    <a16:creationId xmlns:a16="http://schemas.microsoft.com/office/drawing/2014/main" id="{31C27D4E-5961-4F24-8F7E-159FD98E7179}"/>
                  </a:ext>
                </a:extLst>
              </p:cNvPr>
              <p:cNvGrpSpPr/>
              <p:nvPr/>
            </p:nvGrpSpPr>
            <p:grpSpPr>
              <a:xfrm rot="10800000">
                <a:off x="4051953" y="2312907"/>
                <a:ext cx="105491" cy="26825"/>
                <a:chOff x="1476522" y="2083779"/>
                <a:chExt cx="206012" cy="52386"/>
              </a:xfrm>
            </p:grpSpPr>
            <p:cxnSp>
              <p:nvCxnSpPr>
                <p:cNvPr id="82" name="Straight Connector 81">
                  <a:extLst>
                    <a:ext uri="{FF2B5EF4-FFF2-40B4-BE49-F238E27FC236}">
                      <a16:creationId xmlns:a16="http://schemas.microsoft.com/office/drawing/2014/main" id="{3A6ABF11-40AB-4217-809F-A78A1472FD2A}"/>
                    </a:ext>
                  </a:extLst>
                </p:cNvPr>
                <p:cNvCxnSpPr>
                  <a:stCxn id="84" idx="1"/>
                  <a:endCxn id="83"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038B7537-D36B-4EF9-85DF-054929F30990}"/>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69" name="Group 68">
              <a:extLst>
                <a:ext uri="{FF2B5EF4-FFF2-40B4-BE49-F238E27FC236}">
                  <a16:creationId xmlns:a16="http://schemas.microsoft.com/office/drawing/2014/main" id="{15167A09-2352-4CD6-83AA-A3B7DBDF510A}"/>
                </a:ext>
              </a:extLst>
            </p:cNvPr>
            <p:cNvGrpSpPr/>
            <p:nvPr/>
          </p:nvGrpSpPr>
          <p:grpSpPr>
            <a:xfrm>
              <a:off x="10735874" y="1859016"/>
              <a:ext cx="384181" cy="55099"/>
              <a:chOff x="3609347" y="2150884"/>
              <a:chExt cx="323386" cy="72179"/>
            </a:xfrm>
          </p:grpSpPr>
          <p:sp>
            <p:nvSpPr>
              <p:cNvPr id="70" name="Rectangle: Rounded Corners 69">
                <a:extLst>
                  <a:ext uri="{FF2B5EF4-FFF2-40B4-BE49-F238E27FC236}">
                    <a16:creationId xmlns:a16="http://schemas.microsoft.com/office/drawing/2014/main" id="{FC933E51-7AC1-47ED-A40B-6CF158A2A0A8}"/>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1" name="Rectangle: Rounded Corners 70">
                <a:extLst>
                  <a:ext uri="{FF2B5EF4-FFF2-40B4-BE49-F238E27FC236}">
                    <a16:creationId xmlns:a16="http://schemas.microsoft.com/office/drawing/2014/main" id="{C68649D4-A7D8-4D5C-97BE-99B00A513653}"/>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2" name="Rectangle 71">
                <a:extLst>
                  <a:ext uri="{FF2B5EF4-FFF2-40B4-BE49-F238E27FC236}">
                    <a16:creationId xmlns:a16="http://schemas.microsoft.com/office/drawing/2014/main" id="{D919CC38-9699-4107-8B11-92DF30CD047D}"/>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grpSp>
        <p:nvGrpSpPr>
          <p:cNvPr id="240" name="Group 239">
            <a:extLst>
              <a:ext uri="{FF2B5EF4-FFF2-40B4-BE49-F238E27FC236}">
                <a16:creationId xmlns:a16="http://schemas.microsoft.com/office/drawing/2014/main" id="{77661ED1-AA2D-4A3C-9D6E-BFB808E56202}"/>
              </a:ext>
            </a:extLst>
          </p:cNvPr>
          <p:cNvGrpSpPr/>
          <p:nvPr/>
        </p:nvGrpSpPr>
        <p:grpSpPr>
          <a:xfrm>
            <a:off x="9462010" y="2397335"/>
            <a:ext cx="3046337" cy="3029371"/>
            <a:chOff x="7129387" y="2271837"/>
            <a:chExt cx="2537599" cy="2523467"/>
          </a:xfrm>
        </p:grpSpPr>
        <p:grpSp>
          <p:nvGrpSpPr>
            <p:cNvPr id="285" name="Group 284">
              <a:extLst>
                <a:ext uri="{FF2B5EF4-FFF2-40B4-BE49-F238E27FC236}">
                  <a16:creationId xmlns:a16="http://schemas.microsoft.com/office/drawing/2014/main" id="{2744701E-BC72-464D-8E73-6EE8C56DC3A8}"/>
                </a:ext>
              </a:extLst>
            </p:cNvPr>
            <p:cNvGrpSpPr/>
            <p:nvPr/>
          </p:nvGrpSpPr>
          <p:grpSpPr>
            <a:xfrm>
              <a:off x="7129387" y="2271837"/>
              <a:ext cx="2537599" cy="2523467"/>
              <a:chOff x="8587298" y="2727960"/>
              <a:chExt cx="5865457" cy="5832794"/>
            </a:xfrm>
          </p:grpSpPr>
          <p:sp>
            <p:nvSpPr>
              <p:cNvPr id="330" name="Freeform: Shape 329">
                <a:extLst>
                  <a:ext uri="{FF2B5EF4-FFF2-40B4-BE49-F238E27FC236}">
                    <a16:creationId xmlns:a16="http://schemas.microsoft.com/office/drawing/2014/main" id="{4C1F4DDD-613F-42D4-A183-59C671B72EA2}"/>
                  </a:ext>
                </a:extLst>
              </p:cNvPr>
              <p:cNvSpPr/>
              <p:nvPr/>
            </p:nvSpPr>
            <p:spPr>
              <a:xfrm>
                <a:off x="9178723" y="6495330"/>
                <a:ext cx="135642" cy="54263"/>
              </a:xfrm>
              <a:custGeom>
                <a:avLst/>
                <a:gdLst>
                  <a:gd name="connsiteX0" fmla="*/ 51435 w 47625"/>
                  <a:gd name="connsiteY0" fmla="*/ 0 h 19050"/>
                  <a:gd name="connsiteX1" fmla="*/ 0 w 47625"/>
                  <a:gd name="connsiteY1" fmla="*/ 19717 h 19050"/>
                  <a:gd name="connsiteX2" fmla="*/ 2572 w 47625"/>
                  <a:gd name="connsiteY2" fmla="*/ 26384 h 19050"/>
                  <a:gd name="connsiteX3" fmla="*/ 53816 w 47625"/>
                  <a:gd name="connsiteY3" fmla="*/ 6096 h 19050"/>
                  <a:gd name="connsiteX4" fmla="*/ 51435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1435" y="0"/>
                    </a:moveTo>
                    <a:lnTo>
                      <a:pt x="0" y="19717"/>
                    </a:lnTo>
                    <a:cubicBezTo>
                      <a:pt x="857" y="22003"/>
                      <a:pt x="1715" y="24194"/>
                      <a:pt x="2572" y="26384"/>
                    </a:cubicBezTo>
                    <a:lnTo>
                      <a:pt x="53816" y="6096"/>
                    </a:lnTo>
                    <a:lnTo>
                      <a:pt x="51435" y="0"/>
                    </a:lnTo>
                    <a:close/>
                  </a:path>
                </a:pathLst>
              </a:custGeom>
              <a:solidFill>
                <a:srgbClr val="C4C4CD"/>
              </a:solidFill>
              <a:ln w="9525" cap="flat">
                <a:noFill/>
                <a:prstDash val="solid"/>
                <a:miter/>
              </a:ln>
            </p:spPr>
            <p:txBody>
              <a:bodyPr rtlCol="0" anchor="ctr"/>
              <a:lstStyle/>
              <a:p>
                <a:endParaRPr lang="en-IN"/>
              </a:p>
            </p:txBody>
          </p:sp>
          <p:sp>
            <p:nvSpPr>
              <p:cNvPr id="331" name="Freeform: Shape 330">
                <a:extLst>
                  <a:ext uri="{FF2B5EF4-FFF2-40B4-BE49-F238E27FC236}">
                    <a16:creationId xmlns:a16="http://schemas.microsoft.com/office/drawing/2014/main" id="{CC6BFB6D-C9DB-43E7-BE83-BA5F3681B3F9}"/>
                  </a:ext>
                </a:extLst>
              </p:cNvPr>
              <p:cNvSpPr/>
              <p:nvPr/>
            </p:nvSpPr>
            <p:spPr>
              <a:xfrm>
                <a:off x="9030593" y="5944055"/>
                <a:ext cx="135642" cy="27132"/>
              </a:xfrm>
              <a:custGeom>
                <a:avLst/>
                <a:gdLst>
                  <a:gd name="connsiteX0" fmla="*/ 54674 w 47625"/>
                  <a:gd name="connsiteY0" fmla="*/ 0 h 9525"/>
                  <a:gd name="connsiteX1" fmla="*/ 0 w 47625"/>
                  <a:gd name="connsiteY1" fmla="*/ 6953 h 9525"/>
                  <a:gd name="connsiteX2" fmla="*/ 857 w 47625"/>
                  <a:gd name="connsiteY2" fmla="*/ 14002 h 9525"/>
                  <a:gd name="connsiteX3" fmla="*/ 55531 w 47625"/>
                  <a:gd name="connsiteY3" fmla="*/ 6572 h 9525"/>
                </a:gdLst>
                <a:ahLst/>
                <a:cxnLst>
                  <a:cxn ang="0">
                    <a:pos x="connsiteX0" y="connsiteY0"/>
                  </a:cxn>
                  <a:cxn ang="0">
                    <a:pos x="connsiteX1" y="connsiteY1"/>
                  </a:cxn>
                  <a:cxn ang="0">
                    <a:pos x="connsiteX2" y="connsiteY2"/>
                  </a:cxn>
                  <a:cxn ang="0">
                    <a:pos x="connsiteX3" y="connsiteY3"/>
                  </a:cxn>
                </a:cxnLst>
                <a:rect l="l" t="t" r="r" b="b"/>
                <a:pathLst>
                  <a:path w="47625" h="9525">
                    <a:moveTo>
                      <a:pt x="54674" y="0"/>
                    </a:moveTo>
                    <a:lnTo>
                      <a:pt x="0" y="6953"/>
                    </a:lnTo>
                    <a:lnTo>
                      <a:pt x="857" y="14002"/>
                    </a:lnTo>
                    <a:lnTo>
                      <a:pt x="55531" y="6572"/>
                    </a:lnTo>
                    <a:close/>
                  </a:path>
                </a:pathLst>
              </a:custGeom>
              <a:solidFill>
                <a:srgbClr val="C4C4CD"/>
              </a:solidFill>
              <a:ln w="9525" cap="flat">
                <a:noFill/>
                <a:prstDash val="solid"/>
                <a:miter/>
              </a:ln>
            </p:spPr>
            <p:txBody>
              <a:bodyPr rtlCol="0" anchor="ctr"/>
              <a:lstStyle/>
              <a:p>
                <a:endParaRPr lang="en-IN"/>
              </a:p>
            </p:txBody>
          </p:sp>
          <p:sp>
            <p:nvSpPr>
              <p:cNvPr id="332" name="Freeform: Shape 331">
                <a:extLst>
                  <a:ext uri="{FF2B5EF4-FFF2-40B4-BE49-F238E27FC236}">
                    <a16:creationId xmlns:a16="http://schemas.microsoft.com/office/drawing/2014/main" id="{37F0E59D-C981-4312-85E9-27D6849858D0}"/>
                  </a:ext>
                </a:extLst>
              </p:cNvPr>
              <p:cNvSpPr/>
              <p:nvPr/>
            </p:nvSpPr>
            <p:spPr>
              <a:xfrm>
                <a:off x="10490151" y="3323370"/>
                <a:ext cx="81395" cy="135642"/>
              </a:xfrm>
              <a:custGeom>
                <a:avLst/>
                <a:gdLst>
                  <a:gd name="connsiteX0" fmla="*/ 29147 w 28575"/>
                  <a:gd name="connsiteY0" fmla="*/ 50292 h 47625"/>
                  <a:gd name="connsiteX1" fmla="*/ 6477 w 28575"/>
                  <a:gd name="connsiteY1" fmla="*/ 0 h 47625"/>
                  <a:gd name="connsiteX2" fmla="*/ 0 w 28575"/>
                  <a:gd name="connsiteY2" fmla="*/ 2953 h 47625"/>
                  <a:gd name="connsiteX3" fmla="*/ 23146 w 28575"/>
                  <a:gd name="connsiteY3" fmla="*/ 52959 h 47625"/>
                  <a:gd name="connsiteX4" fmla="*/ 29147 w 28575"/>
                  <a:gd name="connsiteY4" fmla="*/ 50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29147" y="50292"/>
                    </a:moveTo>
                    <a:lnTo>
                      <a:pt x="6477" y="0"/>
                    </a:lnTo>
                    <a:cubicBezTo>
                      <a:pt x="4286" y="952"/>
                      <a:pt x="2096" y="2000"/>
                      <a:pt x="0" y="2953"/>
                    </a:cubicBezTo>
                    <a:lnTo>
                      <a:pt x="23146" y="52959"/>
                    </a:lnTo>
                    <a:lnTo>
                      <a:pt x="29147" y="50292"/>
                    </a:lnTo>
                    <a:close/>
                  </a:path>
                </a:pathLst>
              </a:custGeom>
              <a:solidFill>
                <a:srgbClr val="C4C4CD"/>
              </a:solidFill>
              <a:ln w="9525" cap="flat">
                <a:noFill/>
                <a:prstDash val="solid"/>
                <a:miter/>
              </a:ln>
            </p:spPr>
            <p:txBody>
              <a:bodyPr rtlCol="0" anchor="ctr"/>
              <a:lstStyle/>
              <a:p>
                <a:endParaRPr lang="en-IN"/>
              </a:p>
            </p:txBody>
          </p:sp>
          <p:sp>
            <p:nvSpPr>
              <p:cNvPr id="333" name="Freeform: Shape 332">
                <a:extLst>
                  <a:ext uri="{FF2B5EF4-FFF2-40B4-BE49-F238E27FC236}">
                    <a16:creationId xmlns:a16="http://schemas.microsoft.com/office/drawing/2014/main" id="{C5B80B06-CB6E-4E46-BB2F-B55174E1E130}"/>
                  </a:ext>
                </a:extLst>
              </p:cNvPr>
              <p:cNvSpPr/>
              <p:nvPr/>
            </p:nvSpPr>
            <p:spPr>
              <a:xfrm>
                <a:off x="9113598" y="6315458"/>
                <a:ext cx="135642" cy="54263"/>
              </a:xfrm>
              <a:custGeom>
                <a:avLst/>
                <a:gdLst>
                  <a:gd name="connsiteX0" fmla="*/ 52864 w 47625"/>
                  <a:gd name="connsiteY0" fmla="*/ 0 h 19050"/>
                  <a:gd name="connsiteX1" fmla="*/ 0 w 47625"/>
                  <a:gd name="connsiteY1" fmla="*/ 15526 h 19050"/>
                  <a:gd name="connsiteX2" fmla="*/ 2096 w 47625"/>
                  <a:gd name="connsiteY2" fmla="*/ 22384 h 19050"/>
                  <a:gd name="connsiteX3" fmla="*/ 54864 w 47625"/>
                  <a:gd name="connsiteY3" fmla="*/ 6286 h 19050"/>
                  <a:gd name="connsiteX4" fmla="*/ 52864 w 47625"/>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2864" y="0"/>
                    </a:moveTo>
                    <a:lnTo>
                      <a:pt x="0" y="15526"/>
                    </a:lnTo>
                    <a:cubicBezTo>
                      <a:pt x="667" y="17812"/>
                      <a:pt x="1333" y="20098"/>
                      <a:pt x="2096" y="22384"/>
                    </a:cubicBezTo>
                    <a:lnTo>
                      <a:pt x="54864" y="6286"/>
                    </a:lnTo>
                    <a:lnTo>
                      <a:pt x="52864" y="0"/>
                    </a:lnTo>
                    <a:close/>
                  </a:path>
                </a:pathLst>
              </a:custGeom>
              <a:solidFill>
                <a:srgbClr val="C4C4CD"/>
              </a:solidFill>
              <a:ln w="9525" cap="flat">
                <a:noFill/>
                <a:prstDash val="solid"/>
                <a:miter/>
              </a:ln>
            </p:spPr>
            <p:txBody>
              <a:bodyPr rtlCol="0" anchor="ctr"/>
              <a:lstStyle/>
              <a:p>
                <a:endParaRPr lang="en-IN"/>
              </a:p>
            </p:txBody>
          </p:sp>
          <p:sp>
            <p:nvSpPr>
              <p:cNvPr id="334" name="Freeform: Shape 333">
                <a:extLst>
                  <a:ext uri="{FF2B5EF4-FFF2-40B4-BE49-F238E27FC236}">
                    <a16:creationId xmlns:a16="http://schemas.microsoft.com/office/drawing/2014/main" id="{521219F1-F2E5-440B-9011-D235E553262D}"/>
                  </a:ext>
                </a:extLst>
              </p:cNvPr>
              <p:cNvSpPr/>
              <p:nvPr/>
            </p:nvSpPr>
            <p:spPr>
              <a:xfrm>
                <a:off x="9012964" y="5754962"/>
                <a:ext cx="135642" cy="27132"/>
              </a:xfrm>
              <a:custGeom>
                <a:avLst/>
                <a:gdLst>
                  <a:gd name="connsiteX0" fmla="*/ 55054 w 47625"/>
                  <a:gd name="connsiteY0" fmla="*/ 0 h 9525"/>
                  <a:gd name="connsiteX1" fmla="*/ 0 w 47625"/>
                  <a:gd name="connsiteY1" fmla="*/ 2476 h 9525"/>
                  <a:gd name="connsiteX2" fmla="*/ 381 w 47625"/>
                  <a:gd name="connsiteY2" fmla="*/ 9620 h 9525"/>
                  <a:gd name="connsiteX3" fmla="*/ 55435 w 47625"/>
                  <a:gd name="connsiteY3" fmla="*/ 6572 h 9525"/>
                  <a:gd name="connsiteX4" fmla="*/ 55054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5054" y="0"/>
                    </a:moveTo>
                    <a:lnTo>
                      <a:pt x="0" y="2476"/>
                    </a:lnTo>
                    <a:cubicBezTo>
                      <a:pt x="95" y="4858"/>
                      <a:pt x="191" y="7239"/>
                      <a:pt x="381" y="9620"/>
                    </a:cubicBezTo>
                    <a:lnTo>
                      <a:pt x="55435" y="6572"/>
                    </a:lnTo>
                    <a:lnTo>
                      <a:pt x="55054" y="0"/>
                    </a:lnTo>
                    <a:close/>
                  </a:path>
                </a:pathLst>
              </a:custGeom>
              <a:solidFill>
                <a:srgbClr val="C4C4CD"/>
              </a:solidFill>
              <a:ln w="9525" cap="flat">
                <a:noFill/>
                <a:prstDash val="solid"/>
                <a:miter/>
              </a:ln>
            </p:spPr>
            <p:txBody>
              <a:bodyPr rtlCol="0" anchor="ctr"/>
              <a:lstStyle/>
              <a:p>
                <a:endParaRPr lang="en-IN"/>
              </a:p>
            </p:txBody>
          </p:sp>
          <p:sp>
            <p:nvSpPr>
              <p:cNvPr id="335" name="Freeform: Shape 334">
                <a:extLst>
                  <a:ext uri="{FF2B5EF4-FFF2-40B4-BE49-F238E27FC236}">
                    <a16:creationId xmlns:a16="http://schemas.microsoft.com/office/drawing/2014/main" id="{E48F8CD7-8588-4669-B7C4-8A35336FACC9}"/>
                  </a:ext>
                </a:extLst>
              </p:cNvPr>
              <p:cNvSpPr/>
              <p:nvPr/>
            </p:nvSpPr>
            <p:spPr>
              <a:xfrm>
                <a:off x="9097328" y="4960347"/>
                <a:ext cx="135642" cy="54263"/>
              </a:xfrm>
              <a:custGeom>
                <a:avLst/>
                <a:gdLst>
                  <a:gd name="connsiteX0" fmla="*/ 54959 w 47625"/>
                  <a:gd name="connsiteY0" fmla="*/ 14859 h 19050"/>
                  <a:gd name="connsiteX1" fmla="*/ 1905 w 47625"/>
                  <a:gd name="connsiteY1" fmla="*/ 0 h 19050"/>
                  <a:gd name="connsiteX2" fmla="*/ 0 w 47625"/>
                  <a:gd name="connsiteY2" fmla="*/ 6953 h 19050"/>
                  <a:gd name="connsiteX3" fmla="*/ 53245 w 47625"/>
                  <a:gd name="connsiteY3" fmla="*/ 21241 h 19050"/>
                  <a:gd name="connsiteX4" fmla="*/ 54959 w 47625"/>
                  <a:gd name="connsiteY4" fmla="*/ 1485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959" y="14859"/>
                    </a:moveTo>
                    <a:lnTo>
                      <a:pt x="1905" y="0"/>
                    </a:lnTo>
                    <a:cubicBezTo>
                      <a:pt x="1238" y="2286"/>
                      <a:pt x="667" y="4667"/>
                      <a:pt x="0" y="6953"/>
                    </a:cubicBezTo>
                    <a:lnTo>
                      <a:pt x="53245" y="21241"/>
                    </a:lnTo>
                    <a:cubicBezTo>
                      <a:pt x="53816" y="19050"/>
                      <a:pt x="54388" y="16954"/>
                      <a:pt x="54959" y="14859"/>
                    </a:cubicBezTo>
                    <a:close/>
                  </a:path>
                </a:pathLst>
              </a:custGeom>
              <a:solidFill>
                <a:srgbClr val="C4C4CD"/>
              </a:solidFill>
              <a:ln w="9525" cap="flat">
                <a:noFill/>
                <a:prstDash val="solid"/>
                <a:miter/>
              </a:ln>
            </p:spPr>
            <p:txBody>
              <a:bodyPr rtlCol="0" anchor="ctr"/>
              <a:lstStyle/>
              <a:p>
                <a:endParaRPr lang="en-IN"/>
              </a:p>
            </p:txBody>
          </p:sp>
          <p:sp>
            <p:nvSpPr>
              <p:cNvPr id="336" name="Freeform: Shape 335">
                <a:extLst>
                  <a:ext uri="{FF2B5EF4-FFF2-40B4-BE49-F238E27FC236}">
                    <a16:creationId xmlns:a16="http://schemas.microsoft.com/office/drawing/2014/main" id="{B2AEDE01-54E4-4C82-B54A-3F5FBB932E81}"/>
                  </a:ext>
                </a:extLst>
              </p:cNvPr>
              <p:cNvSpPr/>
              <p:nvPr/>
            </p:nvSpPr>
            <p:spPr>
              <a:xfrm>
                <a:off x="9010792" y="5559633"/>
                <a:ext cx="135642" cy="27132"/>
              </a:xfrm>
              <a:custGeom>
                <a:avLst/>
                <a:gdLst>
                  <a:gd name="connsiteX0" fmla="*/ 55340 w 47625"/>
                  <a:gd name="connsiteY0" fmla="*/ 1715 h 0"/>
                  <a:gd name="connsiteX1" fmla="*/ 191 w 47625"/>
                  <a:gd name="connsiteY1" fmla="*/ 0 h 0"/>
                  <a:gd name="connsiteX2" fmla="*/ 0 w 47625"/>
                  <a:gd name="connsiteY2" fmla="*/ 7144 h 0"/>
                  <a:gd name="connsiteX3" fmla="*/ 55150 w 47625"/>
                  <a:gd name="connsiteY3" fmla="*/ 8382 h 0"/>
                </a:gdLst>
                <a:ahLst/>
                <a:cxnLst>
                  <a:cxn ang="0">
                    <a:pos x="connsiteX0" y="connsiteY0"/>
                  </a:cxn>
                  <a:cxn ang="0">
                    <a:pos x="connsiteX1" y="connsiteY1"/>
                  </a:cxn>
                  <a:cxn ang="0">
                    <a:pos x="connsiteX2" y="connsiteY2"/>
                  </a:cxn>
                  <a:cxn ang="0">
                    <a:pos x="connsiteX3" y="connsiteY3"/>
                  </a:cxn>
                </a:cxnLst>
                <a:rect l="l" t="t" r="r" b="b"/>
                <a:pathLst>
                  <a:path w="47625">
                    <a:moveTo>
                      <a:pt x="55340" y="1715"/>
                    </a:moveTo>
                    <a:lnTo>
                      <a:pt x="191" y="0"/>
                    </a:lnTo>
                    <a:lnTo>
                      <a:pt x="0" y="7144"/>
                    </a:lnTo>
                    <a:lnTo>
                      <a:pt x="55150" y="8382"/>
                    </a:lnTo>
                    <a:close/>
                  </a:path>
                </a:pathLst>
              </a:custGeom>
              <a:solidFill>
                <a:srgbClr val="C4C4CD"/>
              </a:solidFill>
              <a:ln w="9525" cap="flat">
                <a:noFill/>
                <a:prstDash val="solid"/>
                <a:miter/>
              </a:ln>
            </p:spPr>
            <p:txBody>
              <a:bodyPr rtlCol="0" anchor="ctr"/>
              <a:lstStyle/>
              <a:p>
                <a:endParaRPr lang="en-IN"/>
              </a:p>
            </p:txBody>
          </p:sp>
          <p:sp>
            <p:nvSpPr>
              <p:cNvPr id="337" name="Freeform: Shape 336">
                <a:extLst>
                  <a:ext uri="{FF2B5EF4-FFF2-40B4-BE49-F238E27FC236}">
                    <a16:creationId xmlns:a16="http://schemas.microsoft.com/office/drawing/2014/main" id="{4051E13A-3D62-4F05-9669-7CB65381827A}"/>
                  </a:ext>
                </a:extLst>
              </p:cNvPr>
              <p:cNvSpPr/>
              <p:nvPr/>
            </p:nvSpPr>
            <p:spPr>
              <a:xfrm>
                <a:off x="9157827" y="4767456"/>
                <a:ext cx="135642" cy="54263"/>
              </a:xfrm>
              <a:custGeom>
                <a:avLst/>
                <a:gdLst>
                  <a:gd name="connsiteX0" fmla="*/ 54197 w 47625"/>
                  <a:gd name="connsiteY0" fmla="*/ 19145 h 19050"/>
                  <a:gd name="connsiteX1" fmla="*/ 2477 w 47625"/>
                  <a:gd name="connsiteY1" fmla="*/ 0 h 19050"/>
                  <a:gd name="connsiteX2" fmla="*/ 0 w 47625"/>
                  <a:gd name="connsiteY2" fmla="*/ 6763 h 19050"/>
                  <a:gd name="connsiteX3" fmla="*/ 51911 w 47625"/>
                  <a:gd name="connsiteY3" fmla="*/ 25241 h 19050"/>
                  <a:gd name="connsiteX4" fmla="*/ 54197 w 47625"/>
                  <a:gd name="connsiteY4" fmla="*/ 1914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54197" y="19145"/>
                    </a:moveTo>
                    <a:lnTo>
                      <a:pt x="2477" y="0"/>
                    </a:lnTo>
                    <a:cubicBezTo>
                      <a:pt x="1619" y="2286"/>
                      <a:pt x="857" y="4572"/>
                      <a:pt x="0" y="6763"/>
                    </a:cubicBezTo>
                    <a:lnTo>
                      <a:pt x="51911" y="25241"/>
                    </a:lnTo>
                    <a:cubicBezTo>
                      <a:pt x="52673" y="23241"/>
                      <a:pt x="53435" y="21146"/>
                      <a:pt x="54197" y="19145"/>
                    </a:cubicBezTo>
                    <a:close/>
                  </a:path>
                </a:pathLst>
              </a:custGeom>
              <a:solidFill>
                <a:srgbClr val="C4C4CD"/>
              </a:solidFill>
              <a:ln w="9525" cap="flat">
                <a:noFill/>
                <a:prstDash val="solid"/>
                <a:miter/>
              </a:ln>
            </p:spPr>
            <p:txBody>
              <a:bodyPr rtlCol="0" anchor="ctr"/>
              <a:lstStyle/>
              <a:p>
                <a:endParaRPr lang="en-IN"/>
              </a:p>
            </p:txBody>
          </p:sp>
          <p:sp>
            <p:nvSpPr>
              <p:cNvPr id="338" name="Freeform: Shape 337">
                <a:extLst>
                  <a:ext uri="{FF2B5EF4-FFF2-40B4-BE49-F238E27FC236}">
                    <a16:creationId xmlns:a16="http://schemas.microsoft.com/office/drawing/2014/main" id="{84B40C0C-C657-4B15-A1D9-E6BD2926CD63}"/>
                  </a:ext>
                </a:extLst>
              </p:cNvPr>
              <p:cNvSpPr/>
              <p:nvPr/>
            </p:nvSpPr>
            <p:spPr>
              <a:xfrm>
                <a:off x="9023545" y="5357787"/>
                <a:ext cx="135642" cy="27132"/>
              </a:xfrm>
              <a:custGeom>
                <a:avLst/>
                <a:gdLst>
                  <a:gd name="connsiteX0" fmla="*/ 55626 w 47625"/>
                  <a:gd name="connsiteY0" fmla="*/ 6096 h 9525"/>
                  <a:gd name="connsiteX1" fmla="*/ 762 w 47625"/>
                  <a:gd name="connsiteY1" fmla="*/ 0 h 9525"/>
                  <a:gd name="connsiteX2" fmla="*/ 0 w 47625"/>
                  <a:gd name="connsiteY2" fmla="*/ 7048 h 9525"/>
                  <a:gd name="connsiteX3" fmla="*/ 54864 w 47625"/>
                  <a:gd name="connsiteY3" fmla="*/ 12668 h 9525"/>
                </a:gdLst>
                <a:ahLst/>
                <a:cxnLst>
                  <a:cxn ang="0">
                    <a:pos x="connsiteX0" y="connsiteY0"/>
                  </a:cxn>
                  <a:cxn ang="0">
                    <a:pos x="connsiteX1" y="connsiteY1"/>
                  </a:cxn>
                  <a:cxn ang="0">
                    <a:pos x="connsiteX2" y="connsiteY2"/>
                  </a:cxn>
                  <a:cxn ang="0">
                    <a:pos x="connsiteX3" y="connsiteY3"/>
                  </a:cxn>
                </a:cxnLst>
                <a:rect l="l" t="t" r="r" b="b"/>
                <a:pathLst>
                  <a:path w="47625" h="9525">
                    <a:moveTo>
                      <a:pt x="55626" y="6096"/>
                    </a:moveTo>
                    <a:lnTo>
                      <a:pt x="762" y="0"/>
                    </a:lnTo>
                    <a:lnTo>
                      <a:pt x="0" y="7048"/>
                    </a:lnTo>
                    <a:lnTo>
                      <a:pt x="54864" y="12668"/>
                    </a:lnTo>
                    <a:close/>
                  </a:path>
                </a:pathLst>
              </a:custGeom>
              <a:solidFill>
                <a:srgbClr val="C4C4CD"/>
              </a:solidFill>
              <a:ln w="9525" cap="flat">
                <a:noFill/>
                <a:prstDash val="solid"/>
                <a:miter/>
              </a:ln>
            </p:spPr>
            <p:txBody>
              <a:bodyPr rtlCol="0" anchor="ctr"/>
              <a:lstStyle/>
              <a:p>
                <a:endParaRPr lang="en-IN"/>
              </a:p>
            </p:txBody>
          </p:sp>
          <p:sp>
            <p:nvSpPr>
              <p:cNvPr id="339" name="Freeform: Shape 338">
                <a:extLst>
                  <a:ext uri="{FF2B5EF4-FFF2-40B4-BE49-F238E27FC236}">
                    <a16:creationId xmlns:a16="http://schemas.microsoft.com/office/drawing/2014/main" id="{2F9E9C47-4114-4DEC-8243-FF447561F538}"/>
                  </a:ext>
                </a:extLst>
              </p:cNvPr>
              <p:cNvSpPr/>
              <p:nvPr/>
            </p:nvSpPr>
            <p:spPr>
              <a:xfrm>
                <a:off x="9052567" y="5157582"/>
                <a:ext cx="135642" cy="27132"/>
              </a:xfrm>
              <a:custGeom>
                <a:avLst/>
                <a:gdLst>
                  <a:gd name="connsiteX0" fmla="*/ 55435 w 47625"/>
                  <a:gd name="connsiteY0" fmla="*/ 10478 h 9525"/>
                  <a:gd name="connsiteX1" fmla="*/ 1333 w 47625"/>
                  <a:gd name="connsiteY1" fmla="*/ 0 h 9525"/>
                  <a:gd name="connsiteX2" fmla="*/ 0 w 47625"/>
                  <a:gd name="connsiteY2" fmla="*/ 6953 h 9525"/>
                  <a:gd name="connsiteX3" fmla="*/ 54197 w 47625"/>
                  <a:gd name="connsiteY3" fmla="*/ 16954 h 9525"/>
                </a:gdLst>
                <a:ahLst/>
                <a:cxnLst>
                  <a:cxn ang="0">
                    <a:pos x="connsiteX0" y="connsiteY0"/>
                  </a:cxn>
                  <a:cxn ang="0">
                    <a:pos x="connsiteX1" y="connsiteY1"/>
                  </a:cxn>
                  <a:cxn ang="0">
                    <a:pos x="connsiteX2" y="connsiteY2"/>
                  </a:cxn>
                  <a:cxn ang="0">
                    <a:pos x="connsiteX3" y="connsiteY3"/>
                  </a:cxn>
                </a:cxnLst>
                <a:rect l="l" t="t" r="r" b="b"/>
                <a:pathLst>
                  <a:path w="47625" h="9525">
                    <a:moveTo>
                      <a:pt x="55435" y="10478"/>
                    </a:moveTo>
                    <a:lnTo>
                      <a:pt x="1333" y="0"/>
                    </a:lnTo>
                    <a:lnTo>
                      <a:pt x="0" y="6953"/>
                    </a:lnTo>
                    <a:lnTo>
                      <a:pt x="54197" y="16954"/>
                    </a:lnTo>
                    <a:close/>
                  </a:path>
                </a:pathLst>
              </a:custGeom>
              <a:solidFill>
                <a:srgbClr val="C4C4CD"/>
              </a:solidFill>
              <a:ln w="9525" cap="flat">
                <a:noFill/>
                <a:prstDash val="solid"/>
                <a:miter/>
              </a:ln>
            </p:spPr>
            <p:txBody>
              <a:bodyPr rtlCol="0" anchor="ctr"/>
              <a:lstStyle/>
              <a:p>
                <a:endParaRPr lang="en-IN"/>
              </a:p>
            </p:txBody>
          </p:sp>
          <p:sp>
            <p:nvSpPr>
              <p:cNvPr id="340" name="Freeform: Shape 339">
                <a:extLst>
                  <a:ext uri="{FF2B5EF4-FFF2-40B4-BE49-F238E27FC236}">
                    <a16:creationId xmlns:a16="http://schemas.microsoft.com/office/drawing/2014/main" id="{88DECEAD-C452-4D67-909B-0E586D037A87}"/>
                  </a:ext>
                </a:extLst>
              </p:cNvPr>
              <p:cNvSpPr/>
              <p:nvPr/>
            </p:nvSpPr>
            <p:spPr>
              <a:xfrm>
                <a:off x="10020537" y="7543335"/>
                <a:ext cx="108526" cy="135642"/>
              </a:xfrm>
              <a:custGeom>
                <a:avLst/>
                <a:gdLst>
                  <a:gd name="connsiteX0" fmla="*/ 0 w 38100"/>
                  <a:gd name="connsiteY0" fmla="*/ 44005 h 47625"/>
                  <a:gd name="connsiteX1" fmla="*/ 5715 w 38100"/>
                  <a:gd name="connsiteY1" fmla="*/ 48292 h 47625"/>
                  <a:gd name="connsiteX2" fmla="*/ 38576 w 38100"/>
                  <a:gd name="connsiteY2" fmla="*/ 4000 h 47625"/>
                  <a:gd name="connsiteX3" fmla="*/ 33242 w 38100"/>
                  <a:gd name="connsiteY3" fmla="*/ 0 h 47625"/>
                </a:gdLst>
                <a:ahLst/>
                <a:cxnLst>
                  <a:cxn ang="0">
                    <a:pos x="connsiteX0" y="connsiteY0"/>
                  </a:cxn>
                  <a:cxn ang="0">
                    <a:pos x="connsiteX1" y="connsiteY1"/>
                  </a:cxn>
                  <a:cxn ang="0">
                    <a:pos x="connsiteX2" y="connsiteY2"/>
                  </a:cxn>
                  <a:cxn ang="0">
                    <a:pos x="connsiteX3" y="connsiteY3"/>
                  </a:cxn>
                </a:cxnLst>
                <a:rect l="l" t="t" r="r" b="b"/>
                <a:pathLst>
                  <a:path w="38100" h="47625">
                    <a:moveTo>
                      <a:pt x="0" y="44005"/>
                    </a:moveTo>
                    <a:lnTo>
                      <a:pt x="5715" y="48292"/>
                    </a:lnTo>
                    <a:lnTo>
                      <a:pt x="38576" y="4000"/>
                    </a:lnTo>
                    <a:lnTo>
                      <a:pt x="33242" y="0"/>
                    </a:lnTo>
                    <a:close/>
                  </a:path>
                </a:pathLst>
              </a:custGeom>
              <a:solidFill>
                <a:srgbClr val="C4C4CD"/>
              </a:solidFill>
              <a:ln w="9525" cap="flat">
                <a:noFill/>
                <a:prstDash val="solid"/>
                <a:miter/>
              </a:ln>
            </p:spPr>
            <p:txBody>
              <a:bodyPr rtlCol="0" anchor="ctr"/>
              <a:lstStyle/>
              <a:p>
                <a:endParaRPr lang="en-IN"/>
              </a:p>
            </p:txBody>
          </p:sp>
          <p:sp>
            <p:nvSpPr>
              <p:cNvPr id="341" name="Freeform: Shape 340">
                <a:extLst>
                  <a:ext uri="{FF2B5EF4-FFF2-40B4-BE49-F238E27FC236}">
                    <a16:creationId xmlns:a16="http://schemas.microsoft.com/office/drawing/2014/main" id="{95C84816-37B9-4F76-90DF-FF152EBBBF25}"/>
                  </a:ext>
                </a:extLst>
              </p:cNvPr>
              <p:cNvSpPr/>
              <p:nvPr/>
            </p:nvSpPr>
            <p:spPr>
              <a:xfrm>
                <a:off x="9863999" y="7422868"/>
                <a:ext cx="108526" cy="108526"/>
              </a:xfrm>
              <a:custGeom>
                <a:avLst/>
                <a:gdLst>
                  <a:gd name="connsiteX0" fmla="*/ 0 w 38100"/>
                  <a:gd name="connsiteY0" fmla="*/ 41148 h 38100"/>
                  <a:gd name="connsiteX1" fmla="*/ 5334 w 38100"/>
                  <a:gd name="connsiteY1" fmla="*/ 45911 h 38100"/>
                  <a:gd name="connsiteX2" fmla="*/ 41624 w 38100"/>
                  <a:gd name="connsiteY2" fmla="*/ 4382 h 38100"/>
                  <a:gd name="connsiteX3" fmla="*/ 36671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41148"/>
                    </a:moveTo>
                    <a:lnTo>
                      <a:pt x="5334" y="45911"/>
                    </a:lnTo>
                    <a:lnTo>
                      <a:pt x="41624" y="4382"/>
                    </a:lnTo>
                    <a:lnTo>
                      <a:pt x="36671" y="0"/>
                    </a:lnTo>
                    <a:close/>
                  </a:path>
                </a:pathLst>
              </a:custGeom>
              <a:solidFill>
                <a:srgbClr val="C4C4CD"/>
              </a:solidFill>
              <a:ln w="9525" cap="flat">
                <a:noFill/>
                <a:prstDash val="solid"/>
                <a:miter/>
              </a:ln>
            </p:spPr>
            <p:txBody>
              <a:bodyPr rtlCol="0" anchor="ctr"/>
              <a:lstStyle/>
              <a:p>
                <a:endParaRPr lang="en-IN"/>
              </a:p>
            </p:txBody>
          </p:sp>
          <p:sp>
            <p:nvSpPr>
              <p:cNvPr id="342" name="Freeform: Shape 341">
                <a:extLst>
                  <a:ext uri="{FF2B5EF4-FFF2-40B4-BE49-F238E27FC236}">
                    <a16:creationId xmlns:a16="http://schemas.microsoft.com/office/drawing/2014/main" id="{DA6F428C-2200-4EC9-850C-A9C2FFC3BBC5}"/>
                  </a:ext>
                </a:extLst>
              </p:cNvPr>
              <p:cNvSpPr/>
              <p:nvPr/>
            </p:nvSpPr>
            <p:spPr>
              <a:xfrm>
                <a:off x="10186577" y="7652111"/>
                <a:ext cx="81395" cy="135642"/>
              </a:xfrm>
              <a:custGeom>
                <a:avLst/>
                <a:gdLst>
                  <a:gd name="connsiteX0" fmla="*/ 0 w 28575"/>
                  <a:gd name="connsiteY0" fmla="*/ 46482 h 47625"/>
                  <a:gd name="connsiteX1" fmla="*/ 6096 w 28575"/>
                  <a:gd name="connsiteY1" fmla="*/ 50292 h 47625"/>
                  <a:gd name="connsiteX2" fmla="*/ 35338 w 28575"/>
                  <a:gd name="connsiteY2" fmla="*/ 3524 h 47625"/>
                  <a:gd name="connsiteX3" fmla="*/ 29718 w 28575"/>
                  <a:gd name="connsiteY3" fmla="*/ 0 h 47625"/>
                  <a:gd name="connsiteX4" fmla="*/ 0 w 28575"/>
                  <a:gd name="connsiteY4" fmla="*/ 4648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6482"/>
                    </a:moveTo>
                    <a:cubicBezTo>
                      <a:pt x="2000" y="47720"/>
                      <a:pt x="4000" y="49054"/>
                      <a:pt x="6096" y="50292"/>
                    </a:cubicBezTo>
                    <a:lnTo>
                      <a:pt x="35338" y="3524"/>
                    </a:lnTo>
                    <a:lnTo>
                      <a:pt x="29718" y="0"/>
                    </a:lnTo>
                    <a:lnTo>
                      <a:pt x="0" y="46482"/>
                    </a:lnTo>
                    <a:close/>
                  </a:path>
                </a:pathLst>
              </a:custGeom>
              <a:solidFill>
                <a:srgbClr val="C4C4CD"/>
              </a:solidFill>
              <a:ln w="9525" cap="flat">
                <a:noFill/>
                <a:prstDash val="solid"/>
                <a:miter/>
              </a:ln>
            </p:spPr>
            <p:txBody>
              <a:bodyPr rtlCol="0" anchor="ctr"/>
              <a:lstStyle/>
              <a:p>
                <a:endParaRPr lang="en-IN"/>
              </a:p>
            </p:txBody>
          </p:sp>
          <p:sp>
            <p:nvSpPr>
              <p:cNvPr id="343" name="Freeform: Shape 342">
                <a:extLst>
                  <a:ext uri="{FF2B5EF4-FFF2-40B4-BE49-F238E27FC236}">
                    <a16:creationId xmlns:a16="http://schemas.microsoft.com/office/drawing/2014/main" id="{BFC70B5D-F914-40F8-9636-FEBBA2D072AD}"/>
                  </a:ext>
                </a:extLst>
              </p:cNvPr>
              <p:cNvSpPr/>
              <p:nvPr/>
            </p:nvSpPr>
            <p:spPr>
              <a:xfrm>
                <a:off x="9258742" y="6669763"/>
                <a:ext cx="135642" cy="81395"/>
              </a:xfrm>
              <a:custGeom>
                <a:avLst/>
                <a:gdLst>
                  <a:gd name="connsiteX0" fmla="*/ 49816 w 47625"/>
                  <a:gd name="connsiteY0" fmla="*/ 0 h 28575"/>
                  <a:gd name="connsiteX1" fmla="*/ 0 w 47625"/>
                  <a:gd name="connsiteY1" fmla="*/ 23717 h 28575"/>
                  <a:gd name="connsiteX2" fmla="*/ 3143 w 47625"/>
                  <a:gd name="connsiteY2" fmla="*/ 30194 h 28575"/>
                  <a:gd name="connsiteX3" fmla="*/ 52578 w 47625"/>
                  <a:gd name="connsiteY3" fmla="*/ 5810 h 28575"/>
                  <a:gd name="connsiteX4" fmla="*/ 49816 w 47625"/>
                  <a:gd name="connsiteY4" fmla="*/ 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49816" y="0"/>
                    </a:moveTo>
                    <a:lnTo>
                      <a:pt x="0" y="23717"/>
                    </a:lnTo>
                    <a:cubicBezTo>
                      <a:pt x="1048" y="25908"/>
                      <a:pt x="2096" y="28099"/>
                      <a:pt x="3143" y="30194"/>
                    </a:cubicBezTo>
                    <a:lnTo>
                      <a:pt x="52578" y="5810"/>
                    </a:lnTo>
                    <a:cubicBezTo>
                      <a:pt x="51625" y="3905"/>
                      <a:pt x="50673" y="1905"/>
                      <a:pt x="49816" y="0"/>
                    </a:cubicBezTo>
                    <a:close/>
                  </a:path>
                </a:pathLst>
              </a:custGeom>
              <a:solidFill>
                <a:srgbClr val="C4C4CD"/>
              </a:solidFill>
              <a:ln w="9525" cap="flat">
                <a:noFill/>
                <a:prstDash val="solid"/>
                <a:miter/>
              </a:ln>
            </p:spPr>
            <p:txBody>
              <a:bodyPr rtlCol="0" anchor="ctr"/>
              <a:lstStyle/>
              <a:p>
                <a:endParaRPr lang="en-IN"/>
              </a:p>
            </p:txBody>
          </p:sp>
          <p:sp>
            <p:nvSpPr>
              <p:cNvPr id="344" name="Freeform: Shape 343">
                <a:extLst>
                  <a:ext uri="{FF2B5EF4-FFF2-40B4-BE49-F238E27FC236}">
                    <a16:creationId xmlns:a16="http://schemas.microsoft.com/office/drawing/2014/main" id="{790D41CB-21A2-4E27-B237-AF378D928F28}"/>
                  </a:ext>
                </a:extLst>
              </p:cNvPr>
              <p:cNvSpPr/>
              <p:nvPr/>
            </p:nvSpPr>
            <p:spPr>
              <a:xfrm>
                <a:off x="10361557" y="7748150"/>
                <a:ext cx="81395" cy="135642"/>
              </a:xfrm>
              <a:custGeom>
                <a:avLst/>
                <a:gdLst>
                  <a:gd name="connsiteX0" fmla="*/ 0 w 28575"/>
                  <a:gd name="connsiteY0" fmla="*/ 48577 h 47625"/>
                  <a:gd name="connsiteX1" fmla="*/ 6382 w 28575"/>
                  <a:gd name="connsiteY1" fmla="*/ 51911 h 47625"/>
                  <a:gd name="connsiteX2" fmla="*/ 31814 w 28575"/>
                  <a:gd name="connsiteY2" fmla="*/ 3048 h 47625"/>
                  <a:gd name="connsiteX3" fmla="*/ 25908 w 28575"/>
                  <a:gd name="connsiteY3" fmla="*/ 0 h 47625"/>
                  <a:gd name="connsiteX4" fmla="*/ 0 w 28575"/>
                  <a:gd name="connsiteY4" fmla="*/ 48577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48577"/>
                    </a:moveTo>
                    <a:cubicBezTo>
                      <a:pt x="2096" y="49721"/>
                      <a:pt x="4191" y="50863"/>
                      <a:pt x="6382" y="51911"/>
                    </a:cubicBezTo>
                    <a:lnTo>
                      <a:pt x="31814" y="3048"/>
                    </a:lnTo>
                    <a:lnTo>
                      <a:pt x="25908" y="0"/>
                    </a:lnTo>
                    <a:lnTo>
                      <a:pt x="0" y="48577"/>
                    </a:lnTo>
                    <a:close/>
                  </a:path>
                </a:pathLst>
              </a:custGeom>
              <a:solidFill>
                <a:srgbClr val="C4C4CD"/>
              </a:solidFill>
              <a:ln w="9525" cap="flat">
                <a:noFill/>
                <a:prstDash val="solid"/>
                <a:miter/>
              </a:ln>
            </p:spPr>
            <p:txBody>
              <a:bodyPr rtlCol="0" anchor="ctr"/>
              <a:lstStyle/>
              <a:p>
                <a:endParaRPr lang="en-IN"/>
              </a:p>
            </p:txBody>
          </p:sp>
          <p:sp>
            <p:nvSpPr>
              <p:cNvPr id="345" name="Freeform: Shape 344">
                <a:extLst>
                  <a:ext uri="{FF2B5EF4-FFF2-40B4-BE49-F238E27FC236}">
                    <a16:creationId xmlns:a16="http://schemas.microsoft.com/office/drawing/2014/main" id="{82D9F8A0-88AE-40BB-9B3E-664EACA83B8D}"/>
                  </a:ext>
                </a:extLst>
              </p:cNvPr>
              <p:cNvSpPr/>
              <p:nvPr/>
            </p:nvSpPr>
            <p:spPr>
              <a:xfrm>
                <a:off x="9718042" y="7291023"/>
                <a:ext cx="108526" cy="108526"/>
              </a:xfrm>
              <a:custGeom>
                <a:avLst/>
                <a:gdLst>
                  <a:gd name="connsiteX0" fmla="*/ 39910 w 38100"/>
                  <a:gd name="connsiteY0" fmla="*/ 0 h 38100"/>
                  <a:gd name="connsiteX1" fmla="*/ 0 w 38100"/>
                  <a:gd name="connsiteY1" fmla="*/ 38100 h 38100"/>
                  <a:gd name="connsiteX2" fmla="*/ 5048 w 38100"/>
                  <a:gd name="connsiteY2" fmla="*/ 43244 h 38100"/>
                  <a:gd name="connsiteX3" fmla="*/ 44482 w 38100"/>
                  <a:gd name="connsiteY3" fmla="*/ 4667 h 38100"/>
                  <a:gd name="connsiteX4" fmla="*/ 39910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910" y="0"/>
                    </a:moveTo>
                    <a:lnTo>
                      <a:pt x="0" y="38100"/>
                    </a:lnTo>
                    <a:cubicBezTo>
                      <a:pt x="1619" y="39815"/>
                      <a:pt x="3334" y="41529"/>
                      <a:pt x="5048" y="43244"/>
                    </a:cubicBezTo>
                    <a:lnTo>
                      <a:pt x="44482" y="4667"/>
                    </a:lnTo>
                    <a:cubicBezTo>
                      <a:pt x="42958" y="3143"/>
                      <a:pt x="41434" y="1619"/>
                      <a:pt x="39910" y="0"/>
                    </a:cubicBezTo>
                    <a:close/>
                  </a:path>
                </a:pathLst>
              </a:custGeom>
              <a:solidFill>
                <a:srgbClr val="C4C4CD"/>
              </a:solidFill>
              <a:ln w="9525"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424BB5FF-7E28-4C36-AC76-6B7D35C99540}"/>
                  </a:ext>
                </a:extLst>
              </p:cNvPr>
              <p:cNvSpPr/>
              <p:nvPr/>
            </p:nvSpPr>
            <p:spPr>
              <a:xfrm>
                <a:off x="9353437" y="6837147"/>
                <a:ext cx="135642" cy="81395"/>
              </a:xfrm>
              <a:custGeom>
                <a:avLst/>
                <a:gdLst>
                  <a:gd name="connsiteX0" fmla="*/ 47720 w 47625"/>
                  <a:gd name="connsiteY0" fmla="*/ 0 h 28575"/>
                  <a:gd name="connsiteX1" fmla="*/ 0 w 47625"/>
                  <a:gd name="connsiteY1" fmla="*/ 27718 h 28575"/>
                  <a:gd name="connsiteX2" fmla="*/ 3619 w 47625"/>
                  <a:gd name="connsiteY2" fmla="*/ 33814 h 28575"/>
                  <a:gd name="connsiteX3" fmla="*/ 51054 w 47625"/>
                  <a:gd name="connsiteY3" fmla="*/ 5715 h 28575"/>
                </a:gdLst>
                <a:ahLst/>
                <a:cxnLst>
                  <a:cxn ang="0">
                    <a:pos x="connsiteX0" y="connsiteY0"/>
                  </a:cxn>
                  <a:cxn ang="0">
                    <a:pos x="connsiteX1" y="connsiteY1"/>
                  </a:cxn>
                  <a:cxn ang="0">
                    <a:pos x="connsiteX2" y="connsiteY2"/>
                  </a:cxn>
                  <a:cxn ang="0">
                    <a:pos x="connsiteX3" y="connsiteY3"/>
                  </a:cxn>
                </a:cxnLst>
                <a:rect l="l" t="t" r="r" b="b"/>
                <a:pathLst>
                  <a:path w="47625" h="28575">
                    <a:moveTo>
                      <a:pt x="47720" y="0"/>
                    </a:moveTo>
                    <a:lnTo>
                      <a:pt x="0" y="27718"/>
                    </a:lnTo>
                    <a:lnTo>
                      <a:pt x="3619" y="33814"/>
                    </a:lnTo>
                    <a:lnTo>
                      <a:pt x="51054" y="5715"/>
                    </a:lnTo>
                    <a:close/>
                  </a:path>
                </a:pathLst>
              </a:custGeom>
              <a:solidFill>
                <a:srgbClr val="C4C4CD"/>
              </a:solidFill>
              <a:ln w="9525"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5978FA31-53D6-44A5-8558-D8AE111FCB10}"/>
                  </a:ext>
                </a:extLst>
              </p:cNvPr>
              <p:cNvSpPr/>
              <p:nvPr/>
            </p:nvSpPr>
            <p:spPr>
              <a:xfrm>
                <a:off x="9462214" y="6997217"/>
                <a:ext cx="135642" cy="81395"/>
              </a:xfrm>
              <a:custGeom>
                <a:avLst/>
                <a:gdLst>
                  <a:gd name="connsiteX0" fmla="*/ 45244 w 47625"/>
                  <a:gd name="connsiteY0" fmla="*/ 0 h 28575"/>
                  <a:gd name="connsiteX1" fmla="*/ 0 w 47625"/>
                  <a:gd name="connsiteY1" fmla="*/ 31433 h 28575"/>
                  <a:gd name="connsiteX2" fmla="*/ 4096 w 47625"/>
                  <a:gd name="connsiteY2" fmla="*/ 37243 h 28575"/>
                  <a:gd name="connsiteX3" fmla="*/ 49054 w 47625"/>
                  <a:gd name="connsiteY3" fmla="*/ 5429 h 28575"/>
                </a:gdLst>
                <a:ahLst/>
                <a:cxnLst>
                  <a:cxn ang="0">
                    <a:pos x="connsiteX0" y="connsiteY0"/>
                  </a:cxn>
                  <a:cxn ang="0">
                    <a:pos x="connsiteX1" y="connsiteY1"/>
                  </a:cxn>
                  <a:cxn ang="0">
                    <a:pos x="connsiteX2" y="connsiteY2"/>
                  </a:cxn>
                  <a:cxn ang="0">
                    <a:pos x="connsiteX3" y="connsiteY3"/>
                  </a:cxn>
                </a:cxnLst>
                <a:rect l="l" t="t" r="r" b="b"/>
                <a:pathLst>
                  <a:path w="47625" h="28575">
                    <a:moveTo>
                      <a:pt x="45244" y="0"/>
                    </a:moveTo>
                    <a:lnTo>
                      <a:pt x="0" y="31433"/>
                    </a:lnTo>
                    <a:lnTo>
                      <a:pt x="4096" y="37243"/>
                    </a:lnTo>
                    <a:lnTo>
                      <a:pt x="49054" y="5429"/>
                    </a:lnTo>
                    <a:close/>
                  </a:path>
                </a:pathLst>
              </a:custGeom>
              <a:solidFill>
                <a:srgbClr val="C4C4CD"/>
              </a:solidFill>
              <a:ln w="9525" cap="flat">
                <a:noFill/>
                <a:prstDash val="solid"/>
                <a:miter/>
              </a:ln>
            </p:spPr>
            <p:txBody>
              <a:bodyPr rtlCol="0" anchor="ctr"/>
              <a:lstStyle/>
              <a:p>
                <a:endParaRPr lang="en-IN"/>
              </a:p>
            </p:txBody>
          </p:sp>
          <p:sp>
            <p:nvSpPr>
              <p:cNvPr id="348" name="Freeform: Shape 347">
                <a:extLst>
                  <a:ext uri="{FF2B5EF4-FFF2-40B4-BE49-F238E27FC236}">
                    <a16:creationId xmlns:a16="http://schemas.microsoft.com/office/drawing/2014/main" id="{1F6F9106-9FCE-4BE3-830B-563FAF64D8C0}"/>
                  </a:ext>
                </a:extLst>
              </p:cNvPr>
              <p:cNvSpPr/>
              <p:nvPr/>
            </p:nvSpPr>
            <p:spPr>
              <a:xfrm>
                <a:off x="9584025" y="7148864"/>
                <a:ext cx="108526" cy="108526"/>
              </a:xfrm>
              <a:custGeom>
                <a:avLst/>
                <a:gdLst>
                  <a:gd name="connsiteX0" fmla="*/ 42672 w 38100"/>
                  <a:gd name="connsiteY0" fmla="*/ 0 h 38100"/>
                  <a:gd name="connsiteX1" fmla="*/ 0 w 38100"/>
                  <a:gd name="connsiteY1" fmla="*/ 34861 h 38100"/>
                  <a:gd name="connsiteX2" fmla="*/ 4477 w 38100"/>
                  <a:gd name="connsiteY2" fmla="*/ 40386 h 38100"/>
                  <a:gd name="connsiteX3" fmla="*/ 46863 w 38100"/>
                  <a:gd name="connsiteY3" fmla="*/ 5143 h 38100"/>
                </a:gdLst>
                <a:ahLst/>
                <a:cxnLst>
                  <a:cxn ang="0">
                    <a:pos x="connsiteX0" y="connsiteY0"/>
                  </a:cxn>
                  <a:cxn ang="0">
                    <a:pos x="connsiteX1" y="connsiteY1"/>
                  </a:cxn>
                  <a:cxn ang="0">
                    <a:pos x="connsiteX2" y="connsiteY2"/>
                  </a:cxn>
                  <a:cxn ang="0">
                    <a:pos x="connsiteX3" y="connsiteY3"/>
                  </a:cxn>
                </a:cxnLst>
                <a:rect l="l" t="t" r="r" b="b"/>
                <a:pathLst>
                  <a:path w="38100" h="38100">
                    <a:moveTo>
                      <a:pt x="42672" y="0"/>
                    </a:moveTo>
                    <a:lnTo>
                      <a:pt x="0" y="34861"/>
                    </a:lnTo>
                    <a:lnTo>
                      <a:pt x="4477" y="40386"/>
                    </a:lnTo>
                    <a:lnTo>
                      <a:pt x="46863" y="5143"/>
                    </a:lnTo>
                    <a:close/>
                  </a:path>
                </a:pathLst>
              </a:custGeom>
              <a:solidFill>
                <a:srgbClr val="C4C4CD"/>
              </a:solidFill>
              <a:ln w="9525" cap="flat">
                <a:noFill/>
                <a:prstDash val="solid"/>
                <a:miter/>
              </a:ln>
            </p:spPr>
            <p:txBody>
              <a:bodyPr rtlCol="0" anchor="ctr"/>
              <a:lstStyle/>
              <a:p>
                <a:endParaRPr lang="en-IN"/>
              </a:p>
            </p:txBody>
          </p:sp>
          <p:sp>
            <p:nvSpPr>
              <p:cNvPr id="349" name="Freeform: Shape 348">
                <a:extLst>
                  <a:ext uri="{FF2B5EF4-FFF2-40B4-BE49-F238E27FC236}">
                    <a16:creationId xmlns:a16="http://schemas.microsoft.com/office/drawing/2014/main" id="{0D44B473-13CA-4F36-AFBB-5BDCE4E2F75A}"/>
                  </a:ext>
                </a:extLst>
              </p:cNvPr>
              <p:cNvSpPr/>
              <p:nvPr/>
            </p:nvSpPr>
            <p:spPr>
              <a:xfrm>
                <a:off x="9063961" y="6131522"/>
                <a:ext cx="135642" cy="27132"/>
              </a:xfrm>
              <a:custGeom>
                <a:avLst/>
                <a:gdLst>
                  <a:gd name="connsiteX0" fmla="*/ 54007 w 47625"/>
                  <a:gd name="connsiteY0" fmla="*/ 0 h 9525"/>
                  <a:gd name="connsiteX1" fmla="*/ 0 w 47625"/>
                  <a:gd name="connsiteY1" fmla="*/ 11240 h 9525"/>
                  <a:gd name="connsiteX2" fmla="*/ 1524 w 47625"/>
                  <a:gd name="connsiteY2" fmla="*/ 18288 h 9525"/>
                  <a:gd name="connsiteX3" fmla="*/ 55340 w 47625"/>
                  <a:gd name="connsiteY3" fmla="*/ 6477 h 9525"/>
                  <a:gd name="connsiteX4" fmla="*/ 54007 w 47625"/>
                  <a:gd name="connsiteY4" fmla="*/ 0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4007" y="0"/>
                    </a:moveTo>
                    <a:lnTo>
                      <a:pt x="0" y="11240"/>
                    </a:lnTo>
                    <a:cubicBezTo>
                      <a:pt x="476" y="13621"/>
                      <a:pt x="952" y="15907"/>
                      <a:pt x="1524" y="18288"/>
                    </a:cubicBezTo>
                    <a:lnTo>
                      <a:pt x="55340" y="6477"/>
                    </a:lnTo>
                    <a:cubicBezTo>
                      <a:pt x="54959" y="4286"/>
                      <a:pt x="54483" y="2096"/>
                      <a:pt x="54007" y="0"/>
                    </a:cubicBezTo>
                    <a:close/>
                  </a:path>
                </a:pathLst>
              </a:custGeom>
              <a:solidFill>
                <a:srgbClr val="C4C4CD"/>
              </a:solidFill>
              <a:ln w="9525" cap="flat">
                <a:noFill/>
                <a:prstDash val="solid"/>
                <a:miter/>
              </a:ln>
            </p:spPr>
            <p:txBody>
              <a:bodyPr rtlCol="0" anchor="ctr"/>
              <a:lstStyle/>
              <a:p>
                <a:endParaRPr lang="en-IN"/>
              </a:p>
            </p:txBody>
          </p:sp>
          <p:sp>
            <p:nvSpPr>
              <p:cNvPr id="350" name="Freeform: Shape 349">
                <a:extLst>
                  <a:ext uri="{FF2B5EF4-FFF2-40B4-BE49-F238E27FC236}">
                    <a16:creationId xmlns:a16="http://schemas.microsoft.com/office/drawing/2014/main" id="{3E04713B-11B1-4DC7-8ED7-E296ABFD11A7}"/>
                  </a:ext>
                </a:extLst>
              </p:cNvPr>
              <p:cNvSpPr/>
              <p:nvPr/>
            </p:nvSpPr>
            <p:spPr>
              <a:xfrm>
                <a:off x="13333577" y="3953852"/>
                <a:ext cx="108526" cy="108526"/>
              </a:xfrm>
              <a:custGeom>
                <a:avLst/>
                <a:gdLst>
                  <a:gd name="connsiteX0" fmla="*/ 4382 w 38100"/>
                  <a:gd name="connsiteY0" fmla="*/ 41720 h 38100"/>
                  <a:gd name="connsiteX1" fmla="*/ 45911 w 38100"/>
                  <a:gd name="connsiteY1" fmla="*/ 5334 h 38100"/>
                  <a:gd name="connsiteX2" fmla="*/ 41148 w 38100"/>
                  <a:gd name="connsiteY2" fmla="*/ 0 h 38100"/>
                  <a:gd name="connsiteX3" fmla="*/ 0 w 38100"/>
                  <a:gd name="connsiteY3" fmla="*/ 36671 h 38100"/>
                </a:gdLst>
                <a:ahLst/>
                <a:cxnLst>
                  <a:cxn ang="0">
                    <a:pos x="connsiteX0" y="connsiteY0"/>
                  </a:cxn>
                  <a:cxn ang="0">
                    <a:pos x="connsiteX1" y="connsiteY1"/>
                  </a:cxn>
                  <a:cxn ang="0">
                    <a:pos x="connsiteX2" y="connsiteY2"/>
                  </a:cxn>
                  <a:cxn ang="0">
                    <a:pos x="connsiteX3" y="connsiteY3"/>
                  </a:cxn>
                </a:cxnLst>
                <a:rect l="l" t="t" r="r" b="b"/>
                <a:pathLst>
                  <a:path w="38100" h="38100">
                    <a:moveTo>
                      <a:pt x="4382" y="41720"/>
                    </a:moveTo>
                    <a:lnTo>
                      <a:pt x="45911" y="5334"/>
                    </a:lnTo>
                    <a:lnTo>
                      <a:pt x="41148" y="0"/>
                    </a:lnTo>
                    <a:lnTo>
                      <a:pt x="0" y="36671"/>
                    </a:lnTo>
                    <a:close/>
                  </a:path>
                </a:pathLst>
              </a:custGeom>
              <a:solidFill>
                <a:srgbClr val="C4C4CD"/>
              </a:solidFill>
              <a:ln w="9525" cap="flat">
                <a:noFill/>
                <a:prstDash val="solid"/>
                <a:miter/>
              </a:ln>
            </p:spPr>
            <p:txBody>
              <a:bodyPr rtlCol="0" anchor="ctr"/>
              <a:lstStyle/>
              <a:p>
                <a:endParaRPr lang="en-IN"/>
              </a:p>
            </p:txBody>
          </p:sp>
          <p:sp>
            <p:nvSpPr>
              <p:cNvPr id="351" name="Freeform: Shape 350">
                <a:extLst>
                  <a:ext uri="{FF2B5EF4-FFF2-40B4-BE49-F238E27FC236}">
                    <a16:creationId xmlns:a16="http://schemas.microsoft.com/office/drawing/2014/main" id="{BFA5B625-608F-4079-B10C-3F86BE905461}"/>
                  </a:ext>
                </a:extLst>
              </p:cNvPr>
              <p:cNvSpPr/>
              <p:nvPr/>
            </p:nvSpPr>
            <p:spPr>
              <a:xfrm>
                <a:off x="13658312" y="4450864"/>
                <a:ext cx="135642" cy="81395"/>
              </a:xfrm>
              <a:custGeom>
                <a:avLst/>
                <a:gdLst>
                  <a:gd name="connsiteX0" fmla="*/ 3048 w 47625"/>
                  <a:gd name="connsiteY0" fmla="*/ 31814 h 28575"/>
                  <a:gd name="connsiteX1" fmla="*/ 52007 w 47625"/>
                  <a:gd name="connsiteY1" fmla="*/ 6286 h 28575"/>
                  <a:gd name="connsiteX2" fmla="*/ 48673 w 47625"/>
                  <a:gd name="connsiteY2" fmla="*/ 0 h 28575"/>
                  <a:gd name="connsiteX3" fmla="*/ 0 w 47625"/>
                  <a:gd name="connsiteY3" fmla="*/ 26003 h 28575"/>
                </a:gdLst>
                <a:ahLst/>
                <a:cxnLst>
                  <a:cxn ang="0">
                    <a:pos x="connsiteX0" y="connsiteY0"/>
                  </a:cxn>
                  <a:cxn ang="0">
                    <a:pos x="connsiteX1" y="connsiteY1"/>
                  </a:cxn>
                  <a:cxn ang="0">
                    <a:pos x="connsiteX2" y="connsiteY2"/>
                  </a:cxn>
                  <a:cxn ang="0">
                    <a:pos x="connsiteX3" y="connsiteY3"/>
                  </a:cxn>
                </a:cxnLst>
                <a:rect l="l" t="t" r="r" b="b"/>
                <a:pathLst>
                  <a:path w="47625" h="28575">
                    <a:moveTo>
                      <a:pt x="3048" y="31814"/>
                    </a:moveTo>
                    <a:lnTo>
                      <a:pt x="52007" y="6286"/>
                    </a:lnTo>
                    <a:lnTo>
                      <a:pt x="48673" y="0"/>
                    </a:lnTo>
                    <a:lnTo>
                      <a:pt x="0" y="26003"/>
                    </a:lnTo>
                    <a:close/>
                  </a:path>
                </a:pathLst>
              </a:custGeom>
              <a:solidFill>
                <a:srgbClr val="C4C4CD"/>
              </a:solidFill>
              <a:ln w="9525" cap="flat">
                <a:noFill/>
                <a:prstDash val="solid"/>
                <a:miter/>
              </a:ln>
            </p:spPr>
            <p:txBody>
              <a:bodyPr rtlCol="0" anchor="ctr"/>
              <a:lstStyle/>
              <a:p>
                <a:endParaRPr lang="en-IN"/>
              </a:p>
            </p:txBody>
          </p:sp>
          <p:sp>
            <p:nvSpPr>
              <p:cNvPr id="352" name="Freeform: Shape 351">
                <a:extLst>
                  <a:ext uri="{FF2B5EF4-FFF2-40B4-BE49-F238E27FC236}">
                    <a16:creationId xmlns:a16="http://schemas.microsoft.com/office/drawing/2014/main" id="{02730746-817A-4EF0-BE5E-87CC7B0A63FE}"/>
                  </a:ext>
                </a:extLst>
              </p:cNvPr>
              <p:cNvSpPr/>
              <p:nvPr/>
            </p:nvSpPr>
            <p:spPr>
              <a:xfrm>
                <a:off x="13740785" y="4633173"/>
                <a:ext cx="135642" cy="54263"/>
              </a:xfrm>
              <a:custGeom>
                <a:avLst/>
                <a:gdLst>
                  <a:gd name="connsiteX0" fmla="*/ 2572 w 47625"/>
                  <a:gd name="connsiteY0" fmla="*/ 28003 h 19050"/>
                  <a:gd name="connsiteX1" fmla="*/ 53340 w 47625"/>
                  <a:gd name="connsiteY1" fmla="*/ 6572 h 19050"/>
                  <a:gd name="connsiteX2" fmla="*/ 50578 w 47625"/>
                  <a:gd name="connsiteY2" fmla="*/ 0 h 19050"/>
                  <a:gd name="connsiteX3" fmla="*/ 0 w 47625"/>
                  <a:gd name="connsiteY3" fmla="*/ 22003 h 19050"/>
                </a:gdLst>
                <a:ahLst/>
                <a:cxnLst>
                  <a:cxn ang="0">
                    <a:pos x="connsiteX0" y="connsiteY0"/>
                  </a:cxn>
                  <a:cxn ang="0">
                    <a:pos x="connsiteX1" y="connsiteY1"/>
                  </a:cxn>
                  <a:cxn ang="0">
                    <a:pos x="connsiteX2" y="connsiteY2"/>
                  </a:cxn>
                  <a:cxn ang="0">
                    <a:pos x="connsiteX3" y="connsiteY3"/>
                  </a:cxn>
                </a:cxnLst>
                <a:rect l="l" t="t" r="r" b="b"/>
                <a:pathLst>
                  <a:path w="47625" h="19050">
                    <a:moveTo>
                      <a:pt x="2572" y="28003"/>
                    </a:moveTo>
                    <a:lnTo>
                      <a:pt x="53340" y="6572"/>
                    </a:lnTo>
                    <a:lnTo>
                      <a:pt x="50578" y="0"/>
                    </a:lnTo>
                    <a:lnTo>
                      <a:pt x="0" y="22003"/>
                    </a:lnTo>
                    <a:close/>
                  </a:path>
                </a:pathLst>
              </a:custGeom>
              <a:solidFill>
                <a:srgbClr val="C4C4CD"/>
              </a:solidFill>
              <a:ln w="9525" cap="flat">
                <a:noFill/>
                <a:prstDash val="solid"/>
                <a:miter/>
              </a:ln>
            </p:spPr>
            <p:txBody>
              <a:bodyPr rtlCol="0" anchor="ctr"/>
              <a:lstStyle/>
              <a:p>
                <a:endParaRPr lang="en-IN"/>
              </a:p>
            </p:txBody>
          </p:sp>
          <p:sp>
            <p:nvSpPr>
              <p:cNvPr id="353" name="Freeform: Shape 352">
                <a:extLst>
                  <a:ext uri="{FF2B5EF4-FFF2-40B4-BE49-F238E27FC236}">
                    <a16:creationId xmlns:a16="http://schemas.microsoft.com/office/drawing/2014/main" id="{56FB5D2E-F87B-4FEF-93CB-F484B52FDADB}"/>
                  </a:ext>
                </a:extLst>
              </p:cNvPr>
              <p:cNvSpPr/>
              <p:nvPr/>
            </p:nvSpPr>
            <p:spPr>
              <a:xfrm>
                <a:off x="13454028" y="4110390"/>
                <a:ext cx="135642" cy="108526"/>
              </a:xfrm>
              <a:custGeom>
                <a:avLst/>
                <a:gdLst>
                  <a:gd name="connsiteX0" fmla="*/ 4000 w 47625"/>
                  <a:gd name="connsiteY0" fmla="*/ 38576 h 38100"/>
                  <a:gd name="connsiteX1" fmla="*/ 48292 w 47625"/>
                  <a:gd name="connsiteY1" fmla="*/ 5620 h 38100"/>
                  <a:gd name="connsiteX2" fmla="*/ 44005 w 47625"/>
                  <a:gd name="connsiteY2" fmla="*/ 0 h 38100"/>
                  <a:gd name="connsiteX3" fmla="*/ 0 w 47625"/>
                  <a:gd name="connsiteY3" fmla="*/ 33242 h 38100"/>
                </a:gdLst>
                <a:ahLst/>
                <a:cxnLst>
                  <a:cxn ang="0">
                    <a:pos x="connsiteX0" y="connsiteY0"/>
                  </a:cxn>
                  <a:cxn ang="0">
                    <a:pos x="connsiteX1" y="connsiteY1"/>
                  </a:cxn>
                  <a:cxn ang="0">
                    <a:pos x="connsiteX2" y="connsiteY2"/>
                  </a:cxn>
                  <a:cxn ang="0">
                    <a:pos x="connsiteX3" y="connsiteY3"/>
                  </a:cxn>
                </a:cxnLst>
                <a:rect l="l" t="t" r="r" b="b"/>
                <a:pathLst>
                  <a:path w="47625" h="38100">
                    <a:moveTo>
                      <a:pt x="4000" y="38576"/>
                    </a:moveTo>
                    <a:lnTo>
                      <a:pt x="48292" y="5620"/>
                    </a:lnTo>
                    <a:lnTo>
                      <a:pt x="44005" y="0"/>
                    </a:lnTo>
                    <a:lnTo>
                      <a:pt x="0" y="33242"/>
                    </a:lnTo>
                    <a:close/>
                  </a:path>
                </a:pathLst>
              </a:custGeom>
              <a:solidFill>
                <a:srgbClr val="C4C4CD"/>
              </a:solidFill>
              <a:ln w="9525" cap="flat">
                <a:noFill/>
                <a:prstDash val="solid"/>
                <a:miter/>
              </a:ln>
            </p:spPr>
            <p:txBody>
              <a:bodyPr rtlCol="0" anchor="ctr"/>
              <a:lstStyle/>
              <a:p>
                <a:endParaRPr lang="en-IN"/>
              </a:p>
            </p:txBody>
          </p:sp>
          <p:sp>
            <p:nvSpPr>
              <p:cNvPr id="354" name="Freeform: Shape 353">
                <a:extLst>
                  <a:ext uri="{FF2B5EF4-FFF2-40B4-BE49-F238E27FC236}">
                    <a16:creationId xmlns:a16="http://schemas.microsoft.com/office/drawing/2014/main" id="{46CB6B49-3BB0-44FA-8940-4C11C20BE855}"/>
                  </a:ext>
                </a:extLst>
              </p:cNvPr>
              <p:cNvSpPr/>
              <p:nvPr/>
            </p:nvSpPr>
            <p:spPr>
              <a:xfrm>
                <a:off x="13809161" y="4821719"/>
                <a:ext cx="135642" cy="54263"/>
              </a:xfrm>
              <a:custGeom>
                <a:avLst/>
                <a:gdLst>
                  <a:gd name="connsiteX0" fmla="*/ 2096 w 47625"/>
                  <a:gd name="connsiteY0" fmla="*/ 24098 h 19050"/>
                  <a:gd name="connsiteX1" fmla="*/ 54388 w 47625"/>
                  <a:gd name="connsiteY1" fmla="*/ 6763 h 19050"/>
                  <a:gd name="connsiteX2" fmla="*/ 52102 w 47625"/>
                  <a:gd name="connsiteY2" fmla="*/ 0 h 19050"/>
                  <a:gd name="connsiteX3" fmla="*/ 0 w 47625"/>
                  <a:gd name="connsiteY3" fmla="*/ 17812 h 19050"/>
                </a:gdLst>
                <a:ahLst/>
                <a:cxnLst>
                  <a:cxn ang="0">
                    <a:pos x="connsiteX0" y="connsiteY0"/>
                  </a:cxn>
                  <a:cxn ang="0">
                    <a:pos x="connsiteX1" y="connsiteY1"/>
                  </a:cxn>
                  <a:cxn ang="0">
                    <a:pos x="connsiteX2" y="connsiteY2"/>
                  </a:cxn>
                  <a:cxn ang="0">
                    <a:pos x="connsiteX3" y="connsiteY3"/>
                  </a:cxn>
                </a:cxnLst>
                <a:rect l="l" t="t" r="r" b="b"/>
                <a:pathLst>
                  <a:path w="47625" h="19050">
                    <a:moveTo>
                      <a:pt x="2096" y="24098"/>
                    </a:moveTo>
                    <a:lnTo>
                      <a:pt x="54388" y="6763"/>
                    </a:lnTo>
                    <a:lnTo>
                      <a:pt x="52102" y="0"/>
                    </a:lnTo>
                    <a:lnTo>
                      <a:pt x="0" y="17812"/>
                    </a:lnTo>
                    <a:close/>
                  </a:path>
                </a:pathLst>
              </a:custGeom>
              <a:solidFill>
                <a:srgbClr val="C4C4CD"/>
              </a:solidFill>
              <a:ln w="9525" cap="flat">
                <a:noFill/>
                <a:prstDash val="solid"/>
                <a:miter/>
              </a:ln>
            </p:spPr>
            <p:txBody>
              <a:bodyPr rtlCol="0" anchor="ctr"/>
              <a:lstStyle/>
              <a:p>
                <a:endParaRPr lang="en-IN"/>
              </a:p>
            </p:txBody>
          </p:sp>
          <p:sp>
            <p:nvSpPr>
              <p:cNvPr id="355" name="Freeform: Shape 354">
                <a:extLst>
                  <a:ext uri="{FF2B5EF4-FFF2-40B4-BE49-F238E27FC236}">
                    <a16:creationId xmlns:a16="http://schemas.microsoft.com/office/drawing/2014/main" id="{1A11A244-1E62-4A2A-9E62-D95F5DEC4526}"/>
                  </a:ext>
                </a:extLst>
              </p:cNvPr>
              <p:cNvSpPr/>
              <p:nvPr/>
            </p:nvSpPr>
            <p:spPr>
              <a:xfrm>
                <a:off x="13863143" y="5015970"/>
                <a:ext cx="135642" cy="54263"/>
              </a:xfrm>
              <a:custGeom>
                <a:avLst/>
                <a:gdLst>
                  <a:gd name="connsiteX0" fmla="*/ 1619 w 47625"/>
                  <a:gd name="connsiteY0" fmla="*/ 20003 h 19050"/>
                  <a:gd name="connsiteX1" fmla="*/ 55150 w 47625"/>
                  <a:gd name="connsiteY1" fmla="*/ 6953 h 19050"/>
                  <a:gd name="connsiteX2" fmla="*/ 53435 w 47625"/>
                  <a:gd name="connsiteY2" fmla="*/ 0 h 19050"/>
                  <a:gd name="connsiteX3" fmla="*/ 0 w 47625"/>
                  <a:gd name="connsiteY3" fmla="*/ 13621 h 19050"/>
                  <a:gd name="connsiteX4" fmla="*/ 1619 w 47625"/>
                  <a:gd name="connsiteY4" fmla="*/ 20003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1619" y="20003"/>
                    </a:moveTo>
                    <a:lnTo>
                      <a:pt x="55150" y="6953"/>
                    </a:lnTo>
                    <a:cubicBezTo>
                      <a:pt x="54578" y="4667"/>
                      <a:pt x="54007" y="2286"/>
                      <a:pt x="53435" y="0"/>
                    </a:cubicBezTo>
                    <a:lnTo>
                      <a:pt x="0" y="13621"/>
                    </a:lnTo>
                    <a:cubicBezTo>
                      <a:pt x="571" y="15716"/>
                      <a:pt x="1048" y="17812"/>
                      <a:pt x="1619" y="20003"/>
                    </a:cubicBezTo>
                    <a:close/>
                  </a:path>
                </a:pathLst>
              </a:custGeom>
              <a:solidFill>
                <a:srgbClr val="C4C4CD"/>
              </a:solidFill>
              <a:ln w="9525" cap="flat">
                <a:noFill/>
                <a:prstDash val="solid"/>
                <a:miter/>
              </a:ln>
            </p:spPr>
            <p:txBody>
              <a:bodyPr rtlCol="0" anchor="ctr"/>
              <a:lstStyle/>
              <a:p>
                <a:endParaRPr lang="en-IN"/>
              </a:p>
            </p:txBody>
          </p:sp>
          <p:sp>
            <p:nvSpPr>
              <p:cNvPr id="356" name="Freeform: Shape 355">
                <a:extLst>
                  <a:ext uri="{FF2B5EF4-FFF2-40B4-BE49-F238E27FC236}">
                    <a16:creationId xmlns:a16="http://schemas.microsoft.com/office/drawing/2014/main" id="{DF61B1DD-03D0-42DF-A294-5D7B7D05B11A}"/>
                  </a:ext>
                </a:extLst>
              </p:cNvPr>
              <p:cNvSpPr/>
              <p:nvPr/>
            </p:nvSpPr>
            <p:spPr>
              <a:xfrm>
                <a:off x="13936114" y="5616866"/>
                <a:ext cx="135642" cy="27132"/>
              </a:xfrm>
              <a:custGeom>
                <a:avLst/>
                <a:gdLst>
                  <a:gd name="connsiteX0" fmla="*/ 0 w 47625"/>
                  <a:gd name="connsiteY0" fmla="*/ 7144 h 0"/>
                  <a:gd name="connsiteX1" fmla="*/ 55150 w 47625"/>
                  <a:gd name="connsiteY1" fmla="*/ 7144 h 0"/>
                  <a:gd name="connsiteX2" fmla="*/ 55150 w 47625"/>
                  <a:gd name="connsiteY2" fmla="*/ 0 h 0"/>
                  <a:gd name="connsiteX3" fmla="*/ 0 w 47625"/>
                  <a:gd name="connsiteY3" fmla="*/ 572 h 0"/>
                  <a:gd name="connsiteX4" fmla="*/ 0 w 47625"/>
                  <a:gd name="connsiteY4" fmla="*/ 714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a:moveTo>
                      <a:pt x="0" y="7144"/>
                    </a:moveTo>
                    <a:lnTo>
                      <a:pt x="55150" y="7144"/>
                    </a:lnTo>
                    <a:cubicBezTo>
                      <a:pt x="55150" y="4763"/>
                      <a:pt x="55150" y="2381"/>
                      <a:pt x="55150" y="0"/>
                    </a:cubicBezTo>
                    <a:lnTo>
                      <a:pt x="0" y="572"/>
                    </a:lnTo>
                    <a:lnTo>
                      <a:pt x="0" y="7144"/>
                    </a:lnTo>
                    <a:close/>
                  </a:path>
                </a:pathLst>
              </a:custGeom>
              <a:solidFill>
                <a:srgbClr val="C4C4CD"/>
              </a:solidFill>
              <a:ln w="9525" cap="flat">
                <a:noFill/>
                <a:prstDash val="solid"/>
                <a:miter/>
              </a:ln>
            </p:spPr>
            <p:txBody>
              <a:bodyPr rtlCol="0" anchor="ctr"/>
              <a:lstStyle/>
              <a:p>
                <a:endParaRPr lang="en-IN"/>
              </a:p>
            </p:txBody>
          </p:sp>
          <p:sp>
            <p:nvSpPr>
              <p:cNvPr id="357" name="Freeform: Shape 356">
                <a:extLst>
                  <a:ext uri="{FF2B5EF4-FFF2-40B4-BE49-F238E27FC236}">
                    <a16:creationId xmlns:a16="http://schemas.microsoft.com/office/drawing/2014/main" id="{37490309-AD37-459F-A0EB-F7B5591FAECF}"/>
                  </a:ext>
                </a:extLst>
              </p:cNvPr>
              <p:cNvSpPr/>
              <p:nvPr/>
            </p:nvSpPr>
            <p:spPr>
              <a:xfrm>
                <a:off x="13926627" y="5414489"/>
                <a:ext cx="135642" cy="27132"/>
              </a:xfrm>
              <a:custGeom>
                <a:avLst/>
                <a:gdLst>
                  <a:gd name="connsiteX0" fmla="*/ 571 w 47625"/>
                  <a:gd name="connsiteY0" fmla="*/ 11525 h 9525"/>
                  <a:gd name="connsiteX1" fmla="*/ 55531 w 47625"/>
                  <a:gd name="connsiteY1" fmla="*/ 7144 h 9525"/>
                  <a:gd name="connsiteX2" fmla="*/ 54959 w 47625"/>
                  <a:gd name="connsiteY2" fmla="*/ 0 h 9525"/>
                  <a:gd name="connsiteX3" fmla="*/ 0 w 47625"/>
                  <a:gd name="connsiteY3" fmla="*/ 4953 h 9525"/>
                  <a:gd name="connsiteX4" fmla="*/ 571 w 47625"/>
                  <a:gd name="connsiteY4" fmla="*/ 11525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571" y="11525"/>
                    </a:moveTo>
                    <a:lnTo>
                      <a:pt x="55531" y="7144"/>
                    </a:lnTo>
                    <a:cubicBezTo>
                      <a:pt x="55340" y="4763"/>
                      <a:pt x="55150" y="2381"/>
                      <a:pt x="54959" y="0"/>
                    </a:cubicBezTo>
                    <a:lnTo>
                      <a:pt x="0" y="4953"/>
                    </a:lnTo>
                    <a:lnTo>
                      <a:pt x="571" y="11525"/>
                    </a:lnTo>
                    <a:close/>
                  </a:path>
                </a:pathLst>
              </a:custGeom>
              <a:solidFill>
                <a:srgbClr val="C4C4CD"/>
              </a:solidFill>
              <a:ln w="9525" cap="flat">
                <a:noFill/>
                <a:prstDash val="solid"/>
                <a:miter/>
              </a:ln>
            </p:spPr>
            <p:txBody>
              <a:bodyPr rtlCol="0" anchor="ctr"/>
              <a:lstStyle/>
              <a:p>
                <a:endParaRPr lang="en-IN"/>
              </a:p>
            </p:txBody>
          </p:sp>
          <p:sp>
            <p:nvSpPr>
              <p:cNvPr id="358" name="Freeform: Shape 357">
                <a:extLst>
                  <a:ext uri="{FF2B5EF4-FFF2-40B4-BE49-F238E27FC236}">
                    <a16:creationId xmlns:a16="http://schemas.microsoft.com/office/drawing/2014/main" id="{2AC4E1D0-56B7-4591-9460-E0CBC9C67258}"/>
                  </a:ext>
                </a:extLst>
              </p:cNvPr>
              <p:cNvSpPr/>
              <p:nvPr/>
            </p:nvSpPr>
            <p:spPr>
              <a:xfrm>
                <a:off x="13902481" y="5214002"/>
                <a:ext cx="135642" cy="27132"/>
              </a:xfrm>
              <a:custGeom>
                <a:avLst/>
                <a:gdLst>
                  <a:gd name="connsiteX0" fmla="*/ 1048 w 47625"/>
                  <a:gd name="connsiteY0" fmla="*/ 15812 h 9525"/>
                  <a:gd name="connsiteX1" fmla="*/ 55531 w 47625"/>
                  <a:gd name="connsiteY1" fmla="*/ 7048 h 9525"/>
                  <a:gd name="connsiteX2" fmla="*/ 54388 w 47625"/>
                  <a:gd name="connsiteY2" fmla="*/ 0 h 9525"/>
                  <a:gd name="connsiteX3" fmla="*/ 0 w 47625"/>
                  <a:gd name="connsiteY3" fmla="*/ 9335 h 9525"/>
                  <a:gd name="connsiteX4" fmla="*/ 1048 w 47625"/>
                  <a:gd name="connsiteY4" fmla="*/ 15812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1048" y="15812"/>
                    </a:moveTo>
                    <a:lnTo>
                      <a:pt x="55531" y="7048"/>
                    </a:lnTo>
                    <a:cubicBezTo>
                      <a:pt x="55150" y="4667"/>
                      <a:pt x="54769" y="2286"/>
                      <a:pt x="54388" y="0"/>
                    </a:cubicBezTo>
                    <a:lnTo>
                      <a:pt x="0" y="9335"/>
                    </a:lnTo>
                    <a:cubicBezTo>
                      <a:pt x="381" y="11430"/>
                      <a:pt x="762" y="13621"/>
                      <a:pt x="1048" y="15812"/>
                    </a:cubicBezTo>
                    <a:close/>
                  </a:path>
                </a:pathLst>
              </a:custGeom>
              <a:solidFill>
                <a:srgbClr val="C4C4CD"/>
              </a:solidFill>
              <a:ln w="9525" cap="flat">
                <a:noFill/>
                <a:prstDash val="solid"/>
                <a:miter/>
              </a:ln>
            </p:spPr>
            <p:txBody>
              <a:bodyPr rtlCol="0" anchor="ctr"/>
              <a:lstStyle/>
              <a:p>
                <a:endParaRPr lang="en-IN"/>
              </a:p>
            </p:txBody>
          </p:sp>
          <p:sp>
            <p:nvSpPr>
              <p:cNvPr id="359" name="Freeform: Shape 358">
                <a:extLst>
                  <a:ext uri="{FF2B5EF4-FFF2-40B4-BE49-F238E27FC236}">
                    <a16:creationId xmlns:a16="http://schemas.microsoft.com/office/drawing/2014/main" id="{F533FA88-A5A0-432A-928D-EA4D427DE924}"/>
                  </a:ext>
                </a:extLst>
              </p:cNvPr>
              <p:cNvSpPr/>
              <p:nvPr/>
            </p:nvSpPr>
            <p:spPr>
              <a:xfrm>
                <a:off x="10137737" y="3518965"/>
                <a:ext cx="81395" cy="135642"/>
              </a:xfrm>
              <a:custGeom>
                <a:avLst/>
                <a:gdLst>
                  <a:gd name="connsiteX0" fmla="*/ 36290 w 28575"/>
                  <a:gd name="connsiteY0" fmla="*/ 46006 h 47625"/>
                  <a:gd name="connsiteX1" fmla="*/ 5906 w 28575"/>
                  <a:gd name="connsiteY1" fmla="*/ 0 h 47625"/>
                  <a:gd name="connsiteX2" fmla="*/ 0 w 28575"/>
                  <a:gd name="connsiteY2" fmla="*/ 3905 h 47625"/>
                  <a:gd name="connsiteX3" fmla="*/ 30766 w 28575"/>
                  <a:gd name="connsiteY3" fmla="*/ 49625 h 47625"/>
                </a:gdLst>
                <a:ahLst/>
                <a:cxnLst>
                  <a:cxn ang="0">
                    <a:pos x="connsiteX0" y="connsiteY0"/>
                  </a:cxn>
                  <a:cxn ang="0">
                    <a:pos x="connsiteX1" y="connsiteY1"/>
                  </a:cxn>
                  <a:cxn ang="0">
                    <a:pos x="connsiteX2" y="connsiteY2"/>
                  </a:cxn>
                  <a:cxn ang="0">
                    <a:pos x="connsiteX3" y="connsiteY3"/>
                  </a:cxn>
                </a:cxnLst>
                <a:rect l="l" t="t" r="r" b="b"/>
                <a:pathLst>
                  <a:path w="28575" h="47625">
                    <a:moveTo>
                      <a:pt x="36290" y="46006"/>
                    </a:moveTo>
                    <a:lnTo>
                      <a:pt x="5906" y="0"/>
                    </a:lnTo>
                    <a:lnTo>
                      <a:pt x="0" y="3905"/>
                    </a:lnTo>
                    <a:lnTo>
                      <a:pt x="30766" y="49625"/>
                    </a:lnTo>
                    <a:close/>
                  </a:path>
                </a:pathLst>
              </a:custGeom>
              <a:solidFill>
                <a:srgbClr val="C4C4CD"/>
              </a:solidFill>
              <a:ln w="9525" cap="flat">
                <a:noFill/>
                <a:prstDash val="solid"/>
                <a:miter/>
              </a:ln>
            </p:spPr>
            <p:txBody>
              <a:bodyPr rtlCol="0" anchor="ctr"/>
              <a:lstStyle/>
              <a:p>
                <a:endParaRPr lang="en-IN"/>
              </a:p>
            </p:txBody>
          </p:sp>
          <p:sp>
            <p:nvSpPr>
              <p:cNvPr id="360" name="Freeform: Shape 359">
                <a:extLst>
                  <a:ext uri="{FF2B5EF4-FFF2-40B4-BE49-F238E27FC236}">
                    <a16:creationId xmlns:a16="http://schemas.microsoft.com/office/drawing/2014/main" id="{B65D566D-8631-4BE3-A385-DD4FD50EA484}"/>
                  </a:ext>
                </a:extLst>
              </p:cNvPr>
              <p:cNvSpPr/>
              <p:nvPr/>
            </p:nvSpPr>
            <p:spPr>
              <a:xfrm>
                <a:off x="9429393" y="4227309"/>
                <a:ext cx="135642" cy="81395"/>
              </a:xfrm>
              <a:custGeom>
                <a:avLst/>
                <a:gdLst>
                  <a:gd name="connsiteX0" fmla="*/ 49721 w 47625"/>
                  <a:gd name="connsiteY0" fmla="*/ 30671 h 28575"/>
                  <a:gd name="connsiteX1" fmla="*/ 3905 w 47625"/>
                  <a:gd name="connsiteY1" fmla="*/ 0 h 28575"/>
                  <a:gd name="connsiteX2" fmla="*/ 0 w 47625"/>
                  <a:gd name="connsiteY2" fmla="*/ 5905 h 28575"/>
                  <a:gd name="connsiteX3" fmla="*/ 46006 w 47625"/>
                  <a:gd name="connsiteY3" fmla="*/ 36290 h 28575"/>
                </a:gdLst>
                <a:ahLst/>
                <a:cxnLst>
                  <a:cxn ang="0">
                    <a:pos x="connsiteX0" y="connsiteY0"/>
                  </a:cxn>
                  <a:cxn ang="0">
                    <a:pos x="connsiteX1" y="connsiteY1"/>
                  </a:cxn>
                  <a:cxn ang="0">
                    <a:pos x="connsiteX2" y="connsiteY2"/>
                  </a:cxn>
                  <a:cxn ang="0">
                    <a:pos x="connsiteX3" y="connsiteY3"/>
                  </a:cxn>
                </a:cxnLst>
                <a:rect l="l" t="t" r="r" b="b"/>
                <a:pathLst>
                  <a:path w="47625" h="28575">
                    <a:moveTo>
                      <a:pt x="49721" y="30671"/>
                    </a:moveTo>
                    <a:lnTo>
                      <a:pt x="3905" y="0"/>
                    </a:lnTo>
                    <a:lnTo>
                      <a:pt x="0" y="5905"/>
                    </a:lnTo>
                    <a:lnTo>
                      <a:pt x="46006" y="36290"/>
                    </a:lnTo>
                    <a:close/>
                  </a:path>
                </a:pathLst>
              </a:custGeom>
              <a:solidFill>
                <a:srgbClr val="C4C4CD"/>
              </a:solidFill>
              <a:ln w="9525" cap="flat">
                <a:noFill/>
                <a:prstDash val="solid"/>
                <a:miter/>
              </a:ln>
            </p:spPr>
            <p:txBody>
              <a:bodyPr rtlCol="0" anchor="ctr"/>
              <a:lstStyle/>
              <a:p>
                <a:endParaRPr lang="en-IN"/>
              </a:p>
            </p:txBody>
          </p:sp>
          <p:sp>
            <p:nvSpPr>
              <p:cNvPr id="361" name="Freeform: Shape 360">
                <a:extLst>
                  <a:ext uri="{FF2B5EF4-FFF2-40B4-BE49-F238E27FC236}">
                    <a16:creationId xmlns:a16="http://schemas.microsoft.com/office/drawing/2014/main" id="{7086F2C8-A120-4387-868D-659F8E12F988}"/>
                  </a:ext>
                </a:extLst>
              </p:cNvPr>
              <p:cNvSpPr/>
              <p:nvPr/>
            </p:nvSpPr>
            <p:spPr>
              <a:xfrm>
                <a:off x="9547672" y="4063722"/>
                <a:ext cx="108526" cy="108526"/>
              </a:xfrm>
              <a:custGeom>
                <a:avLst/>
                <a:gdLst>
                  <a:gd name="connsiteX0" fmla="*/ 47530 w 38100"/>
                  <a:gd name="connsiteY0" fmla="*/ 34290 h 38100"/>
                  <a:gd name="connsiteX1" fmla="*/ 4381 w 38100"/>
                  <a:gd name="connsiteY1" fmla="*/ 0 h 38100"/>
                  <a:gd name="connsiteX2" fmla="*/ 0 w 38100"/>
                  <a:gd name="connsiteY2" fmla="*/ 5620 h 38100"/>
                  <a:gd name="connsiteX3" fmla="*/ 43434 w 38100"/>
                  <a:gd name="connsiteY3" fmla="*/ 39529 h 38100"/>
                </a:gdLst>
                <a:ahLst/>
                <a:cxnLst>
                  <a:cxn ang="0">
                    <a:pos x="connsiteX0" y="connsiteY0"/>
                  </a:cxn>
                  <a:cxn ang="0">
                    <a:pos x="connsiteX1" y="connsiteY1"/>
                  </a:cxn>
                  <a:cxn ang="0">
                    <a:pos x="connsiteX2" y="connsiteY2"/>
                  </a:cxn>
                  <a:cxn ang="0">
                    <a:pos x="connsiteX3" y="connsiteY3"/>
                  </a:cxn>
                </a:cxnLst>
                <a:rect l="l" t="t" r="r" b="b"/>
                <a:pathLst>
                  <a:path w="38100" h="38100">
                    <a:moveTo>
                      <a:pt x="47530" y="34290"/>
                    </a:moveTo>
                    <a:lnTo>
                      <a:pt x="4381" y="0"/>
                    </a:lnTo>
                    <a:lnTo>
                      <a:pt x="0" y="5620"/>
                    </a:lnTo>
                    <a:lnTo>
                      <a:pt x="43434" y="39529"/>
                    </a:lnTo>
                    <a:close/>
                  </a:path>
                </a:pathLst>
              </a:custGeom>
              <a:solidFill>
                <a:srgbClr val="C4C4CD"/>
              </a:solidFill>
              <a:ln w="9525" cap="flat">
                <a:noFill/>
                <a:prstDash val="solid"/>
                <a:miter/>
              </a:ln>
            </p:spPr>
            <p:txBody>
              <a:bodyPr rtlCol="0" anchor="ctr"/>
              <a:lstStyle/>
              <a:p>
                <a:endParaRPr lang="en-IN"/>
              </a:p>
            </p:txBody>
          </p:sp>
          <p:sp>
            <p:nvSpPr>
              <p:cNvPr id="362" name="Freeform: Shape 361">
                <a:extLst>
                  <a:ext uri="{FF2B5EF4-FFF2-40B4-BE49-F238E27FC236}">
                    <a16:creationId xmlns:a16="http://schemas.microsoft.com/office/drawing/2014/main" id="{18E1DBFF-DE98-43B2-9CCD-55AC638597E5}"/>
                  </a:ext>
                </a:extLst>
              </p:cNvPr>
              <p:cNvSpPr/>
              <p:nvPr/>
            </p:nvSpPr>
            <p:spPr>
              <a:xfrm>
                <a:off x="9324399" y="4399585"/>
                <a:ext cx="135642" cy="81395"/>
              </a:xfrm>
              <a:custGeom>
                <a:avLst/>
                <a:gdLst>
                  <a:gd name="connsiteX0" fmla="*/ 51530 w 47625"/>
                  <a:gd name="connsiteY0" fmla="*/ 27051 h 28575"/>
                  <a:gd name="connsiteX1" fmla="*/ 3524 w 47625"/>
                  <a:gd name="connsiteY1" fmla="*/ 0 h 28575"/>
                  <a:gd name="connsiteX2" fmla="*/ 0 w 47625"/>
                  <a:gd name="connsiteY2" fmla="*/ 6286 h 28575"/>
                  <a:gd name="connsiteX3" fmla="*/ 48292 w 47625"/>
                  <a:gd name="connsiteY3" fmla="*/ 32861 h 28575"/>
                  <a:gd name="connsiteX4" fmla="*/ 51530 w 47625"/>
                  <a:gd name="connsiteY4" fmla="*/ 2705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51530" y="27051"/>
                    </a:moveTo>
                    <a:lnTo>
                      <a:pt x="3524" y="0"/>
                    </a:lnTo>
                    <a:cubicBezTo>
                      <a:pt x="2381" y="2096"/>
                      <a:pt x="1143" y="4191"/>
                      <a:pt x="0" y="6286"/>
                    </a:cubicBezTo>
                    <a:lnTo>
                      <a:pt x="48292" y="32861"/>
                    </a:lnTo>
                    <a:cubicBezTo>
                      <a:pt x="49435" y="30956"/>
                      <a:pt x="50483" y="29051"/>
                      <a:pt x="51530" y="27051"/>
                    </a:cubicBezTo>
                    <a:close/>
                  </a:path>
                </a:pathLst>
              </a:custGeom>
              <a:solidFill>
                <a:srgbClr val="C4C4CD"/>
              </a:solidFill>
              <a:ln w="9525" cap="flat">
                <a:noFill/>
                <a:prstDash val="solid"/>
                <a:miter/>
              </a:ln>
            </p:spPr>
            <p:txBody>
              <a:bodyPr rtlCol="0" anchor="ctr"/>
              <a:lstStyle/>
              <a:p>
                <a:endParaRPr lang="en-IN"/>
              </a:p>
            </p:txBody>
          </p:sp>
          <p:sp>
            <p:nvSpPr>
              <p:cNvPr id="363" name="Freeform: Shape 362">
                <a:extLst>
                  <a:ext uri="{FF2B5EF4-FFF2-40B4-BE49-F238E27FC236}">
                    <a16:creationId xmlns:a16="http://schemas.microsoft.com/office/drawing/2014/main" id="{238796EF-B361-40BA-B847-43749446AEE1}"/>
                  </a:ext>
                </a:extLst>
              </p:cNvPr>
              <p:cNvSpPr/>
              <p:nvPr/>
            </p:nvSpPr>
            <p:spPr>
              <a:xfrm>
                <a:off x="9678438" y="3910185"/>
                <a:ext cx="108526" cy="108526"/>
              </a:xfrm>
              <a:custGeom>
                <a:avLst/>
                <a:gdLst>
                  <a:gd name="connsiteX0" fmla="*/ 45148 w 38100"/>
                  <a:gd name="connsiteY0" fmla="*/ 37624 h 38100"/>
                  <a:gd name="connsiteX1" fmla="*/ 4858 w 38100"/>
                  <a:gd name="connsiteY1" fmla="*/ 0 h 38100"/>
                  <a:gd name="connsiteX2" fmla="*/ 0 w 38100"/>
                  <a:gd name="connsiteY2" fmla="*/ 5239 h 38100"/>
                  <a:gd name="connsiteX3" fmla="*/ 40672 w 38100"/>
                  <a:gd name="connsiteY3" fmla="*/ 42481 h 38100"/>
                  <a:gd name="connsiteX4" fmla="*/ 45148 w 38100"/>
                  <a:gd name="connsiteY4" fmla="*/ 3762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5148" y="37624"/>
                    </a:moveTo>
                    <a:lnTo>
                      <a:pt x="4858" y="0"/>
                    </a:lnTo>
                    <a:cubicBezTo>
                      <a:pt x="3239" y="1714"/>
                      <a:pt x="1619" y="3524"/>
                      <a:pt x="0" y="5239"/>
                    </a:cubicBezTo>
                    <a:lnTo>
                      <a:pt x="40672" y="42481"/>
                    </a:lnTo>
                    <a:lnTo>
                      <a:pt x="45148" y="37624"/>
                    </a:lnTo>
                    <a:close/>
                  </a:path>
                </a:pathLst>
              </a:custGeom>
              <a:solidFill>
                <a:srgbClr val="C4C4CD"/>
              </a:solidFill>
              <a:ln w="9525" cap="flat">
                <a:noFill/>
                <a:prstDash val="solid"/>
                <a:miter/>
              </a:ln>
            </p:spPr>
            <p:txBody>
              <a:bodyPr rtlCol="0" anchor="ctr"/>
              <a:lstStyle/>
              <a:p>
                <a:endParaRPr lang="en-IN"/>
              </a:p>
            </p:txBody>
          </p:sp>
          <p:sp>
            <p:nvSpPr>
              <p:cNvPr id="364" name="Freeform: Shape 363">
                <a:extLst>
                  <a:ext uri="{FF2B5EF4-FFF2-40B4-BE49-F238E27FC236}">
                    <a16:creationId xmlns:a16="http://schemas.microsoft.com/office/drawing/2014/main" id="{FB09A901-4977-4887-8C88-83AFE1A85333}"/>
                  </a:ext>
                </a:extLst>
              </p:cNvPr>
              <p:cNvSpPr/>
              <p:nvPr/>
            </p:nvSpPr>
            <p:spPr>
              <a:xfrm>
                <a:off x="9820863" y="3767744"/>
                <a:ext cx="108526" cy="108526"/>
              </a:xfrm>
              <a:custGeom>
                <a:avLst/>
                <a:gdLst>
                  <a:gd name="connsiteX0" fmla="*/ 42481 w 38100"/>
                  <a:gd name="connsiteY0" fmla="*/ 40672 h 38100"/>
                  <a:gd name="connsiteX1" fmla="*/ 5239 w 38100"/>
                  <a:gd name="connsiteY1" fmla="*/ 0 h 38100"/>
                  <a:gd name="connsiteX2" fmla="*/ 0 w 38100"/>
                  <a:gd name="connsiteY2" fmla="*/ 4858 h 38100"/>
                  <a:gd name="connsiteX3" fmla="*/ 37624 w 38100"/>
                  <a:gd name="connsiteY3" fmla="*/ 45148 h 38100"/>
                  <a:gd name="connsiteX4" fmla="*/ 42481 w 38100"/>
                  <a:gd name="connsiteY4" fmla="*/ 4067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2481" y="40672"/>
                    </a:moveTo>
                    <a:lnTo>
                      <a:pt x="5239" y="0"/>
                    </a:lnTo>
                    <a:cubicBezTo>
                      <a:pt x="3429" y="1619"/>
                      <a:pt x="1715" y="3238"/>
                      <a:pt x="0" y="4858"/>
                    </a:cubicBezTo>
                    <a:lnTo>
                      <a:pt x="37624" y="45148"/>
                    </a:lnTo>
                    <a:lnTo>
                      <a:pt x="42481" y="40672"/>
                    </a:lnTo>
                    <a:close/>
                  </a:path>
                </a:pathLst>
              </a:custGeom>
              <a:solidFill>
                <a:srgbClr val="C4C4CD"/>
              </a:solidFill>
              <a:ln w="9525" cap="flat">
                <a:noFill/>
                <a:prstDash val="solid"/>
                <a:miter/>
              </a:ln>
            </p:spPr>
            <p:txBody>
              <a:bodyPr rtlCol="0" anchor="ctr"/>
              <a:lstStyle/>
              <a:p>
                <a:endParaRPr lang="en-IN"/>
              </a:p>
            </p:txBody>
          </p:sp>
          <p:sp>
            <p:nvSpPr>
              <p:cNvPr id="365" name="Freeform: Shape 364">
                <a:extLst>
                  <a:ext uri="{FF2B5EF4-FFF2-40B4-BE49-F238E27FC236}">
                    <a16:creationId xmlns:a16="http://schemas.microsoft.com/office/drawing/2014/main" id="{3A6C9318-3747-486C-B73B-FBB8FAC3C6BF}"/>
                  </a:ext>
                </a:extLst>
              </p:cNvPr>
              <p:cNvSpPr/>
              <p:nvPr/>
            </p:nvSpPr>
            <p:spPr>
              <a:xfrm>
                <a:off x="13201998" y="3807895"/>
                <a:ext cx="108526" cy="108526"/>
              </a:xfrm>
              <a:custGeom>
                <a:avLst/>
                <a:gdLst>
                  <a:gd name="connsiteX0" fmla="*/ 4667 w 38100"/>
                  <a:gd name="connsiteY0" fmla="*/ 44482 h 38100"/>
                  <a:gd name="connsiteX1" fmla="*/ 43243 w 38100"/>
                  <a:gd name="connsiteY1" fmla="*/ 5048 h 38100"/>
                  <a:gd name="connsiteX2" fmla="*/ 38100 w 38100"/>
                  <a:gd name="connsiteY2" fmla="*/ 0 h 38100"/>
                  <a:gd name="connsiteX3" fmla="*/ 0 w 38100"/>
                  <a:gd name="connsiteY3" fmla="*/ 39815 h 38100"/>
                  <a:gd name="connsiteX4" fmla="*/ 4667 w 38100"/>
                  <a:gd name="connsiteY4" fmla="*/ 44482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4667" y="44482"/>
                    </a:moveTo>
                    <a:lnTo>
                      <a:pt x="43243" y="5048"/>
                    </a:lnTo>
                    <a:cubicBezTo>
                      <a:pt x="41529" y="3334"/>
                      <a:pt x="39814" y="1715"/>
                      <a:pt x="38100" y="0"/>
                    </a:cubicBezTo>
                    <a:lnTo>
                      <a:pt x="0" y="39815"/>
                    </a:lnTo>
                    <a:cubicBezTo>
                      <a:pt x="1524" y="41339"/>
                      <a:pt x="3143" y="42863"/>
                      <a:pt x="4667" y="44482"/>
                    </a:cubicBezTo>
                    <a:close/>
                  </a:path>
                </a:pathLst>
              </a:custGeom>
              <a:solidFill>
                <a:srgbClr val="C4C4CD"/>
              </a:solidFill>
              <a:ln w="9525" cap="flat">
                <a:noFill/>
                <a:prstDash val="solid"/>
                <a:miter/>
              </a:ln>
            </p:spPr>
            <p:txBody>
              <a:bodyPr rtlCol="0" anchor="ctr"/>
              <a:lstStyle/>
              <a:p>
                <a:endParaRPr lang="en-IN"/>
              </a:p>
            </p:txBody>
          </p:sp>
          <p:sp>
            <p:nvSpPr>
              <p:cNvPr id="366" name="Freeform: Shape 365">
                <a:extLst>
                  <a:ext uri="{FF2B5EF4-FFF2-40B4-BE49-F238E27FC236}">
                    <a16:creationId xmlns:a16="http://schemas.microsoft.com/office/drawing/2014/main" id="{E353010F-CBF5-4052-A595-9A33F45E6A56}"/>
                  </a:ext>
                </a:extLst>
              </p:cNvPr>
              <p:cNvSpPr/>
              <p:nvPr/>
            </p:nvSpPr>
            <p:spPr>
              <a:xfrm>
                <a:off x="10309732" y="3414252"/>
                <a:ext cx="81395" cy="135642"/>
              </a:xfrm>
              <a:custGeom>
                <a:avLst/>
                <a:gdLst>
                  <a:gd name="connsiteX0" fmla="*/ 32861 w 28575"/>
                  <a:gd name="connsiteY0" fmla="*/ 48292 h 47625"/>
                  <a:gd name="connsiteX1" fmla="*/ 6286 w 28575"/>
                  <a:gd name="connsiteY1" fmla="*/ 0 h 47625"/>
                  <a:gd name="connsiteX2" fmla="*/ 0 w 28575"/>
                  <a:gd name="connsiteY2" fmla="*/ 3429 h 47625"/>
                  <a:gd name="connsiteX3" fmla="*/ 27051 w 28575"/>
                  <a:gd name="connsiteY3" fmla="*/ 51435 h 47625"/>
                  <a:gd name="connsiteX4" fmla="*/ 32861 w 28575"/>
                  <a:gd name="connsiteY4" fmla="*/ 4829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32861" y="48292"/>
                    </a:moveTo>
                    <a:lnTo>
                      <a:pt x="6286" y="0"/>
                    </a:lnTo>
                    <a:cubicBezTo>
                      <a:pt x="4191" y="1143"/>
                      <a:pt x="2095" y="2286"/>
                      <a:pt x="0" y="3429"/>
                    </a:cubicBezTo>
                    <a:lnTo>
                      <a:pt x="27051" y="51435"/>
                    </a:lnTo>
                    <a:lnTo>
                      <a:pt x="32861" y="48292"/>
                    </a:lnTo>
                    <a:close/>
                  </a:path>
                </a:pathLst>
              </a:custGeom>
              <a:solidFill>
                <a:srgbClr val="C4C4CD"/>
              </a:solidFill>
              <a:ln w="9525" cap="flat">
                <a:noFill/>
                <a:prstDash val="solid"/>
                <a:miter/>
              </a:ln>
            </p:spPr>
            <p:txBody>
              <a:bodyPr rtlCol="0" anchor="ctr"/>
              <a:lstStyle/>
              <a:p>
                <a:endParaRPr lang="en-IN"/>
              </a:p>
            </p:txBody>
          </p:sp>
          <p:sp>
            <p:nvSpPr>
              <p:cNvPr id="367" name="Freeform: Shape 366">
                <a:extLst>
                  <a:ext uri="{FF2B5EF4-FFF2-40B4-BE49-F238E27FC236}">
                    <a16:creationId xmlns:a16="http://schemas.microsoft.com/office/drawing/2014/main" id="{EEE77AD3-8B43-4E29-BE76-79345EB63415}"/>
                  </a:ext>
                </a:extLst>
              </p:cNvPr>
              <p:cNvSpPr/>
              <p:nvPr/>
            </p:nvSpPr>
            <p:spPr>
              <a:xfrm>
                <a:off x="9233783" y="4580270"/>
                <a:ext cx="135642" cy="81395"/>
              </a:xfrm>
              <a:custGeom>
                <a:avLst/>
                <a:gdLst>
                  <a:gd name="connsiteX0" fmla="*/ 53054 w 47625"/>
                  <a:gd name="connsiteY0" fmla="*/ 23050 h 28575"/>
                  <a:gd name="connsiteX1" fmla="*/ 2953 w 47625"/>
                  <a:gd name="connsiteY1" fmla="*/ 0 h 28575"/>
                  <a:gd name="connsiteX2" fmla="*/ 0 w 47625"/>
                  <a:gd name="connsiteY2" fmla="*/ 6477 h 28575"/>
                  <a:gd name="connsiteX3" fmla="*/ 50292 w 47625"/>
                  <a:gd name="connsiteY3" fmla="*/ 29146 h 28575"/>
                </a:gdLst>
                <a:ahLst/>
                <a:cxnLst>
                  <a:cxn ang="0">
                    <a:pos x="connsiteX0" y="connsiteY0"/>
                  </a:cxn>
                  <a:cxn ang="0">
                    <a:pos x="connsiteX1" y="connsiteY1"/>
                  </a:cxn>
                  <a:cxn ang="0">
                    <a:pos x="connsiteX2" y="connsiteY2"/>
                  </a:cxn>
                  <a:cxn ang="0">
                    <a:pos x="connsiteX3" y="connsiteY3"/>
                  </a:cxn>
                </a:cxnLst>
                <a:rect l="l" t="t" r="r" b="b"/>
                <a:pathLst>
                  <a:path w="47625" h="28575">
                    <a:moveTo>
                      <a:pt x="53054" y="23050"/>
                    </a:moveTo>
                    <a:lnTo>
                      <a:pt x="2953" y="0"/>
                    </a:lnTo>
                    <a:lnTo>
                      <a:pt x="0" y="6477"/>
                    </a:lnTo>
                    <a:lnTo>
                      <a:pt x="50292" y="29146"/>
                    </a:lnTo>
                    <a:close/>
                  </a:path>
                </a:pathLst>
              </a:custGeom>
              <a:solidFill>
                <a:srgbClr val="C4C4CD"/>
              </a:solidFill>
              <a:ln w="9525" cap="flat">
                <a:noFill/>
                <a:prstDash val="solid"/>
                <a:miter/>
              </a:ln>
            </p:spPr>
            <p:txBody>
              <a:bodyPr rtlCol="0" anchor="ctr"/>
              <a:lstStyle/>
              <a:p>
                <a:endParaRPr lang="en-IN"/>
              </a:p>
            </p:txBody>
          </p:sp>
          <p:sp>
            <p:nvSpPr>
              <p:cNvPr id="368" name="Freeform: Shape 367">
                <a:extLst>
                  <a:ext uri="{FF2B5EF4-FFF2-40B4-BE49-F238E27FC236}">
                    <a16:creationId xmlns:a16="http://schemas.microsoft.com/office/drawing/2014/main" id="{D7E1E232-682D-4495-9AD4-F35953D66451}"/>
                  </a:ext>
                </a:extLst>
              </p:cNvPr>
              <p:cNvSpPr/>
              <p:nvPr/>
            </p:nvSpPr>
            <p:spPr>
              <a:xfrm>
                <a:off x="9974151" y="3636712"/>
                <a:ext cx="108526" cy="108526"/>
              </a:xfrm>
              <a:custGeom>
                <a:avLst/>
                <a:gdLst>
                  <a:gd name="connsiteX0" fmla="*/ 39529 w 38100"/>
                  <a:gd name="connsiteY0" fmla="*/ 43529 h 38100"/>
                  <a:gd name="connsiteX1" fmla="*/ 5620 w 38100"/>
                  <a:gd name="connsiteY1" fmla="*/ 0 h 38100"/>
                  <a:gd name="connsiteX2" fmla="*/ 0 w 38100"/>
                  <a:gd name="connsiteY2" fmla="*/ 4381 h 38100"/>
                  <a:gd name="connsiteX3" fmla="*/ 34290 w 38100"/>
                  <a:gd name="connsiteY3" fmla="*/ 47530 h 38100"/>
                  <a:gd name="connsiteX4" fmla="*/ 39529 w 38100"/>
                  <a:gd name="connsiteY4" fmla="*/ 43529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9529" y="43529"/>
                    </a:moveTo>
                    <a:lnTo>
                      <a:pt x="5620" y="0"/>
                    </a:lnTo>
                    <a:cubicBezTo>
                      <a:pt x="3715" y="1429"/>
                      <a:pt x="1905" y="2953"/>
                      <a:pt x="0" y="4381"/>
                    </a:cubicBezTo>
                    <a:lnTo>
                      <a:pt x="34290" y="47530"/>
                    </a:lnTo>
                    <a:lnTo>
                      <a:pt x="39529" y="43529"/>
                    </a:lnTo>
                    <a:close/>
                  </a:path>
                </a:pathLst>
              </a:custGeom>
              <a:solidFill>
                <a:srgbClr val="C4C4CD"/>
              </a:solidFill>
              <a:ln w="9525" cap="flat">
                <a:noFill/>
                <a:prstDash val="solid"/>
                <a:miter/>
              </a:ln>
            </p:spPr>
            <p:txBody>
              <a:bodyPr rtlCol="0" anchor="ctr"/>
              <a:lstStyle/>
              <a:p>
                <a:endParaRPr lang="en-IN"/>
              </a:p>
            </p:txBody>
          </p:sp>
          <p:sp>
            <p:nvSpPr>
              <p:cNvPr id="369" name="Freeform: Shape 368">
                <a:extLst>
                  <a:ext uri="{FF2B5EF4-FFF2-40B4-BE49-F238E27FC236}">
                    <a16:creationId xmlns:a16="http://schemas.microsoft.com/office/drawing/2014/main" id="{27003917-A3D0-4AF3-96A8-2DF63EB36095}"/>
                  </a:ext>
                </a:extLst>
              </p:cNvPr>
              <p:cNvSpPr/>
              <p:nvPr/>
            </p:nvSpPr>
            <p:spPr>
              <a:xfrm>
                <a:off x="13562554" y="4276415"/>
                <a:ext cx="135642" cy="81395"/>
              </a:xfrm>
              <a:custGeom>
                <a:avLst/>
                <a:gdLst>
                  <a:gd name="connsiteX0" fmla="*/ 3620 w 47625"/>
                  <a:gd name="connsiteY0" fmla="*/ 35338 h 28575"/>
                  <a:gd name="connsiteX1" fmla="*/ 50197 w 47625"/>
                  <a:gd name="connsiteY1" fmla="*/ 5905 h 28575"/>
                  <a:gd name="connsiteX2" fmla="*/ 46482 w 47625"/>
                  <a:gd name="connsiteY2" fmla="*/ 0 h 28575"/>
                  <a:gd name="connsiteX3" fmla="*/ 0 w 47625"/>
                  <a:gd name="connsiteY3" fmla="*/ 29718 h 28575"/>
                </a:gdLst>
                <a:ahLst/>
                <a:cxnLst>
                  <a:cxn ang="0">
                    <a:pos x="connsiteX0" y="connsiteY0"/>
                  </a:cxn>
                  <a:cxn ang="0">
                    <a:pos x="connsiteX1" y="connsiteY1"/>
                  </a:cxn>
                  <a:cxn ang="0">
                    <a:pos x="connsiteX2" y="connsiteY2"/>
                  </a:cxn>
                  <a:cxn ang="0">
                    <a:pos x="connsiteX3" y="connsiteY3"/>
                  </a:cxn>
                </a:cxnLst>
                <a:rect l="l" t="t" r="r" b="b"/>
                <a:pathLst>
                  <a:path w="47625" h="28575">
                    <a:moveTo>
                      <a:pt x="3620" y="35338"/>
                    </a:moveTo>
                    <a:lnTo>
                      <a:pt x="50197" y="5905"/>
                    </a:lnTo>
                    <a:lnTo>
                      <a:pt x="46482" y="0"/>
                    </a:lnTo>
                    <a:lnTo>
                      <a:pt x="0" y="29718"/>
                    </a:lnTo>
                    <a:close/>
                  </a:path>
                </a:pathLst>
              </a:custGeom>
              <a:solidFill>
                <a:srgbClr val="C4C4CD"/>
              </a:solidFill>
              <a:ln w="9525" cap="flat">
                <a:noFill/>
                <a:prstDash val="solid"/>
                <a:miter/>
              </a:ln>
            </p:spPr>
            <p:txBody>
              <a:bodyPr rtlCol="0" anchor="ctr"/>
              <a:lstStyle/>
              <a:p>
                <a:endParaRPr lang="en-IN"/>
              </a:p>
            </p:txBody>
          </p:sp>
          <p:sp>
            <p:nvSpPr>
              <p:cNvPr id="370" name="Freeform: Shape 369">
                <a:extLst>
                  <a:ext uri="{FF2B5EF4-FFF2-40B4-BE49-F238E27FC236}">
                    <a16:creationId xmlns:a16="http://schemas.microsoft.com/office/drawing/2014/main" id="{EEE58F5C-1698-4319-A706-9292E4750E4E}"/>
                  </a:ext>
                </a:extLst>
              </p:cNvPr>
              <p:cNvSpPr/>
              <p:nvPr/>
            </p:nvSpPr>
            <p:spPr>
              <a:xfrm>
                <a:off x="13059573" y="3673612"/>
                <a:ext cx="108526" cy="108526"/>
              </a:xfrm>
              <a:custGeom>
                <a:avLst/>
                <a:gdLst>
                  <a:gd name="connsiteX0" fmla="*/ 34861 w 38100"/>
                  <a:gd name="connsiteY0" fmla="*/ 0 h 38100"/>
                  <a:gd name="connsiteX1" fmla="*/ 0 w 38100"/>
                  <a:gd name="connsiteY1" fmla="*/ 42672 h 38100"/>
                  <a:gd name="connsiteX2" fmla="*/ 5048 w 38100"/>
                  <a:gd name="connsiteY2" fmla="*/ 46863 h 38100"/>
                  <a:gd name="connsiteX3" fmla="*/ 40386 w 38100"/>
                  <a:gd name="connsiteY3" fmla="*/ 4572 h 38100"/>
                  <a:gd name="connsiteX4" fmla="*/ 34861 w 38100"/>
                  <a:gd name="connsiteY4" fmla="*/ 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4861" y="0"/>
                    </a:moveTo>
                    <a:lnTo>
                      <a:pt x="0" y="42672"/>
                    </a:lnTo>
                    <a:cubicBezTo>
                      <a:pt x="1714" y="44101"/>
                      <a:pt x="3429" y="45434"/>
                      <a:pt x="5048" y="46863"/>
                    </a:cubicBezTo>
                    <a:lnTo>
                      <a:pt x="40386" y="4572"/>
                    </a:lnTo>
                    <a:cubicBezTo>
                      <a:pt x="38576" y="3048"/>
                      <a:pt x="36767" y="1524"/>
                      <a:pt x="34861" y="0"/>
                    </a:cubicBezTo>
                    <a:close/>
                  </a:path>
                </a:pathLst>
              </a:custGeom>
              <a:solidFill>
                <a:srgbClr val="C4C4CD"/>
              </a:solidFill>
              <a:ln w="9525" cap="flat">
                <a:noFill/>
                <a:prstDash val="solid"/>
                <a:miter/>
              </a:ln>
            </p:spPr>
            <p:txBody>
              <a:bodyPr rtlCol="0" anchor="ctr"/>
              <a:lstStyle/>
              <a:p>
                <a:endParaRPr lang="en-IN"/>
              </a:p>
            </p:txBody>
          </p:sp>
          <p:sp>
            <p:nvSpPr>
              <p:cNvPr id="371" name="Freeform: Shape 370">
                <a:extLst>
                  <a:ext uri="{FF2B5EF4-FFF2-40B4-BE49-F238E27FC236}">
                    <a16:creationId xmlns:a16="http://schemas.microsoft.com/office/drawing/2014/main" id="{43486E3B-2817-4BF2-9639-4639E392D43D}"/>
                  </a:ext>
                </a:extLst>
              </p:cNvPr>
              <p:cNvSpPr/>
              <p:nvPr/>
            </p:nvSpPr>
            <p:spPr>
              <a:xfrm>
                <a:off x="12928259" y="7576421"/>
                <a:ext cx="81395" cy="135642"/>
              </a:xfrm>
              <a:custGeom>
                <a:avLst/>
                <a:gdLst>
                  <a:gd name="connsiteX0" fmla="*/ 0 w 28575"/>
                  <a:gd name="connsiteY0" fmla="*/ 3810 h 47625"/>
                  <a:gd name="connsiteX1" fmla="*/ 31814 w 28575"/>
                  <a:gd name="connsiteY1" fmla="*/ 48863 h 47625"/>
                  <a:gd name="connsiteX2" fmla="*/ 37624 w 28575"/>
                  <a:gd name="connsiteY2" fmla="*/ 44672 h 47625"/>
                  <a:gd name="connsiteX3" fmla="*/ 5239 w 28575"/>
                  <a:gd name="connsiteY3" fmla="*/ 0 h 47625"/>
                  <a:gd name="connsiteX4" fmla="*/ 0 w 28575"/>
                  <a:gd name="connsiteY4" fmla="*/ 381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810"/>
                    </a:moveTo>
                    <a:lnTo>
                      <a:pt x="31814" y="48863"/>
                    </a:lnTo>
                    <a:cubicBezTo>
                      <a:pt x="33814" y="47434"/>
                      <a:pt x="35719" y="46101"/>
                      <a:pt x="37624" y="44672"/>
                    </a:cubicBezTo>
                    <a:lnTo>
                      <a:pt x="5239" y="0"/>
                    </a:lnTo>
                    <a:cubicBezTo>
                      <a:pt x="3524" y="1238"/>
                      <a:pt x="1810" y="2572"/>
                      <a:pt x="0" y="3810"/>
                    </a:cubicBezTo>
                    <a:close/>
                  </a:path>
                </a:pathLst>
              </a:custGeom>
              <a:solidFill>
                <a:srgbClr val="C4C4CD"/>
              </a:solidFill>
              <a:ln w="9525" cap="flat">
                <a:noFill/>
                <a:prstDash val="solid"/>
                <a:miter/>
              </a:ln>
            </p:spPr>
            <p:txBody>
              <a:bodyPr rtlCol="0" anchor="ctr"/>
              <a:lstStyle/>
              <a:p>
                <a:endParaRPr lang="en-IN"/>
              </a:p>
            </p:txBody>
          </p:sp>
          <p:sp>
            <p:nvSpPr>
              <p:cNvPr id="372" name="Freeform: Shape 371">
                <a:extLst>
                  <a:ext uri="{FF2B5EF4-FFF2-40B4-BE49-F238E27FC236}">
                    <a16:creationId xmlns:a16="http://schemas.microsoft.com/office/drawing/2014/main" id="{4C1509B3-4006-4231-A5C3-C3FB66AAE526}"/>
                  </a:ext>
                </a:extLst>
              </p:cNvPr>
              <p:cNvSpPr/>
              <p:nvPr/>
            </p:nvSpPr>
            <p:spPr>
              <a:xfrm>
                <a:off x="12907911" y="3551801"/>
                <a:ext cx="81395" cy="135642"/>
              </a:xfrm>
              <a:custGeom>
                <a:avLst/>
                <a:gdLst>
                  <a:gd name="connsiteX0" fmla="*/ 31433 w 28575"/>
                  <a:gd name="connsiteY0" fmla="*/ 0 h 47625"/>
                  <a:gd name="connsiteX1" fmla="*/ 0 w 28575"/>
                  <a:gd name="connsiteY1" fmla="*/ 45339 h 47625"/>
                  <a:gd name="connsiteX2" fmla="*/ 5429 w 28575"/>
                  <a:gd name="connsiteY2" fmla="*/ 49149 h 47625"/>
                  <a:gd name="connsiteX3" fmla="*/ 37243 w 28575"/>
                  <a:gd name="connsiteY3" fmla="*/ 4096 h 47625"/>
                </a:gdLst>
                <a:ahLst/>
                <a:cxnLst>
                  <a:cxn ang="0">
                    <a:pos x="connsiteX0" y="connsiteY0"/>
                  </a:cxn>
                  <a:cxn ang="0">
                    <a:pos x="connsiteX1" y="connsiteY1"/>
                  </a:cxn>
                  <a:cxn ang="0">
                    <a:pos x="connsiteX2" y="connsiteY2"/>
                  </a:cxn>
                  <a:cxn ang="0">
                    <a:pos x="connsiteX3" y="connsiteY3"/>
                  </a:cxn>
                </a:cxnLst>
                <a:rect l="l" t="t" r="r" b="b"/>
                <a:pathLst>
                  <a:path w="28575" h="47625">
                    <a:moveTo>
                      <a:pt x="31433" y="0"/>
                    </a:moveTo>
                    <a:lnTo>
                      <a:pt x="0" y="45339"/>
                    </a:lnTo>
                    <a:lnTo>
                      <a:pt x="5429" y="49149"/>
                    </a:lnTo>
                    <a:lnTo>
                      <a:pt x="37243" y="4096"/>
                    </a:lnTo>
                    <a:close/>
                  </a:path>
                </a:pathLst>
              </a:custGeom>
              <a:solidFill>
                <a:srgbClr val="C4C4CD"/>
              </a:solidFill>
              <a:ln w="9525" cap="flat">
                <a:noFill/>
                <a:prstDash val="solid"/>
                <a:miter/>
              </a:ln>
            </p:spPr>
            <p:txBody>
              <a:bodyPr rtlCol="0" anchor="ctr"/>
              <a:lstStyle/>
              <a:p>
                <a:endParaRPr lang="en-IN"/>
              </a:p>
            </p:txBody>
          </p:sp>
          <p:sp>
            <p:nvSpPr>
              <p:cNvPr id="373" name="Freeform: Shape 372">
                <a:extLst>
                  <a:ext uri="{FF2B5EF4-FFF2-40B4-BE49-F238E27FC236}">
                    <a16:creationId xmlns:a16="http://schemas.microsoft.com/office/drawing/2014/main" id="{91039057-3A1C-42D9-AC4D-AEF7C9A47F68}"/>
                  </a:ext>
                </a:extLst>
              </p:cNvPr>
              <p:cNvSpPr/>
              <p:nvPr/>
            </p:nvSpPr>
            <p:spPr>
              <a:xfrm>
                <a:off x="13078562" y="7459220"/>
                <a:ext cx="108526" cy="108526"/>
              </a:xfrm>
              <a:custGeom>
                <a:avLst/>
                <a:gdLst>
                  <a:gd name="connsiteX0" fmla="*/ 0 w 38100"/>
                  <a:gd name="connsiteY0" fmla="*/ 4191 h 38100"/>
                  <a:gd name="connsiteX1" fmla="*/ 35242 w 38100"/>
                  <a:gd name="connsiteY1" fmla="*/ 46577 h 38100"/>
                  <a:gd name="connsiteX2" fmla="*/ 40767 w 38100"/>
                  <a:gd name="connsiteY2" fmla="*/ 41910 h 38100"/>
                  <a:gd name="connsiteX3" fmla="*/ 5048 w 38100"/>
                  <a:gd name="connsiteY3" fmla="*/ 0 h 38100"/>
                  <a:gd name="connsiteX4" fmla="*/ 0 w 38100"/>
                  <a:gd name="connsiteY4" fmla="*/ 419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191"/>
                    </a:moveTo>
                    <a:lnTo>
                      <a:pt x="35242" y="46577"/>
                    </a:lnTo>
                    <a:cubicBezTo>
                      <a:pt x="37052" y="45053"/>
                      <a:pt x="38957" y="43529"/>
                      <a:pt x="40767" y="41910"/>
                    </a:cubicBezTo>
                    <a:lnTo>
                      <a:pt x="5048" y="0"/>
                    </a:lnTo>
                    <a:cubicBezTo>
                      <a:pt x="3429" y="1429"/>
                      <a:pt x="1714" y="2858"/>
                      <a:pt x="0" y="4191"/>
                    </a:cubicBezTo>
                    <a:close/>
                  </a:path>
                </a:pathLst>
              </a:custGeom>
              <a:solidFill>
                <a:srgbClr val="C4C4CD"/>
              </a:solidFill>
              <a:ln w="9525" cap="flat">
                <a:noFill/>
                <a:prstDash val="solid"/>
                <a:miter/>
              </a:ln>
            </p:spPr>
            <p:txBody>
              <a:bodyPr rtlCol="0" anchor="ctr"/>
              <a:lstStyle/>
              <a:p>
                <a:endParaRPr lang="en-IN"/>
              </a:p>
            </p:txBody>
          </p:sp>
          <p:sp>
            <p:nvSpPr>
              <p:cNvPr id="374" name="Freeform: Shape 373">
                <a:extLst>
                  <a:ext uri="{FF2B5EF4-FFF2-40B4-BE49-F238E27FC236}">
                    <a16:creationId xmlns:a16="http://schemas.microsoft.com/office/drawing/2014/main" id="{92CEA6F0-B557-4D7A-BED7-F5C34CBE681A}"/>
                  </a:ext>
                </a:extLst>
              </p:cNvPr>
              <p:cNvSpPr/>
              <p:nvPr/>
            </p:nvSpPr>
            <p:spPr>
              <a:xfrm>
                <a:off x="12769283" y="7681149"/>
                <a:ext cx="81395" cy="135642"/>
              </a:xfrm>
              <a:custGeom>
                <a:avLst/>
                <a:gdLst>
                  <a:gd name="connsiteX0" fmla="*/ 0 w 28575"/>
                  <a:gd name="connsiteY0" fmla="*/ 3429 h 47625"/>
                  <a:gd name="connsiteX1" fmla="*/ 28194 w 28575"/>
                  <a:gd name="connsiteY1" fmla="*/ 50863 h 47625"/>
                  <a:gd name="connsiteX2" fmla="*/ 34290 w 28575"/>
                  <a:gd name="connsiteY2" fmla="*/ 47149 h 47625"/>
                  <a:gd name="connsiteX3" fmla="*/ 5620 w 28575"/>
                  <a:gd name="connsiteY3" fmla="*/ 0 h 47625"/>
                  <a:gd name="connsiteX4" fmla="*/ 0 w 28575"/>
                  <a:gd name="connsiteY4" fmla="*/ 3429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3429"/>
                    </a:moveTo>
                    <a:lnTo>
                      <a:pt x="28194" y="50863"/>
                    </a:lnTo>
                    <a:cubicBezTo>
                      <a:pt x="30289" y="49625"/>
                      <a:pt x="32290" y="48387"/>
                      <a:pt x="34290" y="47149"/>
                    </a:cubicBezTo>
                    <a:lnTo>
                      <a:pt x="5620" y="0"/>
                    </a:lnTo>
                    <a:cubicBezTo>
                      <a:pt x="3715" y="1143"/>
                      <a:pt x="1810" y="2286"/>
                      <a:pt x="0" y="3429"/>
                    </a:cubicBezTo>
                    <a:close/>
                  </a:path>
                </a:pathLst>
              </a:custGeom>
              <a:solidFill>
                <a:srgbClr val="C4C4CD"/>
              </a:solidFill>
              <a:ln w="9525" cap="flat">
                <a:noFill/>
                <a:prstDash val="solid"/>
                <a:miter/>
              </a:ln>
            </p:spPr>
            <p:txBody>
              <a:bodyPr rtlCol="0" anchor="ctr"/>
              <a:lstStyle/>
              <a:p>
                <a:endParaRPr lang="en-IN"/>
              </a:p>
            </p:txBody>
          </p:sp>
          <p:sp>
            <p:nvSpPr>
              <p:cNvPr id="375" name="Freeform: Shape 374">
                <a:extLst>
                  <a:ext uri="{FF2B5EF4-FFF2-40B4-BE49-F238E27FC236}">
                    <a16:creationId xmlns:a16="http://schemas.microsoft.com/office/drawing/2014/main" id="{8D0ECEA1-89E9-4629-BB63-47B1285F6700}"/>
                  </a:ext>
                </a:extLst>
              </p:cNvPr>
              <p:cNvSpPr/>
              <p:nvPr/>
            </p:nvSpPr>
            <p:spPr>
              <a:xfrm>
                <a:off x="12602446" y="7773109"/>
                <a:ext cx="81395" cy="135642"/>
              </a:xfrm>
              <a:custGeom>
                <a:avLst/>
                <a:gdLst>
                  <a:gd name="connsiteX0" fmla="*/ 0 w 28575"/>
                  <a:gd name="connsiteY0" fmla="*/ 2953 h 47625"/>
                  <a:gd name="connsiteX1" fmla="*/ 24289 w 28575"/>
                  <a:gd name="connsiteY1" fmla="*/ 52483 h 47625"/>
                  <a:gd name="connsiteX2" fmla="*/ 30671 w 28575"/>
                  <a:gd name="connsiteY2" fmla="*/ 49244 h 47625"/>
                  <a:gd name="connsiteX3" fmla="*/ 5810 w 28575"/>
                  <a:gd name="connsiteY3" fmla="*/ 0 h 47625"/>
                  <a:gd name="connsiteX4" fmla="*/ 0 w 28575"/>
                  <a:gd name="connsiteY4" fmla="*/ 295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47625">
                    <a:moveTo>
                      <a:pt x="0" y="2953"/>
                    </a:moveTo>
                    <a:lnTo>
                      <a:pt x="24289" y="52483"/>
                    </a:lnTo>
                    <a:cubicBezTo>
                      <a:pt x="26384" y="51435"/>
                      <a:pt x="28575" y="50387"/>
                      <a:pt x="30671" y="49244"/>
                    </a:cubicBezTo>
                    <a:lnTo>
                      <a:pt x="5810" y="0"/>
                    </a:lnTo>
                    <a:cubicBezTo>
                      <a:pt x="3905" y="953"/>
                      <a:pt x="2000" y="2000"/>
                      <a:pt x="0" y="2953"/>
                    </a:cubicBezTo>
                    <a:close/>
                  </a:path>
                </a:pathLst>
              </a:custGeom>
              <a:solidFill>
                <a:srgbClr val="C4C4CD"/>
              </a:solidFill>
              <a:ln w="9525" cap="flat">
                <a:noFill/>
                <a:prstDash val="solid"/>
                <a:miter/>
              </a:ln>
            </p:spPr>
            <p:txBody>
              <a:bodyPr rtlCol="0" anchor="ctr"/>
              <a:lstStyle/>
              <a:p>
                <a:endParaRPr lang="en-IN"/>
              </a:p>
            </p:txBody>
          </p:sp>
          <p:sp>
            <p:nvSpPr>
              <p:cNvPr id="376" name="Freeform: Shape 375">
                <a:extLst>
                  <a:ext uri="{FF2B5EF4-FFF2-40B4-BE49-F238E27FC236}">
                    <a16:creationId xmlns:a16="http://schemas.microsoft.com/office/drawing/2014/main" id="{B299F6E4-6AB7-4389-83FF-0CAB9A8A7B73}"/>
                  </a:ext>
                </a:extLst>
              </p:cNvPr>
              <p:cNvSpPr/>
              <p:nvPr/>
            </p:nvSpPr>
            <p:spPr>
              <a:xfrm>
                <a:off x="13219643" y="7330361"/>
                <a:ext cx="108526" cy="108526"/>
              </a:xfrm>
              <a:custGeom>
                <a:avLst/>
                <a:gdLst>
                  <a:gd name="connsiteX0" fmla="*/ 0 w 38100"/>
                  <a:gd name="connsiteY0" fmla="*/ 4667 h 38100"/>
                  <a:gd name="connsiteX1" fmla="*/ 38481 w 38100"/>
                  <a:gd name="connsiteY1" fmla="*/ 44101 h 38100"/>
                  <a:gd name="connsiteX2" fmla="*/ 43625 w 38100"/>
                  <a:gd name="connsiteY2" fmla="*/ 39053 h 38100"/>
                  <a:gd name="connsiteX3" fmla="*/ 4667 w 38100"/>
                  <a:gd name="connsiteY3" fmla="*/ 0 h 38100"/>
                  <a:gd name="connsiteX4" fmla="*/ 0 w 38100"/>
                  <a:gd name="connsiteY4" fmla="*/ 4667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0" y="4667"/>
                    </a:moveTo>
                    <a:lnTo>
                      <a:pt x="38481" y="44101"/>
                    </a:lnTo>
                    <a:cubicBezTo>
                      <a:pt x="40196" y="42386"/>
                      <a:pt x="41910" y="40767"/>
                      <a:pt x="43625" y="39053"/>
                    </a:cubicBezTo>
                    <a:lnTo>
                      <a:pt x="4667" y="0"/>
                    </a:lnTo>
                    <a:cubicBezTo>
                      <a:pt x="3048" y="1619"/>
                      <a:pt x="1524" y="3143"/>
                      <a:pt x="0" y="4667"/>
                    </a:cubicBezTo>
                    <a:close/>
                  </a:path>
                </a:pathLst>
              </a:custGeom>
              <a:solidFill>
                <a:srgbClr val="C4C4CD"/>
              </a:solidFill>
              <a:ln w="9525" cap="flat">
                <a:noFill/>
                <a:prstDash val="solid"/>
                <a:miter/>
              </a:ln>
            </p:spPr>
            <p:txBody>
              <a:bodyPr rtlCol="0" anchor="ctr"/>
              <a:lstStyle/>
              <a:p>
                <a:endParaRPr lang="en-IN"/>
              </a:p>
            </p:txBody>
          </p:sp>
          <p:sp>
            <p:nvSpPr>
              <p:cNvPr id="377" name="Freeform: Shape 376">
                <a:extLst>
                  <a:ext uri="{FF2B5EF4-FFF2-40B4-BE49-F238E27FC236}">
                    <a16:creationId xmlns:a16="http://schemas.microsoft.com/office/drawing/2014/main" id="{DC52DEE3-15FA-4BDA-8E49-3F21F53D08DA}"/>
                  </a:ext>
                </a:extLst>
              </p:cNvPr>
              <p:cNvSpPr/>
              <p:nvPr/>
            </p:nvSpPr>
            <p:spPr>
              <a:xfrm>
                <a:off x="12579378" y="3348064"/>
                <a:ext cx="81395" cy="135642"/>
              </a:xfrm>
              <a:custGeom>
                <a:avLst/>
                <a:gdLst>
                  <a:gd name="connsiteX0" fmla="*/ 23813 w 28575"/>
                  <a:gd name="connsiteY0" fmla="*/ 0 h 47625"/>
                  <a:gd name="connsiteX1" fmla="*/ 0 w 28575"/>
                  <a:gd name="connsiteY1" fmla="*/ 49720 h 47625"/>
                  <a:gd name="connsiteX2" fmla="*/ 6096 w 28575"/>
                  <a:gd name="connsiteY2" fmla="*/ 52673 h 47625"/>
                  <a:gd name="connsiteX3" fmla="*/ 30289 w 28575"/>
                  <a:gd name="connsiteY3" fmla="*/ 3143 h 47625"/>
                </a:gdLst>
                <a:ahLst/>
                <a:cxnLst>
                  <a:cxn ang="0">
                    <a:pos x="connsiteX0" y="connsiteY0"/>
                  </a:cxn>
                  <a:cxn ang="0">
                    <a:pos x="connsiteX1" y="connsiteY1"/>
                  </a:cxn>
                  <a:cxn ang="0">
                    <a:pos x="connsiteX2" y="connsiteY2"/>
                  </a:cxn>
                  <a:cxn ang="0">
                    <a:pos x="connsiteX3" y="connsiteY3"/>
                  </a:cxn>
                </a:cxnLst>
                <a:rect l="l" t="t" r="r" b="b"/>
                <a:pathLst>
                  <a:path w="28575" h="47625">
                    <a:moveTo>
                      <a:pt x="23813" y="0"/>
                    </a:moveTo>
                    <a:lnTo>
                      <a:pt x="0" y="49720"/>
                    </a:lnTo>
                    <a:lnTo>
                      <a:pt x="6096" y="52673"/>
                    </a:lnTo>
                    <a:lnTo>
                      <a:pt x="30289" y="3143"/>
                    </a:lnTo>
                    <a:close/>
                  </a:path>
                </a:pathLst>
              </a:custGeom>
              <a:solidFill>
                <a:srgbClr val="C4C4CD"/>
              </a:solidFill>
              <a:ln w="9525" cap="flat">
                <a:noFill/>
                <a:prstDash val="solid"/>
                <a:miter/>
              </a:ln>
            </p:spPr>
            <p:txBody>
              <a:bodyPr rtlCol="0" anchor="ctr"/>
              <a:lstStyle/>
              <a:p>
                <a:endParaRPr lang="en-IN"/>
              </a:p>
            </p:txBody>
          </p:sp>
          <p:sp>
            <p:nvSpPr>
              <p:cNvPr id="378" name="Freeform: Shape 377">
                <a:extLst>
                  <a:ext uri="{FF2B5EF4-FFF2-40B4-BE49-F238E27FC236}">
                    <a16:creationId xmlns:a16="http://schemas.microsoft.com/office/drawing/2014/main" id="{2796ED24-52C7-4358-87D5-56D2A80A2DD6}"/>
                  </a:ext>
                </a:extLst>
              </p:cNvPr>
              <p:cNvSpPr/>
              <p:nvPr/>
            </p:nvSpPr>
            <p:spPr>
              <a:xfrm>
                <a:off x="12747591" y="3443009"/>
                <a:ext cx="81395" cy="135642"/>
              </a:xfrm>
              <a:custGeom>
                <a:avLst/>
                <a:gdLst>
                  <a:gd name="connsiteX0" fmla="*/ 27718 w 28575"/>
                  <a:gd name="connsiteY0" fmla="*/ 0 h 47625"/>
                  <a:gd name="connsiteX1" fmla="*/ 0 w 28575"/>
                  <a:gd name="connsiteY1" fmla="*/ 47625 h 47625"/>
                  <a:gd name="connsiteX2" fmla="*/ 5715 w 28575"/>
                  <a:gd name="connsiteY2" fmla="*/ 51054 h 47625"/>
                  <a:gd name="connsiteX3" fmla="*/ 33814 w 28575"/>
                  <a:gd name="connsiteY3" fmla="*/ 3619 h 47625"/>
                </a:gdLst>
                <a:ahLst/>
                <a:cxnLst>
                  <a:cxn ang="0">
                    <a:pos x="connsiteX0" y="connsiteY0"/>
                  </a:cxn>
                  <a:cxn ang="0">
                    <a:pos x="connsiteX1" y="connsiteY1"/>
                  </a:cxn>
                  <a:cxn ang="0">
                    <a:pos x="connsiteX2" y="connsiteY2"/>
                  </a:cxn>
                  <a:cxn ang="0">
                    <a:pos x="connsiteX3" y="connsiteY3"/>
                  </a:cxn>
                </a:cxnLst>
                <a:rect l="l" t="t" r="r" b="b"/>
                <a:pathLst>
                  <a:path w="28575" h="47625">
                    <a:moveTo>
                      <a:pt x="27718" y="0"/>
                    </a:moveTo>
                    <a:lnTo>
                      <a:pt x="0" y="47625"/>
                    </a:lnTo>
                    <a:lnTo>
                      <a:pt x="5715" y="51054"/>
                    </a:lnTo>
                    <a:lnTo>
                      <a:pt x="33814" y="3619"/>
                    </a:lnTo>
                    <a:close/>
                  </a:path>
                </a:pathLst>
              </a:custGeom>
              <a:solidFill>
                <a:srgbClr val="C4C4CD"/>
              </a:solidFill>
              <a:ln w="9525" cap="flat">
                <a:noFill/>
                <a:prstDash val="solid"/>
                <a:miter/>
              </a:ln>
            </p:spPr>
            <p:txBody>
              <a:bodyPr rtlCol="0" anchor="ctr"/>
              <a:lstStyle/>
              <a:p>
                <a:endParaRPr lang="en-IN"/>
              </a:p>
            </p:txBody>
          </p:sp>
          <p:sp>
            <p:nvSpPr>
              <p:cNvPr id="379" name="Freeform: Shape 378">
                <a:extLst>
                  <a:ext uri="{FF2B5EF4-FFF2-40B4-BE49-F238E27FC236}">
                    <a16:creationId xmlns:a16="http://schemas.microsoft.com/office/drawing/2014/main" id="{692AAFB8-98B2-4D97-96A7-8979729F761C}"/>
                  </a:ext>
                </a:extLst>
              </p:cNvPr>
              <p:cNvSpPr/>
              <p:nvPr/>
            </p:nvSpPr>
            <p:spPr>
              <a:xfrm>
                <a:off x="13669987" y="6718321"/>
                <a:ext cx="135642" cy="81395"/>
              </a:xfrm>
              <a:custGeom>
                <a:avLst/>
                <a:gdLst>
                  <a:gd name="connsiteX0" fmla="*/ 0 w 47625"/>
                  <a:gd name="connsiteY0" fmla="*/ 5906 h 28575"/>
                  <a:gd name="connsiteX1" fmla="*/ 48958 w 47625"/>
                  <a:gd name="connsiteY1" fmla="*/ 31337 h 28575"/>
                  <a:gd name="connsiteX2" fmla="*/ 52197 w 47625"/>
                  <a:gd name="connsiteY2" fmla="*/ 24956 h 28575"/>
                  <a:gd name="connsiteX3" fmla="*/ 3048 w 47625"/>
                  <a:gd name="connsiteY3" fmla="*/ 0 h 28575"/>
                </a:gdLst>
                <a:ahLst/>
                <a:cxnLst>
                  <a:cxn ang="0">
                    <a:pos x="connsiteX0" y="connsiteY0"/>
                  </a:cxn>
                  <a:cxn ang="0">
                    <a:pos x="connsiteX1" y="connsiteY1"/>
                  </a:cxn>
                  <a:cxn ang="0">
                    <a:pos x="connsiteX2" y="connsiteY2"/>
                  </a:cxn>
                  <a:cxn ang="0">
                    <a:pos x="connsiteX3" y="connsiteY3"/>
                  </a:cxn>
                </a:cxnLst>
                <a:rect l="l" t="t" r="r" b="b"/>
                <a:pathLst>
                  <a:path w="47625" h="28575">
                    <a:moveTo>
                      <a:pt x="0" y="5906"/>
                    </a:moveTo>
                    <a:lnTo>
                      <a:pt x="48958" y="31337"/>
                    </a:lnTo>
                    <a:lnTo>
                      <a:pt x="52197" y="24956"/>
                    </a:lnTo>
                    <a:lnTo>
                      <a:pt x="3048" y="0"/>
                    </a:lnTo>
                    <a:close/>
                  </a:path>
                </a:pathLst>
              </a:custGeom>
              <a:solidFill>
                <a:srgbClr val="C4C4CD"/>
              </a:solidFill>
              <a:ln w="9525" cap="flat">
                <a:noFill/>
                <a:prstDash val="solid"/>
                <a:miter/>
              </a:ln>
            </p:spPr>
            <p:txBody>
              <a:bodyPr rtlCol="0" anchor="ctr"/>
              <a:lstStyle/>
              <a:p>
                <a:endParaRPr lang="en-IN"/>
              </a:p>
            </p:txBody>
          </p:sp>
          <p:sp>
            <p:nvSpPr>
              <p:cNvPr id="380" name="Freeform: Shape 379">
                <a:extLst>
                  <a:ext uri="{FF2B5EF4-FFF2-40B4-BE49-F238E27FC236}">
                    <a16:creationId xmlns:a16="http://schemas.microsoft.com/office/drawing/2014/main" id="{450A7D08-1B2B-4AB5-8FF3-2FFA2DA20C8B}"/>
                  </a:ext>
                </a:extLst>
              </p:cNvPr>
              <p:cNvSpPr/>
              <p:nvPr/>
            </p:nvSpPr>
            <p:spPr>
              <a:xfrm>
                <a:off x="13817554" y="6367267"/>
                <a:ext cx="135642" cy="54263"/>
              </a:xfrm>
              <a:custGeom>
                <a:avLst/>
                <a:gdLst>
                  <a:gd name="connsiteX0" fmla="*/ 0 w 47625"/>
                  <a:gd name="connsiteY0" fmla="*/ 6191 h 19050"/>
                  <a:gd name="connsiteX1" fmla="*/ 52388 w 47625"/>
                  <a:gd name="connsiteY1" fmla="*/ 23527 h 19050"/>
                  <a:gd name="connsiteX2" fmla="*/ 54578 w 47625"/>
                  <a:gd name="connsiteY2" fmla="*/ 16669 h 19050"/>
                  <a:gd name="connsiteX3" fmla="*/ 2000 w 47625"/>
                  <a:gd name="connsiteY3" fmla="*/ 0 h 19050"/>
                  <a:gd name="connsiteX4" fmla="*/ 0 w 47625"/>
                  <a:gd name="connsiteY4" fmla="*/ 6191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191"/>
                    </a:moveTo>
                    <a:lnTo>
                      <a:pt x="52388" y="23527"/>
                    </a:lnTo>
                    <a:cubicBezTo>
                      <a:pt x="53149" y="21241"/>
                      <a:pt x="53911" y="18955"/>
                      <a:pt x="54578" y="16669"/>
                    </a:cubicBezTo>
                    <a:lnTo>
                      <a:pt x="2000" y="0"/>
                    </a:lnTo>
                    <a:cubicBezTo>
                      <a:pt x="1333" y="2000"/>
                      <a:pt x="667" y="4096"/>
                      <a:pt x="0" y="6191"/>
                    </a:cubicBezTo>
                    <a:close/>
                  </a:path>
                </a:pathLst>
              </a:custGeom>
              <a:solidFill>
                <a:srgbClr val="C4C4CD"/>
              </a:solidFill>
              <a:ln w="9525" cap="flat">
                <a:noFill/>
                <a:prstDash val="solid"/>
                <a:miter/>
              </a:ln>
            </p:spPr>
            <p:txBody>
              <a:bodyPr rtlCol="0" anchor="ctr"/>
              <a:lstStyle/>
              <a:p>
                <a:endParaRPr lang="en-IN"/>
              </a:p>
            </p:txBody>
          </p:sp>
          <p:sp>
            <p:nvSpPr>
              <p:cNvPr id="381" name="Freeform: Shape 380">
                <a:extLst>
                  <a:ext uri="{FF2B5EF4-FFF2-40B4-BE49-F238E27FC236}">
                    <a16:creationId xmlns:a16="http://schemas.microsoft.com/office/drawing/2014/main" id="{5BBE698C-578B-4FBE-BDB6-C30D8C45D6E8}"/>
                  </a:ext>
                </a:extLst>
              </p:cNvPr>
              <p:cNvSpPr/>
              <p:nvPr/>
            </p:nvSpPr>
            <p:spPr>
              <a:xfrm>
                <a:off x="13906825" y="5997505"/>
                <a:ext cx="135642" cy="27132"/>
              </a:xfrm>
              <a:custGeom>
                <a:avLst/>
                <a:gdLst>
                  <a:gd name="connsiteX0" fmla="*/ 0 w 47625"/>
                  <a:gd name="connsiteY0" fmla="*/ 6477 h 9525"/>
                  <a:gd name="connsiteX1" fmla="*/ 54483 w 47625"/>
                  <a:gd name="connsiteY1" fmla="*/ 15240 h 9525"/>
                  <a:gd name="connsiteX2" fmla="*/ 55626 w 47625"/>
                  <a:gd name="connsiteY2" fmla="*/ 8096 h 9525"/>
                  <a:gd name="connsiteX3" fmla="*/ 1048 w 47625"/>
                  <a:gd name="connsiteY3" fmla="*/ 0 h 9525"/>
                  <a:gd name="connsiteX4" fmla="*/ 0 w 47625"/>
                  <a:gd name="connsiteY4" fmla="*/ 6477 h 9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9525">
                    <a:moveTo>
                      <a:pt x="0" y="6477"/>
                    </a:moveTo>
                    <a:lnTo>
                      <a:pt x="54483" y="15240"/>
                    </a:lnTo>
                    <a:cubicBezTo>
                      <a:pt x="54864" y="12859"/>
                      <a:pt x="55245" y="10478"/>
                      <a:pt x="55626" y="8096"/>
                    </a:cubicBezTo>
                    <a:lnTo>
                      <a:pt x="1048" y="0"/>
                    </a:lnTo>
                    <a:cubicBezTo>
                      <a:pt x="667" y="2096"/>
                      <a:pt x="286" y="4286"/>
                      <a:pt x="0" y="6477"/>
                    </a:cubicBezTo>
                    <a:close/>
                  </a:path>
                </a:pathLst>
              </a:custGeom>
              <a:solidFill>
                <a:srgbClr val="C4C4CD"/>
              </a:solidFill>
              <a:ln w="9525" cap="flat">
                <a:noFill/>
                <a:prstDash val="solid"/>
                <a:miter/>
              </a:ln>
            </p:spPr>
            <p:txBody>
              <a:bodyPr rtlCol="0" anchor="ctr"/>
              <a:lstStyle/>
              <a:p>
                <a:endParaRPr lang="en-IN"/>
              </a:p>
            </p:txBody>
          </p:sp>
          <p:sp>
            <p:nvSpPr>
              <p:cNvPr id="382" name="Freeform: Shape 381">
                <a:extLst>
                  <a:ext uri="{FF2B5EF4-FFF2-40B4-BE49-F238E27FC236}">
                    <a16:creationId xmlns:a16="http://schemas.microsoft.com/office/drawing/2014/main" id="{9D574CBE-4271-4DB3-AB0A-88E4EE0B278F}"/>
                  </a:ext>
                </a:extLst>
              </p:cNvPr>
              <p:cNvSpPr/>
              <p:nvPr/>
            </p:nvSpPr>
            <p:spPr>
              <a:xfrm>
                <a:off x="13869379" y="6183879"/>
                <a:ext cx="135642" cy="54263"/>
              </a:xfrm>
              <a:custGeom>
                <a:avLst/>
                <a:gdLst>
                  <a:gd name="connsiteX0" fmla="*/ 0 w 47625"/>
                  <a:gd name="connsiteY0" fmla="*/ 6382 h 19050"/>
                  <a:gd name="connsiteX1" fmla="*/ 53531 w 47625"/>
                  <a:gd name="connsiteY1" fmla="*/ 19431 h 19050"/>
                  <a:gd name="connsiteX2" fmla="*/ 55150 w 47625"/>
                  <a:gd name="connsiteY2" fmla="*/ 12478 h 19050"/>
                  <a:gd name="connsiteX3" fmla="*/ 1429 w 47625"/>
                  <a:gd name="connsiteY3" fmla="*/ 0 h 19050"/>
                  <a:gd name="connsiteX4" fmla="*/ 0 w 47625"/>
                  <a:gd name="connsiteY4" fmla="*/ 6382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19050">
                    <a:moveTo>
                      <a:pt x="0" y="6382"/>
                    </a:moveTo>
                    <a:lnTo>
                      <a:pt x="53531" y="19431"/>
                    </a:lnTo>
                    <a:cubicBezTo>
                      <a:pt x="54102" y="17145"/>
                      <a:pt x="54674" y="14764"/>
                      <a:pt x="55150" y="12478"/>
                    </a:cubicBezTo>
                    <a:lnTo>
                      <a:pt x="1429" y="0"/>
                    </a:lnTo>
                    <a:lnTo>
                      <a:pt x="0" y="6382"/>
                    </a:lnTo>
                    <a:close/>
                  </a:path>
                </a:pathLst>
              </a:custGeom>
              <a:solidFill>
                <a:srgbClr val="C4C4CD"/>
              </a:solidFill>
              <a:ln w="9525" cap="flat">
                <a:noFill/>
                <a:prstDash val="solid"/>
                <a:miter/>
              </a:ln>
            </p:spPr>
            <p:txBody>
              <a:bodyPr rtlCol="0" anchor="ctr"/>
              <a:lstStyle/>
              <a:p>
                <a:endParaRPr lang="en-IN"/>
              </a:p>
            </p:txBody>
          </p:sp>
          <p:sp>
            <p:nvSpPr>
              <p:cNvPr id="383" name="Freeform: Shape 382">
                <a:extLst>
                  <a:ext uri="{FF2B5EF4-FFF2-40B4-BE49-F238E27FC236}">
                    <a16:creationId xmlns:a16="http://schemas.microsoft.com/office/drawing/2014/main" id="{48F71D17-4546-438C-9DAB-E8D86DDEE14B}"/>
                  </a:ext>
                </a:extLst>
              </p:cNvPr>
              <p:cNvSpPr/>
              <p:nvPr/>
            </p:nvSpPr>
            <p:spPr>
              <a:xfrm>
                <a:off x="13928784" y="5808413"/>
                <a:ext cx="135642" cy="27132"/>
              </a:xfrm>
              <a:custGeom>
                <a:avLst/>
                <a:gdLst>
                  <a:gd name="connsiteX0" fmla="*/ 0 w 47625"/>
                  <a:gd name="connsiteY0" fmla="*/ 6667 h 9525"/>
                  <a:gd name="connsiteX1" fmla="*/ 55054 w 47625"/>
                  <a:gd name="connsiteY1" fmla="*/ 10954 h 9525"/>
                  <a:gd name="connsiteX2" fmla="*/ 55531 w 47625"/>
                  <a:gd name="connsiteY2" fmla="*/ 3810 h 9525"/>
                  <a:gd name="connsiteX3" fmla="*/ 476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0" y="6667"/>
                    </a:moveTo>
                    <a:lnTo>
                      <a:pt x="55054" y="10954"/>
                    </a:lnTo>
                    <a:lnTo>
                      <a:pt x="55531" y="3810"/>
                    </a:lnTo>
                    <a:lnTo>
                      <a:pt x="476" y="0"/>
                    </a:lnTo>
                    <a:close/>
                  </a:path>
                </a:pathLst>
              </a:custGeom>
              <a:solidFill>
                <a:srgbClr val="C4C4CD"/>
              </a:solidFill>
              <a:ln w="9525" cap="flat">
                <a:noFill/>
                <a:prstDash val="solid"/>
                <a:miter/>
              </a:ln>
            </p:spPr>
            <p:txBody>
              <a:bodyPr rtlCol="0" anchor="ctr"/>
              <a:lstStyle/>
              <a:p>
                <a:endParaRPr lang="en-IN"/>
              </a:p>
            </p:txBody>
          </p:sp>
          <p:sp>
            <p:nvSpPr>
              <p:cNvPr id="384" name="Freeform: Shape 383">
                <a:extLst>
                  <a:ext uri="{FF2B5EF4-FFF2-40B4-BE49-F238E27FC236}">
                    <a16:creationId xmlns:a16="http://schemas.microsoft.com/office/drawing/2014/main" id="{A6F5ADCC-E9B9-4475-B6E5-FCF688400163}"/>
                  </a:ext>
                </a:extLst>
              </p:cNvPr>
              <p:cNvSpPr/>
              <p:nvPr/>
            </p:nvSpPr>
            <p:spPr>
              <a:xfrm>
                <a:off x="12429091" y="7851519"/>
                <a:ext cx="54263" cy="135642"/>
              </a:xfrm>
              <a:custGeom>
                <a:avLst/>
                <a:gdLst>
                  <a:gd name="connsiteX0" fmla="*/ 0 w 19050"/>
                  <a:gd name="connsiteY0" fmla="*/ 2476 h 47625"/>
                  <a:gd name="connsiteX1" fmla="*/ 20288 w 19050"/>
                  <a:gd name="connsiteY1" fmla="*/ 53721 h 47625"/>
                  <a:gd name="connsiteX2" fmla="*/ 26861 w 19050"/>
                  <a:gd name="connsiteY2" fmla="*/ 51054 h 47625"/>
                  <a:gd name="connsiteX3" fmla="*/ 6096 w 19050"/>
                  <a:gd name="connsiteY3" fmla="*/ 0 h 47625"/>
                  <a:gd name="connsiteX4" fmla="*/ 0 w 19050"/>
                  <a:gd name="connsiteY4" fmla="*/ 2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476"/>
                    </a:moveTo>
                    <a:lnTo>
                      <a:pt x="20288" y="53721"/>
                    </a:lnTo>
                    <a:cubicBezTo>
                      <a:pt x="22479" y="52864"/>
                      <a:pt x="24670" y="51911"/>
                      <a:pt x="26861" y="51054"/>
                    </a:cubicBezTo>
                    <a:lnTo>
                      <a:pt x="6096" y="0"/>
                    </a:lnTo>
                    <a:lnTo>
                      <a:pt x="0" y="2476"/>
                    </a:lnTo>
                    <a:close/>
                  </a:path>
                </a:pathLst>
              </a:custGeom>
              <a:solidFill>
                <a:srgbClr val="C4C4CD"/>
              </a:solidFill>
              <a:ln w="9525" cap="flat">
                <a:noFill/>
                <a:prstDash val="solid"/>
                <a:miter/>
              </a:ln>
            </p:spPr>
            <p:txBody>
              <a:bodyPr rtlCol="0" anchor="ctr"/>
              <a:lstStyle/>
              <a:p>
                <a:endParaRPr lang="en-IN"/>
              </a:p>
            </p:txBody>
          </p:sp>
          <p:sp>
            <p:nvSpPr>
              <p:cNvPr id="385" name="Freeform: Shape 384">
                <a:extLst>
                  <a:ext uri="{FF2B5EF4-FFF2-40B4-BE49-F238E27FC236}">
                    <a16:creationId xmlns:a16="http://schemas.microsoft.com/office/drawing/2014/main" id="{D95DED1B-4FC2-4426-9323-BD31A2AD71DD}"/>
                  </a:ext>
                </a:extLst>
              </p:cNvPr>
              <p:cNvSpPr/>
              <p:nvPr/>
            </p:nvSpPr>
            <p:spPr>
              <a:xfrm>
                <a:off x="13468953" y="7042244"/>
                <a:ext cx="135642" cy="108526"/>
              </a:xfrm>
              <a:custGeom>
                <a:avLst/>
                <a:gdLst>
                  <a:gd name="connsiteX0" fmla="*/ 0 w 47625"/>
                  <a:gd name="connsiteY0" fmla="*/ 5334 h 38100"/>
                  <a:gd name="connsiteX1" fmla="*/ 44291 w 47625"/>
                  <a:gd name="connsiteY1" fmla="*/ 38195 h 38100"/>
                  <a:gd name="connsiteX2" fmla="*/ 48482 w 47625"/>
                  <a:gd name="connsiteY2" fmla="*/ 32385 h 38100"/>
                  <a:gd name="connsiteX3" fmla="*/ 3905 w 47625"/>
                  <a:gd name="connsiteY3" fmla="*/ 0 h 38100"/>
                </a:gdLst>
                <a:ahLst/>
                <a:cxnLst>
                  <a:cxn ang="0">
                    <a:pos x="connsiteX0" y="connsiteY0"/>
                  </a:cxn>
                  <a:cxn ang="0">
                    <a:pos x="connsiteX1" y="connsiteY1"/>
                  </a:cxn>
                  <a:cxn ang="0">
                    <a:pos x="connsiteX2" y="connsiteY2"/>
                  </a:cxn>
                  <a:cxn ang="0">
                    <a:pos x="connsiteX3" y="connsiteY3"/>
                  </a:cxn>
                </a:cxnLst>
                <a:rect l="l" t="t" r="r" b="b"/>
                <a:pathLst>
                  <a:path w="47625" h="38100">
                    <a:moveTo>
                      <a:pt x="0" y="5334"/>
                    </a:moveTo>
                    <a:lnTo>
                      <a:pt x="44291" y="38195"/>
                    </a:lnTo>
                    <a:lnTo>
                      <a:pt x="48482" y="32385"/>
                    </a:lnTo>
                    <a:lnTo>
                      <a:pt x="3905" y="0"/>
                    </a:lnTo>
                    <a:close/>
                  </a:path>
                </a:pathLst>
              </a:custGeom>
              <a:solidFill>
                <a:srgbClr val="C4C4CD"/>
              </a:solidFill>
              <a:ln w="9525" cap="flat">
                <a:noFill/>
                <a:prstDash val="solid"/>
                <a:miter/>
              </a:ln>
            </p:spPr>
            <p:txBody>
              <a:bodyPr rtlCol="0" anchor="ctr"/>
              <a:lstStyle/>
              <a:p>
                <a:endParaRPr lang="en-IN"/>
              </a:p>
            </p:txBody>
          </p:sp>
          <p:sp>
            <p:nvSpPr>
              <p:cNvPr id="386" name="Freeform: Shape 385">
                <a:extLst>
                  <a:ext uri="{FF2B5EF4-FFF2-40B4-BE49-F238E27FC236}">
                    <a16:creationId xmlns:a16="http://schemas.microsoft.com/office/drawing/2014/main" id="{D1A4B28D-6B41-4FA4-A6DD-2F1C0E6FE289}"/>
                  </a:ext>
                </a:extLst>
              </p:cNvPr>
              <p:cNvSpPr/>
              <p:nvPr/>
            </p:nvSpPr>
            <p:spPr>
              <a:xfrm>
                <a:off x="13750819" y="6545514"/>
                <a:ext cx="135642" cy="54263"/>
              </a:xfrm>
              <a:custGeom>
                <a:avLst/>
                <a:gdLst>
                  <a:gd name="connsiteX0" fmla="*/ 0 w 47625"/>
                  <a:gd name="connsiteY0" fmla="*/ 6191 h 19050"/>
                  <a:gd name="connsiteX1" fmla="*/ 50768 w 47625"/>
                  <a:gd name="connsiteY1" fmla="*/ 27527 h 19050"/>
                  <a:gd name="connsiteX2" fmla="*/ 53530 w 47625"/>
                  <a:gd name="connsiteY2" fmla="*/ 20955 h 19050"/>
                  <a:gd name="connsiteX3" fmla="*/ 2572 w 47625"/>
                  <a:gd name="connsiteY3" fmla="*/ 0 h 19050"/>
                </a:gdLst>
                <a:ahLst/>
                <a:cxnLst>
                  <a:cxn ang="0">
                    <a:pos x="connsiteX0" y="connsiteY0"/>
                  </a:cxn>
                  <a:cxn ang="0">
                    <a:pos x="connsiteX1" y="connsiteY1"/>
                  </a:cxn>
                  <a:cxn ang="0">
                    <a:pos x="connsiteX2" y="connsiteY2"/>
                  </a:cxn>
                  <a:cxn ang="0">
                    <a:pos x="connsiteX3" y="connsiteY3"/>
                  </a:cxn>
                </a:cxnLst>
                <a:rect l="l" t="t" r="r" b="b"/>
                <a:pathLst>
                  <a:path w="47625" h="19050">
                    <a:moveTo>
                      <a:pt x="0" y="6191"/>
                    </a:moveTo>
                    <a:lnTo>
                      <a:pt x="50768" y="27527"/>
                    </a:lnTo>
                    <a:lnTo>
                      <a:pt x="53530" y="20955"/>
                    </a:lnTo>
                    <a:lnTo>
                      <a:pt x="2572" y="0"/>
                    </a:lnTo>
                    <a:close/>
                  </a:path>
                </a:pathLst>
              </a:custGeom>
              <a:solidFill>
                <a:srgbClr val="C4C4CD"/>
              </a:solidFill>
              <a:ln w="9525" cap="flat">
                <a:noFill/>
                <a:prstDash val="solid"/>
                <a:miter/>
              </a:ln>
            </p:spPr>
            <p:txBody>
              <a:bodyPr rtlCol="0" anchor="ctr"/>
              <a:lstStyle/>
              <a:p>
                <a:endParaRPr lang="en-IN"/>
              </a:p>
            </p:txBody>
          </p:sp>
          <p:sp>
            <p:nvSpPr>
              <p:cNvPr id="387" name="Freeform: Shape 386">
                <a:extLst>
                  <a:ext uri="{FF2B5EF4-FFF2-40B4-BE49-F238E27FC236}">
                    <a16:creationId xmlns:a16="http://schemas.microsoft.com/office/drawing/2014/main" id="{1D9A1E3E-AD89-4E61-9506-B8001E0E4DE5}"/>
                  </a:ext>
                </a:extLst>
              </p:cNvPr>
              <p:cNvSpPr/>
              <p:nvPr/>
            </p:nvSpPr>
            <p:spPr>
              <a:xfrm>
                <a:off x="13575839" y="6884362"/>
                <a:ext cx="135642" cy="81395"/>
              </a:xfrm>
              <a:custGeom>
                <a:avLst/>
                <a:gdLst>
                  <a:gd name="connsiteX0" fmla="*/ 0 w 47625"/>
                  <a:gd name="connsiteY0" fmla="*/ 5620 h 28575"/>
                  <a:gd name="connsiteX1" fmla="*/ 46768 w 47625"/>
                  <a:gd name="connsiteY1" fmla="*/ 34861 h 28575"/>
                  <a:gd name="connsiteX2" fmla="*/ 50578 w 47625"/>
                  <a:gd name="connsiteY2" fmla="*/ 28765 h 28575"/>
                  <a:gd name="connsiteX3" fmla="*/ 3524 w 47625"/>
                  <a:gd name="connsiteY3" fmla="*/ 0 h 28575"/>
                  <a:gd name="connsiteX4" fmla="*/ 0 w 47625"/>
                  <a:gd name="connsiteY4" fmla="*/ 562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28575">
                    <a:moveTo>
                      <a:pt x="0" y="5620"/>
                    </a:moveTo>
                    <a:lnTo>
                      <a:pt x="46768" y="34861"/>
                    </a:lnTo>
                    <a:cubicBezTo>
                      <a:pt x="48006" y="32861"/>
                      <a:pt x="49339" y="30766"/>
                      <a:pt x="50578" y="28765"/>
                    </a:cubicBezTo>
                    <a:lnTo>
                      <a:pt x="3524" y="0"/>
                    </a:lnTo>
                    <a:cubicBezTo>
                      <a:pt x="2381" y="1905"/>
                      <a:pt x="1238" y="3715"/>
                      <a:pt x="0" y="5620"/>
                    </a:cubicBezTo>
                    <a:close/>
                  </a:path>
                </a:pathLst>
              </a:custGeom>
              <a:solidFill>
                <a:srgbClr val="C4C4CD"/>
              </a:solidFill>
              <a:ln w="9525" cap="flat">
                <a:noFill/>
                <a:prstDash val="solid"/>
                <a:miter/>
              </a:ln>
            </p:spPr>
            <p:txBody>
              <a:bodyPr rtlCol="0" anchor="ctr"/>
              <a:lstStyle/>
              <a:p>
                <a:endParaRPr lang="en-IN"/>
              </a:p>
            </p:txBody>
          </p:sp>
          <p:sp>
            <p:nvSpPr>
              <p:cNvPr id="388" name="Freeform: Shape 387">
                <a:extLst>
                  <a:ext uri="{FF2B5EF4-FFF2-40B4-BE49-F238E27FC236}">
                    <a16:creationId xmlns:a16="http://schemas.microsoft.com/office/drawing/2014/main" id="{E94E9F05-33DE-4D5C-A15F-CF105BEC3CBE}"/>
                  </a:ext>
                </a:extLst>
              </p:cNvPr>
              <p:cNvSpPr/>
              <p:nvPr/>
            </p:nvSpPr>
            <p:spPr>
              <a:xfrm>
                <a:off x="13349846" y="7191186"/>
                <a:ext cx="108526" cy="108526"/>
              </a:xfrm>
              <a:custGeom>
                <a:avLst/>
                <a:gdLst>
                  <a:gd name="connsiteX0" fmla="*/ 0 w 38100"/>
                  <a:gd name="connsiteY0" fmla="*/ 5048 h 38100"/>
                  <a:gd name="connsiteX1" fmla="*/ 41529 w 38100"/>
                  <a:gd name="connsiteY1" fmla="*/ 41338 h 38100"/>
                  <a:gd name="connsiteX2" fmla="*/ 46196 w 38100"/>
                  <a:gd name="connsiteY2" fmla="*/ 35909 h 38100"/>
                  <a:gd name="connsiteX3" fmla="*/ 4286 w 38100"/>
                  <a:gd name="connsiteY3" fmla="*/ 0 h 38100"/>
                </a:gdLst>
                <a:ahLst/>
                <a:cxnLst>
                  <a:cxn ang="0">
                    <a:pos x="connsiteX0" y="connsiteY0"/>
                  </a:cxn>
                  <a:cxn ang="0">
                    <a:pos x="connsiteX1" y="connsiteY1"/>
                  </a:cxn>
                  <a:cxn ang="0">
                    <a:pos x="connsiteX2" y="connsiteY2"/>
                  </a:cxn>
                  <a:cxn ang="0">
                    <a:pos x="connsiteX3" y="connsiteY3"/>
                  </a:cxn>
                </a:cxnLst>
                <a:rect l="l" t="t" r="r" b="b"/>
                <a:pathLst>
                  <a:path w="38100" h="38100">
                    <a:moveTo>
                      <a:pt x="0" y="5048"/>
                    </a:moveTo>
                    <a:lnTo>
                      <a:pt x="41529" y="41338"/>
                    </a:lnTo>
                    <a:lnTo>
                      <a:pt x="46196" y="35909"/>
                    </a:lnTo>
                    <a:lnTo>
                      <a:pt x="4286" y="0"/>
                    </a:lnTo>
                    <a:close/>
                  </a:path>
                </a:pathLst>
              </a:custGeom>
              <a:solidFill>
                <a:srgbClr val="C4C4CD"/>
              </a:solidFill>
              <a:ln w="9525" cap="flat">
                <a:noFill/>
                <a:prstDash val="solid"/>
                <a:miter/>
              </a:ln>
            </p:spPr>
            <p:txBody>
              <a:bodyPr rtlCol="0" anchor="ctr"/>
              <a:lstStyle/>
              <a:p>
                <a:endParaRPr lang="en-IN"/>
              </a:p>
            </p:txBody>
          </p:sp>
          <p:sp>
            <p:nvSpPr>
              <p:cNvPr id="389" name="Freeform: Shape 388">
                <a:extLst>
                  <a:ext uri="{FF2B5EF4-FFF2-40B4-BE49-F238E27FC236}">
                    <a16:creationId xmlns:a16="http://schemas.microsoft.com/office/drawing/2014/main" id="{0F880B22-6997-4074-9D24-03623FEDBE3B}"/>
                  </a:ext>
                </a:extLst>
              </p:cNvPr>
              <p:cNvSpPr/>
              <p:nvPr/>
            </p:nvSpPr>
            <p:spPr>
              <a:xfrm>
                <a:off x="10927476" y="7952981"/>
                <a:ext cx="54263" cy="135642"/>
              </a:xfrm>
              <a:custGeom>
                <a:avLst/>
                <a:gdLst>
                  <a:gd name="connsiteX0" fmla="*/ 0 w 19050"/>
                  <a:gd name="connsiteY0" fmla="*/ 53435 h 47625"/>
                  <a:gd name="connsiteX1" fmla="*/ 7049 w 19050"/>
                  <a:gd name="connsiteY1" fmla="*/ 55150 h 47625"/>
                  <a:gd name="connsiteX2" fmla="*/ 20098 w 19050"/>
                  <a:gd name="connsiteY2" fmla="*/ 1619 h 47625"/>
                  <a:gd name="connsiteX3" fmla="*/ 13716 w 19050"/>
                  <a:gd name="connsiteY3" fmla="*/ 0 h 47625"/>
                  <a:gd name="connsiteX4" fmla="*/ 0 w 19050"/>
                  <a:gd name="connsiteY4" fmla="*/ 53435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3435"/>
                    </a:moveTo>
                    <a:cubicBezTo>
                      <a:pt x="2286" y="54007"/>
                      <a:pt x="4667" y="54578"/>
                      <a:pt x="7049" y="55150"/>
                    </a:cubicBezTo>
                    <a:lnTo>
                      <a:pt x="20098" y="1619"/>
                    </a:lnTo>
                    <a:cubicBezTo>
                      <a:pt x="18002" y="1143"/>
                      <a:pt x="15812" y="571"/>
                      <a:pt x="13716" y="0"/>
                    </a:cubicBezTo>
                    <a:lnTo>
                      <a:pt x="0" y="53435"/>
                    </a:lnTo>
                    <a:close/>
                  </a:path>
                </a:pathLst>
              </a:custGeom>
              <a:solidFill>
                <a:srgbClr val="C4C4CD"/>
              </a:solidFill>
              <a:ln w="9525" cap="flat">
                <a:noFill/>
                <a:prstDash val="solid"/>
                <a:miter/>
              </a:ln>
            </p:spPr>
            <p:txBody>
              <a:bodyPr rtlCol="0" anchor="ctr"/>
              <a:lstStyle/>
              <a:p>
                <a:endParaRPr lang="en-IN"/>
              </a:p>
            </p:txBody>
          </p:sp>
          <p:sp>
            <p:nvSpPr>
              <p:cNvPr id="390" name="Freeform: Shape 389">
                <a:extLst>
                  <a:ext uri="{FF2B5EF4-FFF2-40B4-BE49-F238E27FC236}">
                    <a16:creationId xmlns:a16="http://schemas.microsoft.com/office/drawing/2014/main" id="{D7741BF4-A7C8-42E6-A04E-0B1DA46C980E}"/>
                  </a:ext>
                </a:extLst>
              </p:cNvPr>
              <p:cNvSpPr/>
              <p:nvPr/>
            </p:nvSpPr>
            <p:spPr>
              <a:xfrm>
                <a:off x="11125790" y="7992319"/>
                <a:ext cx="27132" cy="135642"/>
              </a:xfrm>
              <a:custGeom>
                <a:avLst/>
                <a:gdLst>
                  <a:gd name="connsiteX0" fmla="*/ 0 w 9525"/>
                  <a:gd name="connsiteY0" fmla="*/ 54292 h 47625"/>
                  <a:gd name="connsiteX1" fmla="*/ 7048 w 9525"/>
                  <a:gd name="connsiteY1" fmla="*/ 55435 h 47625"/>
                  <a:gd name="connsiteX2" fmla="*/ 15811 w 9525"/>
                  <a:gd name="connsiteY2" fmla="*/ 1048 h 47625"/>
                  <a:gd name="connsiteX3" fmla="*/ 9239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292"/>
                    </a:moveTo>
                    <a:lnTo>
                      <a:pt x="7048" y="55435"/>
                    </a:lnTo>
                    <a:lnTo>
                      <a:pt x="15811" y="1048"/>
                    </a:lnTo>
                    <a:lnTo>
                      <a:pt x="9239" y="0"/>
                    </a:lnTo>
                    <a:close/>
                  </a:path>
                </a:pathLst>
              </a:custGeom>
              <a:solidFill>
                <a:srgbClr val="C4C4CD"/>
              </a:solidFill>
              <a:ln w="9525" cap="flat">
                <a:noFill/>
                <a:prstDash val="solid"/>
                <a:miter/>
              </a:ln>
            </p:spPr>
            <p:txBody>
              <a:bodyPr rtlCol="0" anchor="ctr"/>
              <a:lstStyle/>
              <a:p>
                <a:endParaRPr lang="en-IN"/>
              </a:p>
            </p:txBody>
          </p:sp>
          <p:sp>
            <p:nvSpPr>
              <p:cNvPr id="391" name="Freeform: Shape 390">
                <a:extLst>
                  <a:ext uri="{FF2B5EF4-FFF2-40B4-BE49-F238E27FC236}">
                    <a16:creationId xmlns:a16="http://schemas.microsoft.com/office/drawing/2014/main" id="{8BD3944B-7EB2-421D-AB53-99111A037C7E}"/>
                  </a:ext>
                </a:extLst>
              </p:cNvPr>
              <p:cNvSpPr/>
              <p:nvPr/>
            </p:nvSpPr>
            <p:spPr>
              <a:xfrm>
                <a:off x="11266856" y="3113382"/>
                <a:ext cx="27132" cy="135642"/>
              </a:xfrm>
              <a:custGeom>
                <a:avLst/>
                <a:gdLst>
                  <a:gd name="connsiteX0" fmla="*/ 0 w 9525"/>
                  <a:gd name="connsiteY0" fmla="*/ 762 h 47625"/>
                  <a:gd name="connsiteX1" fmla="*/ 6191 w 9525"/>
                  <a:gd name="connsiteY1" fmla="*/ 55531 h 47625"/>
                  <a:gd name="connsiteX2" fmla="*/ 12763 w 9525"/>
                  <a:gd name="connsiteY2" fmla="*/ 54864 h 47625"/>
                  <a:gd name="connsiteX3" fmla="*/ 7144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762"/>
                    </a:moveTo>
                    <a:lnTo>
                      <a:pt x="6191" y="55531"/>
                    </a:lnTo>
                    <a:lnTo>
                      <a:pt x="12763" y="54864"/>
                    </a:lnTo>
                    <a:lnTo>
                      <a:pt x="7144" y="0"/>
                    </a:lnTo>
                    <a:close/>
                  </a:path>
                </a:pathLst>
              </a:custGeom>
              <a:solidFill>
                <a:srgbClr val="C4C4CD"/>
              </a:solidFill>
              <a:ln w="9525" cap="flat">
                <a:noFill/>
                <a:prstDash val="solid"/>
                <a:miter/>
              </a:ln>
            </p:spPr>
            <p:txBody>
              <a:bodyPr rtlCol="0" anchor="ctr"/>
              <a:lstStyle/>
              <a:p>
                <a:endParaRPr lang="en-IN"/>
              </a:p>
            </p:txBody>
          </p:sp>
          <p:sp>
            <p:nvSpPr>
              <p:cNvPr id="392" name="Freeform: Shape 391">
                <a:extLst>
                  <a:ext uri="{FF2B5EF4-FFF2-40B4-BE49-F238E27FC236}">
                    <a16:creationId xmlns:a16="http://schemas.microsoft.com/office/drawing/2014/main" id="{3ED7A732-6F24-4593-8757-3328EF86DC24}"/>
                  </a:ext>
                </a:extLst>
              </p:cNvPr>
              <p:cNvSpPr/>
              <p:nvPr/>
            </p:nvSpPr>
            <p:spPr>
              <a:xfrm>
                <a:off x="11326542" y="8016465"/>
                <a:ext cx="27132" cy="135642"/>
              </a:xfrm>
              <a:custGeom>
                <a:avLst/>
                <a:gdLst>
                  <a:gd name="connsiteX0" fmla="*/ 0 w 9525"/>
                  <a:gd name="connsiteY0" fmla="*/ 54864 h 47625"/>
                  <a:gd name="connsiteX1" fmla="*/ 7144 w 9525"/>
                  <a:gd name="connsiteY1" fmla="*/ 55531 h 47625"/>
                  <a:gd name="connsiteX2" fmla="*/ 11525 w 9525"/>
                  <a:gd name="connsiteY2" fmla="*/ 571 h 47625"/>
                  <a:gd name="connsiteX3" fmla="*/ 4858 w 9525"/>
                  <a:gd name="connsiteY3" fmla="*/ 0 h 47625"/>
                </a:gdLst>
                <a:ahLst/>
                <a:cxnLst>
                  <a:cxn ang="0">
                    <a:pos x="connsiteX0" y="connsiteY0"/>
                  </a:cxn>
                  <a:cxn ang="0">
                    <a:pos x="connsiteX1" y="connsiteY1"/>
                  </a:cxn>
                  <a:cxn ang="0">
                    <a:pos x="connsiteX2" y="connsiteY2"/>
                  </a:cxn>
                  <a:cxn ang="0">
                    <a:pos x="connsiteX3" y="connsiteY3"/>
                  </a:cxn>
                </a:cxnLst>
                <a:rect l="l" t="t" r="r" b="b"/>
                <a:pathLst>
                  <a:path w="9525" h="47625">
                    <a:moveTo>
                      <a:pt x="0" y="54864"/>
                    </a:moveTo>
                    <a:lnTo>
                      <a:pt x="7144" y="55531"/>
                    </a:lnTo>
                    <a:lnTo>
                      <a:pt x="11525" y="571"/>
                    </a:lnTo>
                    <a:lnTo>
                      <a:pt x="4858" y="0"/>
                    </a:lnTo>
                    <a:close/>
                  </a:path>
                </a:pathLst>
              </a:custGeom>
              <a:solidFill>
                <a:srgbClr val="C4C4CD"/>
              </a:solidFill>
              <a:ln w="9525" cap="flat">
                <a:noFill/>
                <a:prstDash val="solid"/>
                <a:miter/>
              </a:ln>
            </p:spPr>
            <p:txBody>
              <a:bodyPr rtlCol="0" anchor="ctr"/>
              <a:lstStyle/>
              <a:p>
                <a:endParaRPr lang="en-IN"/>
              </a:p>
            </p:txBody>
          </p:sp>
          <p:sp>
            <p:nvSpPr>
              <p:cNvPr id="393" name="Freeform: Shape 392">
                <a:extLst>
                  <a:ext uri="{FF2B5EF4-FFF2-40B4-BE49-F238E27FC236}">
                    <a16:creationId xmlns:a16="http://schemas.microsoft.com/office/drawing/2014/main" id="{28580C0D-11F4-4FC1-89D7-A8C10078581B}"/>
                  </a:ext>
                </a:extLst>
              </p:cNvPr>
              <p:cNvSpPr/>
              <p:nvPr/>
            </p:nvSpPr>
            <p:spPr>
              <a:xfrm>
                <a:off x="11066651" y="3142155"/>
                <a:ext cx="27132" cy="135642"/>
              </a:xfrm>
              <a:custGeom>
                <a:avLst/>
                <a:gdLst>
                  <a:gd name="connsiteX0" fmla="*/ 7049 w 9525"/>
                  <a:gd name="connsiteY0" fmla="*/ 0 h 47625"/>
                  <a:gd name="connsiteX1" fmla="*/ 0 w 9525"/>
                  <a:gd name="connsiteY1" fmla="*/ 1333 h 47625"/>
                  <a:gd name="connsiteX2" fmla="*/ 10573 w 9525"/>
                  <a:gd name="connsiteY2" fmla="*/ 55531 h 47625"/>
                  <a:gd name="connsiteX3" fmla="*/ 17050 w 9525"/>
                  <a:gd name="connsiteY3" fmla="*/ 54292 h 47625"/>
                </a:gdLst>
                <a:ahLst/>
                <a:cxnLst>
                  <a:cxn ang="0">
                    <a:pos x="connsiteX0" y="connsiteY0"/>
                  </a:cxn>
                  <a:cxn ang="0">
                    <a:pos x="connsiteX1" y="connsiteY1"/>
                  </a:cxn>
                  <a:cxn ang="0">
                    <a:pos x="connsiteX2" y="connsiteY2"/>
                  </a:cxn>
                  <a:cxn ang="0">
                    <a:pos x="connsiteX3" y="connsiteY3"/>
                  </a:cxn>
                </a:cxnLst>
                <a:rect l="l" t="t" r="r" b="b"/>
                <a:pathLst>
                  <a:path w="9525" h="47625">
                    <a:moveTo>
                      <a:pt x="7049" y="0"/>
                    </a:moveTo>
                    <a:lnTo>
                      <a:pt x="0" y="1333"/>
                    </a:lnTo>
                    <a:lnTo>
                      <a:pt x="10573" y="55531"/>
                    </a:lnTo>
                    <a:lnTo>
                      <a:pt x="17050" y="54292"/>
                    </a:lnTo>
                    <a:close/>
                  </a:path>
                </a:pathLst>
              </a:custGeom>
              <a:solidFill>
                <a:srgbClr val="C4C4CD"/>
              </a:solidFill>
              <a:ln w="9525" cap="flat">
                <a:noFill/>
                <a:prstDash val="solid"/>
                <a:miter/>
              </a:ln>
            </p:spPr>
            <p:txBody>
              <a:bodyPr rtlCol="0" anchor="ctr"/>
              <a:lstStyle/>
              <a:p>
                <a:endParaRPr lang="en-IN"/>
              </a:p>
            </p:txBody>
          </p:sp>
          <p:sp>
            <p:nvSpPr>
              <p:cNvPr id="394" name="Freeform: Shape 393">
                <a:extLst>
                  <a:ext uri="{FF2B5EF4-FFF2-40B4-BE49-F238E27FC236}">
                    <a16:creationId xmlns:a16="http://schemas.microsoft.com/office/drawing/2014/main" id="{CF8B79AB-50F3-439C-B18F-707996450AC5}"/>
                  </a:ext>
                </a:extLst>
              </p:cNvPr>
              <p:cNvSpPr/>
              <p:nvPr/>
            </p:nvSpPr>
            <p:spPr>
              <a:xfrm>
                <a:off x="11468702" y="3100363"/>
                <a:ext cx="27132" cy="135642"/>
              </a:xfrm>
              <a:custGeom>
                <a:avLst/>
                <a:gdLst>
                  <a:gd name="connsiteX0" fmla="*/ 0 w 0"/>
                  <a:gd name="connsiteY0" fmla="*/ 191 h 47625"/>
                  <a:gd name="connsiteX1" fmla="*/ 1810 w 0"/>
                  <a:gd name="connsiteY1" fmla="*/ 55340 h 47625"/>
                  <a:gd name="connsiteX2" fmla="*/ 8477 w 0"/>
                  <a:gd name="connsiteY2" fmla="*/ 55150 h 47625"/>
                  <a:gd name="connsiteX3" fmla="*/ 7144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191"/>
                    </a:moveTo>
                    <a:lnTo>
                      <a:pt x="1810" y="55340"/>
                    </a:lnTo>
                    <a:lnTo>
                      <a:pt x="8477" y="55150"/>
                    </a:lnTo>
                    <a:lnTo>
                      <a:pt x="7144" y="0"/>
                    </a:lnTo>
                    <a:close/>
                  </a:path>
                </a:pathLst>
              </a:custGeom>
              <a:solidFill>
                <a:srgbClr val="C4C4CD"/>
              </a:solidFill>
              <a:ln w="9525" cap="flat">
                <a:noFill/>
                <a:prstDash val="solid"/>
                <a:miter/>
              </a:ln>
            </p:spPr>
            <p:txBody>
              <a:bodyPr rtlCol="0" anchor="ctr"/>
              <a:lstStyle/>
              <a:p>
                <a:endParaRPr lang="en-IN"/>
              </a:p>
            </p:txBody>
          </p:sp>
          <p:sp>
            <p:nvSpPr>
              <p:cNvPr id="395" name="Freeform: Shape 394">
                <a:extLst>
                  <a:ext uri="{FF2B5EF4-FFF2-40B4-BE49-F238E27FC236}">
                    <a16:creationId xmlns:a16="http://schemas.microsoft.com/office/drawing/2014/main" id="{6F20FF20-8AA0-4D94-B013-E5707C721019}"/>
                  </a:ext>
                </a:extLst>
              </p:cNvPr>
              <p:cNvSpPr/>
              <p:nvPr/>
            </p:nvSpPr>
            <p:spPr>
              <a:xfrm>
                <a:off x="10676806" y="3247680"/>
                <a:ext cx="54263" cy="135642"/>
              </a:xfrm>
              <a:custGeom>
                <a:avLst/>
                <a:gdLst>
                  <a:gd name="connsiteX0" fmla="*/ 25336 w 19050"/>
                  <a:gd name="connsiteY0" fmla="*/ 51911 h 47625"/>
                  <a:gd name="connsiteX1" fmla="*/ 6763 w 19050"/>
                  <a:gd name="connsiteY1" fmla="*/ 0 h 47625"/>
                  <a:gd name="connsiteX2" fmla="*/ 0 w 19050"/>
                  <a:gd name="connsiteY2" fmla="*/ 2477 h 47625"/>
                  <a:gd name="connsiteX3" fmla="*/ 19145 w 19050"/>
                  <a:gd name="connsiteY3" fmla="*/ 54197 h 47625"/>
                </a:gdLst>
                <a:ahLst/>
                <a:cxnLst>
                  <a:cxn ang="0">
                    <a:pos x="connsiteX0" y="connsiteY0"/>
                  </a:cxn>
                  <a:cxn ang="0">
                    <a:pos x="connsiteX1" y="connsiteY1"/>
                  </a:cxn>
                  <a:cxn ang="0">
                    <a:pos x="connsiteX2" y="connsiteY2"/>
                  </a:cxn>
                  <a:cxn ang="0">
                    <a:pos x="connsiteX3" y="connsiteY3"/>
                  </a:cxn>
                </a:cxnLst>
                <a:rect l="l" t="t" r="r" b="b"/>
                <a:pathLst>
                  <a:path w="19050" h="47625">
                    <a:moveTo>
                      <a:pt x="25336" y="51911"/>
                    </a:moveTo>
                    <a:lnTo>
                      <a:pt x="6763" y="0"/>
                    </a:lnTo>
                    <a:lnTo>
                      <a:pt x="0" y="2477"/>
                    </a:lnTo>
                    <a:lnTo>
                      <a:pt x="19145" y="54197"/>
                    </a:lnTo>
                    <a:close/>
                  </a:path>
                </a:pathLst>
              </a:custGeom>
              <a:solidFill>
                <a:srgbClr val="C4C4CD"/>
              </a:solidFill>
              <a:ln w="9525" cap="flat">
                <a:noFill/>
                <a:prstDash val="solid"/>
                <a:miter/>
              </a:ln>
            </p:spPr>
            <p:txBody>
              <a:bodyPr rtlCol="0" anchor="ctr"/>
              <a:lstStyle/>
              <a:p>
                <a:endParaRPr lang="en-IN"/>
              </a:p>
            </p:txBody>
          </p:sp>
          <p:sp>
            <p:nvSpPr>
              <p:cNvPr id="396" name="Freeform: Shape 395">
                <a:extLst>
                  <a:ext uri="{FF2B5EF4-FFF2-40B4-BE49-F238E27FC236}">
                    <a16:creationId xmlns:a16="http://schemas.microsoft.com/office/drawing/2014/main" id="{C19E183D-79AF-48E0-8630-E6B42BFE4C7F}"/>
                  </a:ext>
                </a:extLst>
              </p:cNvPr>
              <p:cNvSpPr/>
              <p:nvPr/>
            </p:nvSpPr>
            <p:spPr>
              <a:xfrm>
                <a:off x="10733226" y="7899265"/>
                <a:ext cx="54263" cy="135642"/>
              </a:xfrm>
              <a:custGeom>
                <a:avLst/>
                <a:gdLst>
                  <a:gd name="connsiteX0" fmla="*/ 0 w 19050"/>
                  <a:gd name="connsiteY0" fmla="*/ 52102 h 47625"/>
                  <a:gd name="connsiteX1" fmla="*/ 6858 w 19050"/>
                  <a:gd name="connsiteY1" fmla="*/ 54388 h 47625"/>
                  <a:gd name="connsiteX2" fmla="*/ 24194 w 19050"/>
                  <a:gd name="connsiteY2" fmla="*/ 2096 h 47625"/>
                  <a:gd name="connsiteX3" fmla="*/ 17907 w 19050"/>
                  <a:gd name="connsiteY3" fmla="*/ 0 h 47625"/>
                  <a:gd name="connsiteX4" fmla="*/ 0 w 19050"/>
                  <a:gd name="connsiteY4" fmla="*/ 5210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2102"/>
                    </a:moveTo>
                    <a:cubicBezTo>
                      <a:pt x="2286" y="52864"/>
                      <a:pt x="4572" y="53626"/>
                      <a:pt x="6858" y="54388"/>
                    </a:cubicBezTo>
                    <a:lnTo>
                      <a:pt x="24194" y="2096"/>
                    </a:lnTo>
                    <a:lnTo>
                      <a:pt x="17907" y="0"/>
                    </a:lnTo>
                    <a:lnTo>
                      <a:pt x="0" y="52102"/>
                    </a:lnTo>
                    <a:close/>
                  </a:path>
                </a:pathLst>
              </a:custGeom>
              <a:solidFill>
                <a:srgbClr val="C4C4CD"/>
              </a:solidFill>
              <a:ln w="9525" cap="flat">
                <a:noFill/>
                <a:prstDash val="solid"/>
                <a:miter/>
              </a:ln>
            </p:spPr>
            <p:txBody>
              <a:bodyPr rtlCol="0" anchor="ctr"/>
              <a:lstStyle/>
              <a:p>
                <a:endParaRPr lang="en-IN"/>
              </a:p>
            </p:txBody>
          </p:sp>
          <p:sp>
            <p:nvSpPr>
              <p:cNvPr id="397" name="Freeform: Shape 396">
                <a:extLst>
                  <a:ext uri="{FF2B5EF4-FFF2-40B4-BE49-F238E27FC236}">
                    <a16:creationId xmlns:a16="http://schemas.microsoft.com/office/drawing/2014/main" id="{F2DE7894-1F86-4C3B-A874-C2457DA3FDAD}"/>
                  </a:ext>
                </a:extLst>
              </p:cNvPr>
              <p:cNvSpPr/>
              <p:nvPr/>
            </p:nvSpPr>
            <p:spPr>
              <a:xfrm>
                <a:off x="10869697" y="3187181"/>
                <a:ext cx="54263" cy="135642"/>
              </a:xfrm>
              <a:custGeom>
                <a:avLst/>
                <a:gdLst>
                  <a:gd name="connsiteX0" fmla="*/ 6858 w 19050"/>
                  <a:gd name="connsiteY0" fmla="*/ 0 h 47625"/>
                  <a:gd name="connsiteX1" fmla="*/ 0 w 19050"/>
                  <a:gd name="connsiteY1" fmla="*/ 1905 h 47625"/>
                  <a:gd name="connsiteX2" fmla="*/ 14859 w 19050"/>
                  <a:gd name="connsiteY2" fmla="*/ 54959 h 47625"/>
                  <a:gd name="connsiteX3" fmla="*/ 21241 w 19050"/>
                  <a:gd name="connsiteY3" fmla="*/ 53245 h 47625"/>
                  <a:gd name="connsiteX4" fmla="*/ 6858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6858" y="0"/>
                    </a:moveTo>
                    <a:cubicBezTo>
                      <a:pt x="4572" y="667"/>
                      <a:pt x="2286" y="1238"/>
                      <a:pt x="0" y="1905"/>
                    </a:cubicBezTo>
                    <a:lnTo>
                      <a:pt x="14859" y="54959"/>
                    </a:lnTo>
                    <a:lnTo>
                      <a:pt x="21241" y="53245"/>
                    </a:lnTo>
                    <a:lnTo>
                      <a:pt x="6858" y="0"/>
                    </a:lnTo>
                    <a:close/>
                  </a:path>
                </a:pathLst>
              </a:custGeom>
              <a:solidFill>
                <a:srgbClr val="C4C4CD"/>
              </a:solidFill>
              <a:ln w="9525" cap="flat">
                <a:noFill/>
                <a:prstDash val="solid"/>
                <a:miter/>
              </a:ln>
            </p:spPr>
            <p:txBody>
              <a:bodyPr rtlCol="0" anchor="ctr"/>
              <a:lstStyle/>
              <a:p>
                <a:endParaRPr lang="en-IN"/>
              </a:p>
            </p:txBody>
          </p:sp>
          <p:sp>
            <p:nvSpPr>
              <p:cNvPr id="398" name="Freeform: Shape 397">
                <a:extLst>
                  <a:ext uri="{FF2B5EF4-FFF2-40B4-BE49-F238E27FC236}">
                    <a16:creationId xmlns:a16="http://schemas.microsoft.com/office/drawing/2014/main" id="{91AEA01C-7870-4B7C-B50D-81ADD5E10130}"/>
                  </a:ext>
                </a:extLst>
              </p:cNvPr>
              <p:cNvSpPr/>
              <p:nvPr/>
            </p:nvSpPr>
            <p:spPr>
              <a:xfrm>
                <a:off x="10544133" y="7830623"/>
                <a:ext cx="54263" cy="135642"/>
              </a:xfrm>
              <a:custGeom>
                <a:avLst/>
                <a:gdLst>
                  <a:gd name="connsiteX0" fmla="*/ 0 w 19050"/>
                  <a:gd name="connsiteY0" fmla="*/ 50483 h 47625"/>
                  <a:gd name="connsiteX1" fmla="*/ 6667 w 19050"/>
                  <a:gd name="connsiteY1" fmla="*/ 53340 h 47625"/>
                  <a:gd name="connsiteX2" fmla="*/ 28099 w 19050"/>
                  <a:gd name="connsiteY2" fmla="*/ 2572 h 47625"/>
                  <a:gd name="connsiteX3" fmla="*/ 22098 w 19050"/>
                  <a:gd name="connsiteY3" fmla="*/ 0 h 47625"/>
                  <a:gd name="connsiteX4" fmla="*/ 0 w 19050"/>
                  <a:gd name="connsiteY4" fmla="*/ 50483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50483"/>
                    </a:moveTo>
                    <a:cubicBezTo>
                      <a:pt x="2191" y="51435"/>
                      <a:pt x="4477" y="52388"/>
                      <a:pt x="6667" y="53340"/>
                    </a:cubicBezTo>
                    <a:lnTo>
                      <a:pt x="28099" y="2572"/>
                    </a:lnTo>
                    <a:cubicBezTo>
                      <a:pt x="26098" y="1715"/>
                      <a:pt x="24098" y="857"/>
                      <a:pt x="22098" y="0"/>
                    </a:cubicBezTo>
                    <a:lnTo>
                      <a:pt x="0" y="50483"/>
                    </a:lnTo>
                    <a:close/>
                  </a:path>
                </a:pathLst>
              </a:custGeom>
              <a:solidFill>
                <a:srgbClr val="C4C4CD"/>
              </a:solidFill>
              <a:ln w="9525" cap="flat">
                <a:noFill/>
                <a:prstDash val="solid"/>
                <a:miter/>
              </a:ln>
            </p:spPr>
            <p:txBody>
              <a:bodyPr rtlCol="0" anchor="ctr"/>
              <a:lstStyle/>
              <a:p>
                <a:endParaRPr lang="en-IN"/>
              </a:p>
            </p:txBody>
          </p:sp>
          <p:sp>
            <p:nvSpPr>
              <p:cNvPr id="399" name="Freeform: Shape 398">
                <a:extLst>
                  <a:ext uri="{FF2B5EF4-FFF2-40B4-BE49-F238E27FC236}">
                    <a16:creationId xmlns:a16="http://schemas.microsoft.com/office/drawing/2014/main" id="{7BA30FEA-CF77-4708-902F-497FB657EA04}"/>
                  </a:ext>
                </a:extLst>
              </p:cNvPr>
              <p:cNvSpPr/>
              <p:nvPr/>
            </p:nvSpPr>
            <p:spPr>
              <a:xfrm>
                <a:off x="11528654" y="8025405"/>
                <a:ext cx="27132" cy="135642"/>
              </a:xfrm>
              <a:custGeom>
                <a:avLst/>
                <a:gdLst>
                  <a:gd name="connsiteX0" fmla="*/ 0 w 0"/>
                  <a:gd name="connsiteY0" fmla="*/ 55150 h 47625"/>
                  <a:gd name="connsiteX1" fmla="*/ 7144 w 0"/>
                  <a:gd name="connsiteY1" fmla="*/ 55245 h 47625"/>
                  <a:gd name="connsiteX2" fmla="*/ 7144 w 0"/>
                  <a:gd name="connsiteY2" fmla="*/ 95 h 47625"/>
                  <a:gd name="connsiteX3" fmla="*/ 476 w 0"/>
                  <a:gd name="connsiteY3" fmla="*/ 0 h 47625"/>
                </a:gdLst>
                <a:ahLst/>
                <a:cxnLst>
                  <a:cxn ang="0">
                    <a:pos x="connsiteX0" y="connsiteY0"/>
                  </a:cxn>
                  <a:cxn ang="0">
                    <a:pos x="connsiteX1" y="connsiteY1"/>
                  </a:cxn>
                  <a:cxn ang="0">
                    <a:pos x="connsiteX2" y="connsiteY2"/>
                  </a:cxn>
                  <a:cxn ang="0">
                    <a:pos x="connsiteX3" y="connsiteY3"/>
                  </a:cxn>
                </a:cxnLst>
                <a:rect l="l" t="t" r="r" b="b"/>
                <a:pathLst>
                  <a:path h="47625">
                    <a:moveTo>
                      <a:pt x="0" y="55150"/>
                    </a:moveTo>
                    <a:lnTo>
                      <a:pt x="7144" y="55245"/>
                    </a:lnTo>
                    <a:lnTo>
                      <a:pt x="7144" y="95"/>
                    </a:lnTo>
                    <a:lnTo>
                      <a:pt x="476" y="0"/>
                    </a:lnTo>
                    <a:close/>
                  </a:path>
                </a:pathLst>
              </a:custGeom>
              <a:solidFill>
                <a:srgbClr val="C4C4CD"/>
              </a:solidFill>
              <a:ln w="9525" cap="flat">
                <a:noFill/>
                <a:prstDash val="solid"/>
                <a:miter/>
              </a:ln>
            </p:spPr>
            <p:txBody>
              <a:bodyPr rtlCol="0" anchor="ctr"/>
              <a:lstStyle/>
              <a:p>
                <a:endParaRPr lang="en-IN"/>
              </a:p>
            </p:txBody>
          </p:sp>
          <p:sp>
            <p:nvSpPr>
              <p:cNvPr id="400" name="Freeform: Shape 399">
                <a:extLst>
                  <a:ext uri="{FF2B5EF4-FFF2-40B4-BE49-F238E27FC236}">
                    <a16:creationId xmlns:a16="http://schemas.microsoft.com/office/drawing/2014/main" id="{4955C62B-5619-4FAA-ACBC-EA8AFC919D7A}"/>
                  </a:ext>
                </a:extLst>
              </p:cNvPr>
              <p:cNvSpPr/>
              <p:nvPr/>
            </p:nvSpPr>
            <p:spPr>
              <a:xfrm>
                <a:off x="12040325" y="3153267"/>
                <a:ext cx="27132" cy="135642"/>
              </a:xfrm>
              <a:custGeom>
                <a:avLst/>
                <a:gdLst>
                  <a:gd name="connsiteX0" fmla="*/ 11335 w 9525"/>
                  <a:gd name="connsiteY0" fmla="*/ 0 h 47625"/>
                  <a:gd name="connsiteX1" fmla="*/ 0 w 9525"/>
                  <a:gd name="connsiteY1" fmla="*/ 54007 h 47625"/>
                  <a:gd name="connsiteX2" fmla="*/ 6477 w 9525"/>
                  <a:gd name="connsiteY2" fmla="*/ 55435 h 47625"/>
                  <a:gd name="connsiteX3" fmla="*/ 18288 w 9525"/>
                  <a:gd name="connsiteY3" fmla="*/ 1619 h 47625"/>
                  <a:gd name="connsiteX4" fmla="*/ 11335 w 9525"/>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11335" y="0"/>
                    </a:moveTo>
                    <a:lnTo>
                      <a:pt x="0" y="54007"/>
                    </a:lnTo>
                    <a:lnTo>
                      <a:pt x="6477" y="55435"/>
                    </a:lnTo>
                    <a:lnTo>
                      <a:pt x="18288" y="1619"/>
                    </a:lnTo>
                    <a:cubicBezTo>
                      <a:pt x="16002" y="1048"/>
                      <a:pt x="13716" y="476"/>
                      <a:pt x="11335" y="0"/>
                    </a:cubicBezTo>
                    <a:close/>
                  </a:path>
                </a:pathLst>
              </a:custGeom>
              <a:solidFill>
                <a:srgbClr val="C4C4CD"/>
              </a:solidFill>
              <a:ln w="9525" cap="flat">
                <a:noFill/>
                <a:prstDash val="solid"/>
                <a:miter/>
              </a:ln>
            </p:spPr>
            <p:txBody>
              <a:bodyPr rtlCol="0" anchor="ctr"/>
              <a:lstStyle/>
              <a:p>
                <a:endParaRPr lang="en-IN"/>
              </a:p>
            </p:txBody>
          </p:sp>
          <p:sp>
            <p:nvSpPr>
              <p:cNvPr id="401" name="Freeform: Shape 400">
                <a:extLst>
                  <a:ext uri="{FF2B5EF4-FFF2-40B4-BE49-F238E27FC236}">
                    <a16:creationId xmlns:a16="http://schemas.microsoft.com/office/drawing/2014/main" id="{00E1A5B7-CBEA-4D44-874F-C6323372882D}"/>
                  </a:ext>
                </a:extLst>
              </p:cNvPr>
              <p:cNvSpPr/>
              <p:nvPr/>
            </p:nvSpPr>
            <p:spPr>
              <a:xfrm>
                <a:off x="12066362" y="7965453"/>
                <a:ext cx="27132" cy="135642"/>
              </a:xfrm>
              <a:custGeom>
                <a:avLst/>
                <a:gdLst>
                  <a:gd name="connsiteX0" fmla="*/ 0 w 9525"/>
                  <a:gd name="connsiteY0" fmla="*/ 1524 h 47625"/>
                  <a:gd name="connsiteX1" fmla="*/ 11811 w 9525"/>
                  <a:gd name="connsiteY1" fmla="*/ 55340 h 47625"/>
                  <a:gd name="connsiteX2" fmla="*/ 18859 w 9525"/>
                  <a:gd name="connsiteY2" fmla="*/ 53721 h 47625"/>
                  <a:gd name="connsiteX3" fmla="*/ 6382 w 9525"/>
                  <a:gd name="connsiteY3" fmla="*/ 0 h 47625"/>
                  <a:gd name="connsiteX4" fmla="*/ 0 w 9525"/>
                  <a:gd name="connsiteY4" fmla="*/ 152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1524"/>
                    </a:moveTo>
                    <a:lnTo>
                      <a:pt x="11811" y="55340"/>
                    </a:lnTo>
                    <a:cubicBezTo>
                      <a:pt x="14192" y="54864"/>
                      <a:pt x="16478" y="54292"/>
                      <a:pt x="18859" y="53721"/>
                    </a:cubicBezTo>
                    <a:lnTo>
                      <a:pt x="6382" y="0"/>
                    </a:lnTo>
                    <a:cubicBezTo>
                      <a:pt x="4286" y="571"/>
                      <a:pt x="2191" y="1048"/>
                      <a:pt x="0" y="1524"/>
                    </a:cubicBezTo>
                    <a:close/>
                  </a:path>
                </a:pathLst>
              </a:custGeom>
              <a:solidFill>
                <a:srgbClr val="C4C4CD"/>
              </a:solidFill>
              <a:ln w="9525" cap="flat">
                <a:noFill/>
                <a:prstDash val="solid"/>
                <a:miter/>
              </a:ln>
            </p:spPr>
            <p:txBody>
              <a:bodyPr rtlCol="0" anchor="ctr"/>
              <a:lstStyle/>
              <a:p>
                <a:endParaRPr lang="en-IN"/>
              </a:p>
            </p:txBody>
          </p:sp>
          <p:sp>
            <p:nvSpPr>
              <p:cNvPr id="402" name="Freeform: Shape 401">
                <a:extLst>
                  <a:ext uri="{FF2B5EF4-FFF2-40B4-BE49-F238E27FC236}">
                    <a16:creationId xmlns:a16="http://schemas.microsoft.com/office/drawing/2014/main" id="{F33472AE-B179-4641-B6CD-4E4099F72FED}"/>
                  </a:ext>
                </a:extLst>
              </p:cNvPr>
              <p:cNvSpPr/>
              <p:nvPr/>
            </p:nvSpPr>
            <p:spPr>
              <a:xfrm>
                <a:off x="12224792" y="3202638"/>
                <a:ext cx="54263" cy="135642"/>
              </a:xfrm>
              <a:custGeom>
                <a:avLst/>
                <a:gdLst>
                  <a:gd name="connsiteX0" fmla="*/ 15526 w 19050"/>
                  <a:gd name="connsiteY0" fmla="*/ 0 h 47625"/>
                  <a:gd name="connsiteX1" fmla="*/ 0 w 19050"/>
                  <a:gd name="connsiteY1" fmla="*/ 52959 h 47625"/>
                  <a:gd name="connsiteX2" fmla="*/ 6382 w 19050"/>
                  <a:gd name="connsiteY2" fmla="*/ 54864 h 47625"/>
                  <a:gd name="connsiteX3" fmla="*/ 22384 w 19050"/>
                  <a:gd name="connsiteY3" fmla="*/ 2095 h 47625"/>
                </a:gdLst>
                <a:ahLst/>
                <a:cxnLst>
                  <a:cxn ang="0">
                    <a:pos x="connsiteX0" y="connsiteY0"/>
                  </a:cxn>
                  <a:cxn ang="0">
                    <a:pos x="connsiteX1" y="connsiteY1"/>
                  </a:cxn>
                  <a:cxn ang="0">
                    <a:pos x="connsiteX2" y="connsiteY2"/>
                  </a:cxn>
                  <a:cxn ang="0">
                    <a:pos x="connsiteX3" y="connsiteY3"/>
                  </a:cxn>
                </a:cxnLst>
                <a:rect l="l" t="t" r="r" b="b"/>
                <a:pathLst>
                  <a:path w="19050" h="47625">
                    <a:moveTo>
                      <a:pt x="15526" y="0"/>
                    </a:moveTo>
                    <a:lnTo>
                      <a:pt x="0" y="52959"/>
                    </a:lnTo>
                    <a:lnTo>
                      <a:pt x="6382" y="54864"/>
                    </a:lnTo>
                    <a:lnTo>
                      <a:pt x="22384" y="2095"/>
                    </a:lnTo>
                    <a:close/>
                  </a:path>
                </a:pathLst>
              </a:custGeom>
              <a:solidFill>
                <a:srgbClr val="C4C4CD"/>
              </a:solidFill>
              <a:ln w="9525" cap="flat">
                <a:noFill/>
                <a:prstDash val="solid"/>
                <a:miter/>
              </a:ln>
            </p:spPr>
            <p:txBody>
              <a:bodyPr rtlCol="0" anchor="ctr"/>
              <a:lstStyle/>
              <a:p>
                <a:endParaRPr lang="en-IN"/>
              </a:p>
            </p:txBody>
          </p:sp>
          <p:sp>
            <p:nvSpPr>
              <p:cNvPr id="403" name="Freeform: Shape 402">
                <a:extLst>
                  <a:ext uri="{FF2B5EF4-FFF2-40B4-BE49-F238E27FC236}">
                    <a16:creationId xmlns:a16="http://schemas.microsoft.com/office/drawing/2014/main" id="{6E1C153E-35BD-4585-8BBD-09E7DEB839F8}"/>
                  </a:ext>
                </a:extLst>
              </p:cNvPr>
              <p:cNvSpPr/>
              <p:nvPr/>
            </p:nvSpPr>
            <p:spPr>
              <a:xfrm>
                <a:off x="12250032" y="7915816"/>
                <a:ext cx="54263" cy="135642"/>
              </a:xfrm>
              <a:custGeom>
                <a:avLst/>
                <a:gdLst>
                  <a:gd name="connsiteX0" fmla="*/ 0 w 19050"/>
                  <a:gd name="connsiteY0" fmla="*/ 2000 h 47625"/>
                  <a:gd name="connsiteX1" fmla="*/ 16193 w 19050"/>
                  <a:gd name="connsiteY1" fmla="*/ 54674 h 47625"/>
                  <a:gd name="connsiteX2" fmla="*/ 23051 w 19050"/>
                  <a:gd name="connsiteY2" fmla="*/ 52578 h 47625"/>
                  <a:gd name="connsiteX3" fmla="*/ 6382 w 19050"/>
                  <a:gd name="connsiteY3" fmla="*/ 0 h 47625"/>
                  <a:gd name="connsiteX4" fmla="*/ 0 w 19050"/>
                  <a:gd name="connsiteY4" fmla="*/ 200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0" y="2000"/>
                    </a:moveTo>
                    <a:lnTo>
                      <a:pt x="16193" y="54674"/>
                    </a:lnTo>
                    <a:cubicBezTo>
                      <a:pt x="18479" y="54007"/>
                      <a:pt x="20765" y="53245"/>
                      <a:pt x="23051" y="52578"/>
                    </a:cubicBezTo>
                    <a:lnTo>
                      <a:pt x="6382" y="0"/>
                    </a:lnTo>
                    <a:lnTo>
                      <a:pt x="0" y="2000"/>
                    </a:lnTo>
                    <a:close/>
                  </a:path>
                </a:pathLst>
              </a:custGeom>
              <a:solidFill>
                <a:srgbClr val="C4C4CD"/>
              </a:solidFill>
              <a:ln w="9525" cap="flat">
                <a:noFill/>
                <a:prstDash val="solid"/>
                <a:miter/>
              </a:ln>
            </p:spPr>
            <p:txBody>
              <a:bodyPr rtlCol="0" anchor="ctr"/>
              <a:lstStyle/>
              <a:p>
                <a:endParaRPr lang="en-IN"/>
              </a:p>
            </p:txBody>
          </p:sp>
          <p:sp>
            <p:nvSpPr>
              <p:cNvPr id="404" name="Freeform: Shape 403">
                <a:extLst>
                  <a:ext uri="{FF2B5EF4-FFF2-40B4-BE49-F238E27FC236}">
                    <a16:creationId xmlns:a16="http://schemas.microsoft.com/office/drawing/2014/main" id="{83AE68ED-23CE-4C2B-A1C7-03AF54E95886}"/>
                  </a:ext>
                </a:extLst>
              </p:cNvPr>
              <p:cNvSpPr/>
              <p:nvPr/>
            </p:nvSpPr>
            <p:spPr>
              <a:xfrm>
                <a:off x="12404663" y="3267748"/>
                <a:ext cx="54263" cy="135642"/>
              </a:xfrm>
              <a:custGeom>
                <a:avLst/>
                <a:gdLst>
                  <a:gd name="connsiteX0" fmla="*/ 19812 w 19050"/>
                  <a:gd name="connsiteY0" fmla="*/ 0 h 47625"/>
                  <a:gd name="connsiteX1" fmla="*/ 0 w 19050"/>
                  <a:gd name="connsiteY1" fmla="*/ 51435 h 47625"/>
                  <a:gd name="connsiteX2" fmla="*/ 6191 w 19050"/>
                  <a:gd name="connsiteY2" fmla="*/ 53816 h 47625"/>
                  <a:gd name="connsiteX3" fmla="*/ 26479 w 19050"/>
                  <a:gd name="connsiteY3" fmla="*/ 2572 h 47625"/>
                  <a:gd name="connsiteX4" fmla="*/ 19812 w 19050"/>
                  <a:gd name="connsiteY4" fmla="*/ 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47625">
                    <a:moveTo>
                      <a:pt x="19812" y="0"/>
                    </a:moveTo>
                    <a:lnTo>
                      <a:pt x="0" y="51435"/>
                    </a:lnTo>
                    <a:lnTo>
                      <a:pt x="6191" y="53816"/>
                    </a:lnTo>
                    <a:lnTo>
                      <a:pt x="26479" y="2572"/>
                    </a:lnTo>
                    <a:cubicBezTo>
                      <a:pt x="24289" y="1715"/>
                      <a:pt x="22098" y="857"/>
                      <a:pt x="19812" y="0"/>
                    </a:cubicBezTo>
                    <a:close/>
                  </a:path>
                </a:pathLst>
              </a:custGeom>
              <a:solidFill>
                <a:srgbClr val="C4C4CD"/>
              </a:solidFill>
              <a:ln w="9525" cap="flat">
                <a:noFill/>
                <a:prstDash val="solid"/>
                <a:miter/>
              </a:ln>
            </p:spPr>
            <p:txBody>
              <a:bodyPr rtlCol="0" anchor="ctr"/>
              <a:lstStyle/>
              <a:p>
                <a:endParaRPr lang="en-IN"/>
              </a:p>
            </p:txBody>
          </p:sp>
          <p:sp>
            <p:nvSpPr>
              <p:cNvPr id="405" name="Freeform: Shape 404">
                <a:extLst>
                  <a:ext uri="{FF2B5EF4-FFF2-40B4-BE49-F238E27FC236}">
                    <a16:creationId xmlns:a16="http://schemas.microsoft.com/office/drawing/2014/main" id="{36D81F40-9A3B-4356-8705-B2D64ACD27D8}"/>
                  </a:ext>
                </a:extLst>
              </p:cNvPr>
              <p:cNvSpPr/>
              <p:nvPr/>
            </p:nvSpPr>
            <p:spPr>
              <a:xfrm>
                <a:off x="11879442" y="8000461"/>
                <a:ext cx="27132" cy="135642"/>
              </a:xfrm>
              <a:custGeom>
                <a:avLst/>
                <a:gdLst>
                  <a:gd name="connsiteX0" fmla="*/ 0 w 9525"/>
                  <a:gd name="connsiteY0" fmla="*/ 952 h 47625"/>
                  <a:gd name="connsiteX1" fmla="*/ 7429 w 9525"/>
                  <a:gd name="connsiteY1" fmla="*/ 55626 h 47625"/>
                  <a:gd name="connsiteX2" fmla="*/ 14573 w 9525"/>
                  <a:gd name="connsiteY2" fmla="*/ 54578 h 47625"/>
                  <a:gd name="connsiteX3" fmla="*/ 6477 w 9525"/>
                  <a:gd name="connsiteY3" fmla="*/ 0 h 47625"/>
                  <a:gd name="connsiteX4" fmla="*/ 0 w 9525"/>
                  <a:gd name="connsiteY4" fmla="*/ 952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952"/>
                    </a:moveTo>
                    <a:lnTo>
                      <a:pt x="7429" y="55626"/>
                    </a:lnTo>
                    <a:cubicBezTo>
                      <a:pt x="9811" y="55340"/>
                      <a:pt x="12192" y="54959"/>
                      <a:pt x="14573" y="54578"/>
                    </a:cubicBezTo>
                    <a:lnTo>
                      <a:pt x="6477" y="0"/>
                    </a:lnTo>
                    <a:cubicBezTo>
                      <a:pt x="4381" y="381"/>
                      <a:pt x="2191" y="667"/>
                      <a:pt x="0" y="952"/>
                    </a:cubicBezTo>
                    <a:close/>
                  </a:path>
                </a:pathLst>
              </a:custGeom>
              <a:solidFill>
                <a:srgbClr val="C4C4CD"/>
              </a:solidFill>
              <a:ln w="9525" cap="flat">
                <a:noFill/>
                <a:prstDash val="solid"/>
                <a:miter/>
              </a:ln>
            </p:spPr>
            <p:txBody>
              <a:bodyPr rtlCol="0" anchor="ctr"/>
              <a:lstStyle/>
              <a:p>
                <a:endParaRPr lang="en-IN"/>
              </a:p>
            </p:txBody>
          </p:sp>
          <p:sp>
            <p:nvSpPr>
              <p:cNvPr id="406" name="Freeform: Shape 405">
                <a:extLst>
                  <a:ext uri="{FF2B5EF4-FFF2-40B4-BE49-F238E27FC236}">
                    <a16:creationId xmlns:a16="http://schemas.microsoft.com/office/drawing/2014/main" id="{4B196F19-52C9-406F-83AB-0B955DBB4BA9}"/>
                  </a:ext>
                </a:extLst>
              </p:cNvPr>
              <p:cNvSpPr/>
              <p:nvPr/>
            </p:nvSpPr>
            <p:spPr>
              <a:xfrm>
                <a:off x="11690349" y="8020263"/>
                <a:ext cx="27132" cy="135642"/>
              </a:xfrm>
              <a:custGeom>
                <a:avLst/>
                <a:gdLst>
                  <a:gd name="connsiteX0" fmla="*/ 0 w 9525"/>
                  <a:gd name="connsiteY0" fmla="*/ 476 h 47625"/>
                  <a:gd name="connsiteX1" fmla="*/ 3048 w 9525"/>
                  <a:gd name="connsiteY1" fmla="*/ 55531 h 47625"/>
                  <a:gd name="connsiteX2" fmla="*/ 10287 w 9525"/>
                  <a:gd name="connsiteY2" fmla="*/ 55054 h 47625"/>
                  <a:gd name="connsiteX3" fmla="*/ 6572 w 9525"/>
                  <a:gd name="connsiteY3" fmla="*/ 0 h 47625"/>
                  <a:gd name="connsiteX4" fmla="*/ 0 w 9525"/>
                  <a:gd name="connsiteY4" fmla="*/ 47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47625">
                    <a:moveTo>
                      <a:pt x="0" y="476"/>
                    </a:moveTo>
                    <a:lnTo>
                      <a:pt x="3048" y="55531"/>
                    </a:lnTo>
                    <a:cubicBezTo>
                      <a:pt x="5429" y="55435"/>
                      <a:pt x="7810" y="55245"/>
                      <a:pt x="10287" y="55054"/>
                    </a:cubicBezTo>
                    <a:lnTo>
                      <a:pt x="6572" y="0"/>
                    </a:lnTo>
                    <a:cubicBezTo>
                      <a:pt x="4381" y="191"/>
                      <a:pt x="2191" y="381"/>
                      <a:pt x="0" y="476"/>
                    </a:cubicBezTo>
                    <a:close/>
                  </a:path>
                </a:pathLst>
              </a:custGeom>
              <a:solidFill>
                <a:srgbClr val="C4C4CD"/>
              </a:solidFill>
              <a:ln w="9525" cap="flat">
                <a:noFill/>
                <a:prstDash val="solid"/>
                <a:miter/>
              </a:ln>
            </p:spPr>
            <p:txBody>
              <a:bodyPr rtlCol="0" anchor="ctr"/>
              <a:lstStyle/>
              <a:p>
                <a:endParaRPr lang="en-IN"/>
              </a:p>
            </p:txBody>
          </p:sp>
          <p:sp>
            <p:nvSpPr>
              <p:cNvPr id="407" name="Freeform: Shape 406">
                <a:extLst>
                  <a:ext uri="{FF2B5EF4-FFF2-40B4-BE49-F238E27FC236}">
                    <a16:creationId xmlns:a16="http://schemas.microsoft.com/office/drawing/2014/main" id="{3390D830-6D02-4E5C-9B88-13DB32CB0A22}"/>
                  </a:ext>
                </a:extLst>
              </p:cNvPr>
              <p:cNvSpPr/>
              <p:nvPr/>
            </p:nvSpPr>
            <p:spPr>
              <a:xfrm>
                <a:off x="11664030" y="3102536"/>
                <a:ext cx="27132" cy="135642"/>
              </a:xfrm>
              <a:custGeom>
                <a:avLst/>
                <a:gdLst>
                  <a:gd name="connsiteX0" fmla="*/ 2572 w 9525"/>
                  <a:gd name="connsiteY0" fmla="*/ 0 h 47625"/>
                  <a:gd name="connsiteX1" fmla="*/ 0 w 9525"/>
                  <a:gd name="connsiteY1" fmla="*/ 55054 h 47625"/>
                  <a:gd name="connsiteX2" fmla="*/ 6572 w 9525"/>
                  <a:gd name="connsiteY2" fmla="*/ 55340 h 47625"/>
                  <a:gd name="connsiteX3" fmla="*/ 9716 w 9525"/>
                  <a:gd name="connsiteY3" fmla="*/ 286 h 47625"/>
                </a:gdLst>
                <a:ahLst/>
                <a:cxnLst>
                  <a:cxn ang="0">
                    <a:pos x="connsiteX0" y="connsiteY0"/>
                  </a:cxn>
                  <a:cxn ang="0">
                    <a:pos x="connsiteX1" y="connsiteY1"/>
                  </a:cxn>
                  <a:cxn ang="0">
                    <a:pos x="connsiteX2" y="connsiteY2"/>
                  </a:cxn>
                  <a:cxn ang="0">
                    <a:pos x="connsiteX3" y="connsiteY3"/>
                  </a:cxn>
                </a:cxnLst>
                <a:rect l="l" t="t" r="r" b="b"/>
                <a:pathLst>
                  <a:path w="9525" h="47625">
                    <a:moveTo>
                      <a:pt x="2572" y="0"/>
                    </a:moveTo>
                    <a:lnTo>
                      <a:pt x="0" y="55054"/>
                    </a:lnTo>
                    <a:lnTo>
                      <a:pt x="6572" y="55340"/>
                    </a:lnTo>
                    <a:lnTo>
                      <a:pt x="9716" y="286"/>
                    </a:lnTo>
                    <a:close/>
                  </a:path>
                </a:pathLst>
              </a:custGeom>
              <a:solidFill>
                <a:srgbClr val="C4C4CD"/>
              </a:solidFill>
              <a:ln w="9525" cap="flat">
                <a:noFill/>
                <a:prstDash val="solid"/>
                <a:miter/>
              </a:ln>
            </p:spPr>
            <p:txBody>
              <a:bodyPr rtlCol="0" anchor="ctr"/>
              <a:lstStyle/>
              <a:p>
                <a:endParaRPr lang="en-IN"/>
              </a:p>
            </p:txBody>
          </p:sp>
          <p:sp>
            <p:nvSpPr>
              <p:cNvPr id="408" name="Freeform: Shape 407">
                <a:extLst>
                  <a:ext uri="{FF2B5EF4-FFF2-40B4-BE49-F238E27FC236}">
                    <a16:creationId xmlns:a16="http://schemas.microsoft.com/office/drawing/2014/main" id="{BD93F08E-A29F-411B-B65D-070F1F22B390}"/>
                  </a:ext>
                </a:extLst>
              </p:cNvPr>
              <p:cNvSpPr/>
              <p:nvPr/>
            </p:nvSpPr>
            <p:spPr>
              <a:xfrm>
                <a:off x="11853139" y="3119899"/>
                <a:ext cx="27132" cy="135642"/>
              </a:xfrm>
              <a:custGeom>
                <a:avLst/>
                <a:gdLst>
                  <a:gd name="connsiteX0" fmla="*/ 6953 w 9525"/>
                  <a:gd name="connsiteY0" fmla="*/ 0 h 47625"/>
                  <a:gd name="connsiteX1" fmla="*/ 0 w 9525"/>
                  <a:gd name="connsiteY1" fmla="*/ 54674 h 47625"/>
                  <a:gd name="connsiteX2" fmla="*/ 6667 w 9525"/>
                  <a:gd name="connsiteY2" fmla="*/ 55531 h 47625"/>
                  <a:gd name="connsiteX3" fmla="*/ 14097 w 9525"/>
                  <a:gd name="connsiteY3" fmla="*/ 953 h 47625"/>
                </a:gdLst>
                <a:ahLst/>
                <a:cxnLst>
                  <a:cxn ang="0">
                    <a:pos x="connsiteX0" y="connsiteY0"/>
                  </a:cxn>
                  <a:cxn ang="0">
                    <a:pos x="connsiteX1" y="connsiteY1"/>
                  </a:cxn>
                  <a:cxn ang="0">
                    <a:pos x="connsiteX2" y="connsiteY2"/>
                  </a:cxn>
                  <a:cxn ang="0">
                    <a:pos x="connsiteX3" y="connsiteY3"/>
                  </a:cxn>
                </a:cxnLst>
                <a:rect l="l" t="t" r="r" b="b"/>
                <a:pathLst>
                  <a:path w="9525" h="47625">
                    <a:moveTo>
                      <a:pt x="6953" y="0"/>
                    </a:moveTo>
                    <a:lnTo>
                      <a:pt x="0" y="54674"/>
                    </a:lnTo>
                    <a:lnTo>
                      <a:pt x="6667" y="55531"/>
                    </a:lnTo>
                    <a:lnTo>
                      <a:pt x="14097" y="953"/>
                    </a:lnTo>
                    <a:close/>
                  </a:path>
                </a:pathLst>
              </a:custGeom>
              <a:solidFill>
                <a:srgbClr val="C4C4CD"/>
              </a:solidFill>
              <a:ln w="9525" cap="flat">
                <a:noFill/>
                <a:prstDash val="solid"/>
                <a:miter/>
              </a:ln>
            </p:spPr>
            <p:txBody>
              <a:bodyPr rtlCol="0" anchor="ctr"/>
              <a:lstStyle/>
              <a:p>
                <a:endParaRPr lang="en-IN"/>
              </a:p>
            </p:txBody>
          </p:sp>
          <p:sp>
            <p:nvSpPr>
              <p:cNvPr id="409" name="Freeform: Shape 408">
                <a:extLst>
                  <a:ext uri="{FF2B5EF4-FFF2-40B4-BE49-F238E27FC236}">
                    <a16:creationId xmlns:a16="http://schemas.microsoft.com/office/drawing/2014/main" id="{A2612C18-5DE5-4A5D-943D-DBEE8CF7865C}"/>
                  </a:ext>
                </a:extLst>
              </p:cNvPr>
              <p:cNvSpPr/>
              <p:nvPr/>
            </p:nvSpPr>
            <p:spPr>
              <a:xfrm>
                <a:off x="9455712" y="3545284"/>
                <a:ext cx="4177922" cy="4177907"/>
              </a:xfrm>
              <a:custGeom>
                <a:avLst/>
                <a:gdLst>
                  <a:gd name="connsiteX0" fmla="*/ 735902 w 1466850"/>
                  <a:gd name="connsiteY0" fmla="*/ 1471803 h 1466850"/>
                  <a:gd name="connsiteX1" fmla="*/ 0 w 1466850"/>
                  <a:gd name="connsiteY1" fmla="*/ 735902 h 1466850"/>
                  <a:gd name="connsiteX2" fmla="*/ 735902 w 1466850"/>
                  <a:gd name="connsiteY2" fmla="*/ 0 h 1466850"/>
                  <a:gd name="connsiteX3" fmla="*/ 1471803 w 1466850"/>
                  <a:gd name="connsiteY3" fmla="*/ 735902 h 1466850"/>
                  <a:gd name="connsiteX4" fmla="*/ 735902 w 1466850"/>
                  <a:gd name="connsiteY4" fmla="*/ 1471803 h 1466850"/>
                  <a:gd name="connsiteX5" fmla="*/ 735902 w 1466850"/>
                  <a:gd name="connsiteY5" fmla="*/ 9049 h 1466850"/>
                  <a:gd name="connsiteX6" fmla="*/ 9049 w 1466850"/>
                  <a:gd name="connsiteY6" fmla="*/ 735902 h 1466850"/>
                  <a:gd name="connsiteX7" fmla="*/ 735902 w 1466850"/>
                  <a:gd name="connsiteY7" fmla="*/ 1462754 h 1466850"/>
                  <a:gd name="connsiteX8" fmla="*/ 1462754 w 1466850"/>
                  <a:gd name="connsiteY8" fmla="*/ 735902 h 1466850"/>
                  <a:gd name="connsiteX9" fmla="*/ 735902 w 1466850"/>
                  <a:gd name="connsiteY9" fmla="*/ 9049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850" h="1466850">
                    <a:moveTo>
                      <a:pt x="735902" y="1471803"/>
                    </a:moveTo>
                    <a:cubicBezTo>
                      <a:pt x="330136" y="1471803"/>
                      <a:pt x="0" y="1141667"/>
                      <a:pt x="0" y="735902"/>
                    </a:cubicBezTo>
                    <a:cubicBezTo>
                      <a:pt x="0" y="330137"/>
                      <a:pt x="330136" y="0"/>
                      <a:pt x="735902" y="0"/>
                    </a:cubicBezTo>
                    <a:cubicBezTo>
                      <a:pt x="1141666" y="0"/>
                      <a:pt x="1471803" y="330137"/>
                      <a:pt x="1471803" y="735902"/>
                    </a:cubicBezTo>
                    <a:cubicBezTo>
                      <a:pt x="1471803" y="1141667"/>
                      <a:pt x="1141666" y="1471803"/>
                      <a:pt x="735902" y="1471803"/>
                    </a:cubicBezTo>
                    <a:close/>
                    <a:moveTo>
                      <a:pt x="735902" y="9049"/>
                    </a:moveTo>
                    <a:cubicBezTo>
                      <a:pt x="335090" y="9049"/>
                      <a:pt x="9049" y="335090"/>
                      <a:pt x="9049" y="735902"/>
                    </a:cubicBezTo>
                    <a:cubicBezTo>
                      <a:pt x="9049" y="1136714"/>
                      <a:pt x="335090" y="1462754"/>
                      <a:pt x="735902" y="1462754"/>
                    </a:cubicBezTo>
                    <a:cubicBezTo>
                      <a:pt x="1136714" y="1462754"/>
                      <a:pt x="1462754" y="1136714"/>
                      <a:pt x="1462754" y="735902"/>
                    </a:cubicBezTo>
                    <a:cubicBezTo>
                      <a:pt x="1462754" y="335090"/>
                      <a:pt x="1136618" y="9049"/>
                      <a:pt x="735902" y="9049"/>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0" name="Freeform: Shape 409">
                <a:extLst>
                  <a:ext uri="{FF2B5EF4-FFF2-40B4-BE49-F238E27FC236}">
                    <a16:creationId xmlns:a16="http://schemas.microsoft.com/office/drawing/2014/main" id="{E9462D55-149C-4DCA-90CE-0EC1E80D434F}"/>
                  </a:ext>
                </a:extLst>
              </p:cNvPr>
              <p:cNvSpPr/>
              <p:nvPr/>
            </p:nvSpPr>
            <p:spPr>
              <a:xfrm>
                <a:off x="11551722" y="3480174"/>
                <a:ext cx="1519244" cy="732491"/>
              </a:xfrm>
              <a:custGeom>
                <a:avLst/>
                <a:gdLst>
                  <a:gd name="connsiteX0" fmla="*/ 497586 w 533400"/>
                  <a:gd name="connsiteY0" fmla="*/ 261080 h 257175"/>
                  <a:gd name="connsiteX1" fmla="*/ 0 w 533400"/>
                  <a:gd name="connsiteY1" fmla="*/ 54578 h 257175"/>
                  <a:gd name="connsiteX2" fmla="*/ 0 w 533400"/>
                  <a:gd name="connsiteY2" fmla="*/ 0 h 257175"/>
                  <a:gd name="connsiteX3" fmla="*/ 536258 w 533400"/>
                  <a:gd name="connsiteY3" fmla="*/ 222504 h 257175"/>
                  <a:gd name="connsiteX4" fmla="*/ 497586 w 533400"/>
                  <a:gd name="connsiteY4" fmla="*/ 261080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257175">
                    <a:moveTo>
                      <a:pt x="497586" y="261080"/>
                    </a:moveTo>
                    <a:cubicBezTo>
                      <a:pt x="364426" y="127921"/>
                      <a:pt x="187738" y="54578"/>
                      <a:pt x="0" y="54578"/>
                    </a:cubicBezTo>
                    <a:lnTo>
                      <a:pt x="0" y="0"/>
                    </a:lnTo>
                    <a:cubicBezTo>
                      <a:pt x="202311" y="0"/>
                      <a:pt x="392811" y="78962"/>
                      <a:pt x="536258" y="222504"/>
                    </a:cubicBezTo>
                    <a:lnTo>
                      <a:pt x="497586" y="261080"/>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1" name="Freeform: Shape 410">
                <a:extLst>
                  <a:ext uri="{FF2B5EF4-FFF2-40B4-BE49-F238E27FC236}">
                    <a16:creationId xmlns:a16="http://schemas.microsoft.com/office/drawing/2014/main" id="{DA408A4E-D8E5-4EB7-B61B-3CA26732F55B}"/>
                  </a:ext>
                </a:extLst>
              </p:cNvPr>
              <p:cNvSpPr/>
              <p:nvPr/>
            </p:nvSpPr>
            <p:spPr>
              <a:xfrm>
                <a:off x="9390868" y="5641028"/>
                <a:ext cx="488322" cy="1193681"/>
              </a:xfrm>
              <a:custGeom>
                <a:avLst/>
                <a:gdLst>
                  <a:gd name="connsiteX0" fmla="*/ 129731 w 171450"/>
                  <a:gd name="connsiteY0" fmla="*/ 423958 h 419100"/>
                  <a:gd name="connsiteX1" fmla="*/ 0 w 171450"/>
                  <a:gd name="connsiteY1" fmla="*/ 0 h 419100"/>
                  <a:gd name="connsiteX2" fmla="*/ 54578 w 171450"/>
                  <a:gd name="connsiteY2" fmla="*/ 0 h 419100"/>
                  <a:gd name="connsiteX3" fmla="*/ 174974 w 171450"/>
                  <a:gd name="connsiteY3" fmla="*/ 393382 h 419100"/>
                  <a:gd name="connsiteX4" fmla="*/ 129731 w 171450"/>
                  <a:gd name="connsiteY4" fmla="*/ 423958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19100">
                    <a:moveTo>
                      <a:pt x="129731" y="423958"/>
                    </a:moveTo>
                    <a:cubicBezTo>
                      <a:pt x="44863" y="298418"/>
                      <a:pt x="0" y="151829"/>
                      <a:pt x="0" y="0"/>
                    </a:cubicBezTo>
                    <a:lnTo>
                      <a:pt x="54578" y="0"/>
                    </a:lnTo>
                    <a:cubicBezTo>
                      <a:pt x="54578" y="140875"/>
                      <a:pt x="96202" y="276892"/>
                      <a:pt x="174974" y="393382"/>
                    </a:cubicBezTo>
                    <a:lnTo>
                      <a:pt x="129731" y="423958"/>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2" name="Freeform: Shape 411">
                <a:extLst>
                  <a:ext uri="{FF2B5EF4-FFF2-40B4-BE49-F238E27FC236}">
                    <a16:creationId xmlns:a16="http://schemas.microsoft.com/office/drawing/2014/main" id="{6AC69FD7-D0EF-4E94-9EA1-1394ED91ED1F}"/>
                  </a:ext>
                </a:extLst>
              </p:cNvPr>
              <p:cNvSpPr/>
              <p:nvPr/>
            </p:nvSpPr>
            <p:spPr>
              <a:xfrm>
                <a:off x="10711252" y="7488790"/>
                <a:ext cx="813885" cy="298416"/>
              </a:xfrm>
              <a:custGeom>
                <a:avLst/>
                <a:gdLst>
                  <a:gd name="connsiteX0" fmla="*/ 295085 w 285750"/>
                  <a:gd name="connsiteY0" fmla="*/ 110014 h 104775"/>
                  <a:gd name="connsiteX1" fmla="*/ 0 w 285750"/>
                  <a:gd name="connsiteY1" fmla="*/ 50292 h 104775"/>
                  <a:gd name="connsiteX2" fmla="*/ 21336 w 285750"/>
                  <a:gd name="connsiteY2" fmla="*/ 0 h 104775"/>
                  <a:gd name="connsiteX3" fmla="*/ 295085 w 285750"/>
                  <a:gd name="connsiteY3" fmla="*/ 55435 h 104775"/>
                  <a:gd name="connsiteX4" fmla="*/ 295085 w 285750"/>
                  <a:gd name="connsiteY4" fmla="*/ 11001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104775">
                    <a:moveTo>
                      <a:pt x="295085" y="110014"/>
                    </a:moveTo>
                    <a:cubicBezTo>
                      <a:pt x="192881" y="110014"/>
                      <a:pt x="93536" y="89916"/>
                      <a:pt x="0" y="50292"/>
                    </a:cubicBezTo>
                    <a:lnTo>
                      <a:pt x="21336" y="0"/>
                    </a:lnTo>
                    <a:cubicBezTo>
                      <a:pt x="108109" y="36767"/>
                      <a:pt x="200215" y="55435"/>
                      <a:pt x="295085" y="55435"/>
                    </a:cubicBezTo>
                    <a:lnTo>
                      <a:pt x="295085" y="110014"/>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nvGrpSpPr>
              <p:cNvPr id="413" name="Group 412">
                <a:extLst>
                  <a:ext uri="{FF2B5EF4-FFF2-40B4-BE49-F238E27FC236}">
                    <a16:creationId xmlns:a16="http://schemas.microsoft.com/office/drawing/2014/main" id="{01945117-D589-4336-A9C3-1D93E234B321}"/>
                  </a:ext>
                </a:extLst>
              </p:cNvPr>
              <p:cNvGrpSpPr/>
              <p:nvPr/>
            </p:nvGrpSpPr>
            <p:grpSpPr>
              <a:xfrm>
                <a:off x="8587298" y="2727960"/>
                <a:ext cx="5865457" cy="5832794"/>
                <a:chOff x="8587298" y="2727960"/>
                <a:chExt cx="5865457" cy="5832794"/>
              </a:xfrm>
            </p:grpSpPr>
            <p:sp>
              <p:nvSpPr>
                <p:cNvPr id="416" name="Freeform: Shape 415">
                  <a:extLst>
                    <a:ext uri="{FF2B5EF4-FFF2-40B4-BE49-F238E27FC236}">
                      <a16:creationId xmlns:a16="http://schemas.microsoft.com/office/drawing/2014/main" id="{BAF38FFA-CB1E-4507-93E4-66FAEF9B1DAE}"/>
                    </a:ext>
                  </a:extLst>
                </p:cNvPr>
                <p:cNvSpPr/>
                <p:nvPr/>
              </p:nvSpPr>
              <p:spPr>
                <a:xfrm>
                  <a:off x="8619947" y="2727960"/>
                  <a:ext cx="5832808" cy="5832794"/>
                </a:xfrm>
                <a:custGeom>
                  <a:avLst/>
                  <a:gdLst>
                    <a:gd name="connsiteX0" fmla="*/ 177513 w 2047875"/>
                    <a:gd name="connsiteY0" fmla="*/ 1604554 h 2047875"/>
                    <a:gd name="connsiteX1" fmla="*/ 449166 w 2047875"/>
                    <a:gd name="connsiteY1" fmla="*/ 177518 h 2047875"/>
                    <a:gd name="connsiteX2" fmla="*/ 1876202 w 2047875"/>
                    <a:gd name="connsiteY2" fmla="*/ 449076 h 2047875"/>
                    <a:gd name="connsiteX3" fmla="*/ 1604644 w 2047875"/>
                    <a:gd name="connsiteY3" fmla="*/ 1876112 h 2047875"/>
                    <a:gd name="connsiteX4" fmla="*/ 177513 w 2047875"/>
                    <a:gd name="connsiteY4" fmla="*/ 1604554 h 2047875"/>
                    <a:gd name="connsiteX5" fmla="*/ 1865629 w 2047875"/>
                    <a:gd name="connsiteY5" fmla="*/ 456220 h 2047875"/>
                    <a:gd name="connsiteX6" fmla="*/ 456310 w 2047875"/>
                    <a:gd name="connsiteY6" fmla="*/ 187996 h 2047875"/>
                    <a:gd name="connsiteX7" fmla="*/ 188086 w 2047875"/>
                    <a:gd name="connsiteY7" fmla="*/ 1597410 h 2047875"/>
                    <a:gd name="connsiteX8" fmla="*/ 1597500 w 2047875"/>
                    <a:gd name="connsiteY8" fmla="*/ 1865634 h 2047875"/>
                    <a:gd name="connsiteX9" fmla="*/ 1865629 w 2047875"/>
                    <a:gd name="connsiteY9" fmla="*/ 456220 h 204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875" h="2047875">
                      <a:moveTo>
                        <a:pt x="177513" y="1604554"/>
                      </a:moveTo>
                      <a:cubicBezTo>
                        <a:pt x="-141003" y="1136210"/>
                        <a:pt x="-19178" y="496034"/>
                        <a:pt x="449166" y="177518"/>
                      </a:cubicBezTo>
                      <a:cubicBezTo>
                        <a:pt x="917415" y="-140998"/>
                        <a:pt x="1557591" y="-19173"/>
                        <a:pt x="1876202" y="449076"/>
                      </a:cubicBezTo>
                      <a:cubicBezTo>
                        <a:pt x="2194718" y="917420"/>
                        <a:pt x="2072893" y="1557596"/>
                        <a:pt x="1604644" y="1876112"/>
                      </a:cubicBezTo>
                      <a:cubicBezTo>
                        <a:pt x="1136300" y="2194723"/>
                        <a:pt x="496125" y="2072898"/>
                        <a:pt x="177513" y="1604554"/>
                      </a:cubicBezTo>
                      <a:close/>
                      <a:moveTo>
                        <a:pt x="1865629" y="456220"/>
                      </a:moveTo>
                      <a:cubicBezTo>
                        <a:pt x="1551018" y="-6314"/>
                        <a:pt x="918749" y="-126615"/>
                        <a:pt x="456310" y="187996"/>
                      </a:cubicBezTo>
                      <a:cubicBezTo>
                        <a:pt x="-6224" y="502607"/>
                        <a:pt x="-126525" y="1134876"/>
                        <a:pt x="188086" y="1597410"/>
                      </a:cubicBezTo>
                      <a:cubicBezTo>
                        <a:pt x="502697" y="2059944"/>
                        <a:pt x="1134966" y="2180245"/>
                        <a:pt x="1597500" y="1865634"/>
                      </a:cubicBezTo>
                      <a:cubicBezTo>
                        <a:pt x="2060034" y="1551023"/>
                        <a:pt x="2180335" y="918754"/>
                        <a:pt x="1865629" y="456220"/>
                      </a:cubicBez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7" name="Freeform: Shape 416">
                  <a:extLst>
                    <a:ext uri="{FF2B5EF4-FFF2-40B4-BE49-F238E27FC236}">
                      <a16:creationId xmlns:a16="http://schemas.microsoft.com/office/drawing/2014/main" id="{C5E40EAD-A678-4FDC-8CCF-5B2CF6A3B8CA}"/>
                    </a:ext>
                  </a:extLst>
                </p:cNvPr>
                <p:cNvSpPr/>
                <p:nvPr/>
              </p:nvSpPr>
              <p:spPr>
                <a:xfrm>
                  <a:off x="8744914" y="3158971"/>
                  <a:ext cx="1220828" cy="1437850"/>
                </a:xfrm>
                <a:custGeom>
                  <a:avLst/>
                  <a:gdLst>
                    <a:gd name="connsiteX0" fmla="*/ 0 w 428625"/>
                    <a:gd name="connsiteY0" fmla="*/ 482537 h 504825"/>
                    <a:gd name="connsiteX1" fmla="*/ 387382 w 428625"/>
                    <a:gd name="connsiteY1" fmla="*/ 0 h 504825"/>
                    <a:gd name="connsiteX2" fmla="*/ 430244 w 428625"/>
                    <a:gd name="connsiteY2" fmla="*/ 63056 h 504825"/>
                    <a:gd name="connsiteX3" fmla="*/ 70771 w 428625"/>
                    <a:gd name="connsiteY3" fmla="*/ 510731 h 504825"/>
                    <a:gd name="connsiteX4" fmla="*/ 0 w 428625"/>
                    <a:gd name="connsiteY4" fmla="*/ 482537 h 50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504825">
                      <a:moveTo>
                        <a:pt x="0" y="482537"/>
                      </a:moveTo>
                      <a:cubicBezTo>
                        <a:pt x="78296" y="286036"/>
                        <a:pt x="212217" y="119158"/>
                        <a:pt x="387382" y="0"/>
                      </a:cubicBezTo>
                      <a:lnTo>
                        <a:pt x="430244" y="63056"/>
                      </a:lnTo>
                      <a:cubicBezTo>
                        <a:pt x="267748" y="173546"/>
                        <a:pt x="143447" y="328327"/>
                        <a:pt x="70771" y="510731"/>
                      </a:cubicBezTo>
                      <a:lnTo>
                        <a:pt x="0" y="482537"/>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sp>
              <p:nvSpPr>
                <p:cNvPr id="418" name="Freeform: Shape 417">
                  <a:extLst>
                    <a:ext uri="{FF2B5EF4-FFF2-40B4-BE49-F238E27FC236}">
                      <a16:creationId xmlns:a16="http://schemas.microsoft.com/office/drawing/2014/main" id="{84A2D0FE-6FA9-4E77-89F5-E8823176DAFF}"/>
                    </a:ext>
                  </a:extLst>
                </p:cNvPr>
                <p:cNvSpPr/>
                <p:nvPr/>
              </p:nvSpPr>
              <p:spPr>
                <a:xfrm>
                  <a:off x="8587298" y="6203415"/>
                  <a:ext cx="623980" cy="1139433"/>
                </a:xfrm>
                <a:custGeom>
                  <a:avLst/>
                  <a:gdLst>
                    <a:gd name="connsiteX0" fmla="*/ 162687 w 219075"/>
                    <a:gd name="connsiteY0" fmla="*/ 402241 h 400050"/>
                    <a:gd name="connsiteX1" fmla="*/ 0 w 219075"/>
                    <a:gd name="connsiteY1" fmla="*/ 14859 h 400050"/>
                    <a:gd name="connsiteX2" fmla="*/ 74771 w 219075"/>
                    <a:gd name="connsiteY2" fmla="*/ 0 h 400050"/>
                    <a:gd name="connsiteX3" fmla="*/ 225743 w 219075"/>
                    <a:gd name="connsiteY3" fmla="*/ 359474 h 400050"/>
                    <a:gd name="connsiteX4" fmla="*/ 162687 w 219075"/>
                    <a:gd name="connsiteY4" fmla="*/ 402241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400050">
                      <a:moveTo>
                        <a:pt x="162687" y="402241"/>
                      </a:moveTo>
                      <a:cubicBezTo>
                        <a:pt x="82391" y="284226"/>
                        <a:pt x="27718" y="153924"/>
                        <a:pt x="0" y="14859"/>
                      </a:cubicBezTo>
                      <a:lnTo>
                        <a:pt x="74771" y="0"/>
                      </a:lnTo>
                      <a:cubicBezTo>
                        <a:pt x="100489" y="128968"/>
                        <a:pt x="151257" y="249936"/>
                        <a:pt x="225743" y="359474"/>
                      </a:cubicBezTo>
                      <a:lnTo>
                        <a:pt x="162687" y="402241"/>
                      </a:lnTo>
                      <a:close/>
                    </a:path>
                  </a:pathLst>
                </a:custGeom>
                <a:solidFill>
                  <a:srgbClr val="747480"/>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a:solidFill>
                      <a:srgbClr val="FFFFFF"/>
                    </a:solidFill>
                  </a:endParaRPr>
                </a:p>
              </p:txBody>
            </p:sp>
          </p:grpSp>
          <p:sp>
            <p:nvSpPr>
              <p:cNvPr id="414" name="Freeform: Shape 413">
                <a:extLst>
                  <a:ext uri="{FF2B5EF4-FFF2-40B4-BE49-F238E27FC236}">
                    <a16:creationId xmlns:a16="http://schemas.microsoft.com/office/drawing/2014/main" id="{4DC64828-7F1C-4C1A-B0EB-2D03083F031F}"/>
                  </a:ext>
                </a:extLst>
              </p:cNvPr>
              <p:cNvSpPr/>
              <p:nvPr/>
            </p:nvSpPr>
            <p:spPr>
              <a:xfrm>
                <a:off x="9727810" y="3817116"/>
                <a:ext cx="3635337" cy="3635322"/>
              </a:xfrm>
              <a:custGeom>
                <a:avLst/>
                <a:gdLst>
                  <a:gd name="connsiteX0" fmla="*/ 1280732 w 1276350"/>
                  <a:gd name="connsiteY0" fmla="*/ 640366 h 1276350"/>
                  <a:gd name="connsiteX1" fmla="*/ 640366 w 1276350"/>
                  <a:gd name="connsiteY1" fmla="*/ 1280732 h 1276350"/>
                  <a:gd name="connsiteX2" fmla="*/ 0 w 1276350"/>
                  <a:gd name="connsiteY2" fmla="*/ 640366 h 1276350"/>
                  <a:gd name="connsiteX3" fmla="*/ 640366 w 1276350"/>
                  <a:gd name="connsiteY3" fmla="*/ 0 h 1276350"/>
                  <a:gd name="connsiteX4" fmla="*/ 1280732 w 1276350"/>
                  <a:gd name="connsiteY4" fmla="*/ 640366 h 1276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0" h="1276350">
                    <a:moveTo>
                      <a:pt x="1280732" y="640366"/>
                    </a:moveTo>
                    <a:cubicBezTo>
                      <a:pt x="1280732" y="994030"/>
                      <a:pt x="994030" y="1280732"/>
                      <a:pt x="640366" y="1280732"/>
                    </a:cubicBezTo>
                    <a:cubicBezTo>
                      <a:pt x="286702" y="1280732"/>
                      <a:pt x="0" y="994030"/>
                      <a:pt x="0" y="640366"/>
                    </a:cubicBezTo>
                    <a:cubicBezTo>
                      <a:pt x="0" y="286701"/>
                      <a:pt x="286702" y="0"/>
                      <a:pt x="640366" y="0"/>
                    </a:cubicBezTo>
                    <a:cubicBezTo>
                      <a:pt x="994030" y="0"/>
                      <a:pt x="1280732" y="286701"/>
                      <a:pt x="1280732" y="640366"/>
                    </a:cubicBezTo>
                    <a:close/>
                  </a:path>
                </a:pathLst>
              </a:custGeom>
              <a:solidFill>
                <a:srgbClr val="2E2E38"/>
              </a:solidFill>
              <a:ln w="0" cap="flat">
                <a:noFill/>
                <a:prstDash val="solid"/>
                <a:miter/>
              </a:ln>
              <a:extLst>
                <a:ext uri="{91240B29-F687-4F45-9708-019B960494DF}">
                  <a14:hiddenLine xmlns:a14="http://schemas.microsoft.com/office/drawing/2010/main" w="0" cap="flat">
                    <a:solidFill>
                      <a:schemeClr val="tx1"/>
                    </a:solidFill>
                    <a:prstDash val="solid"/>
                    <a:miter/>
                  </a14:hiddenLine>
                </a:ext>
              </a:extLst>
            </p:spPr>
            <p:txBody>
              <a:bodyPr rtlCol="0" anchor="ctr"/>
              <a:lstStyle/>
              <a:p>
                <a:endParaRPr lang="en-IN" dirty="0">
                  <a:solidFill>
                    <a:srgbClr val="FFFFFF"/>
                  </a:solidFill>
                </a:endParaRPr>
              </a:p>
            </p:txBody>
          </p:sp>
          <p:sp>
            <p:nvSpPr>
              <p:cNvPr id="415" name="Freeform: Shape 414">
                <a:extLst>
                  <a:ext uri="{FF2B5EF4-FFF2-40B4-BE49-F238E27FC236}">
                    <a16:creationId xmlns:a16="http://schemas.microsoft.com/office/drawing/2014/main" id="{94A2EEFE-2C6D-4805-B9F1-EBF1EF8CB7A4}"/>
                  </a:ext>
                </a:extLst>
              </p:cNvPr>
              <p:cNvSpPr/>
              <p:nvPr/>
            </p:nvSpPr>
            <p:spPr>
              <a:xfrm>
                <a:off x="8950292" y="3039598"/>
                <a:ext cx="5181697" cy="5181698"/>
              </a:xfrm>
              <a:custGeom>
                <a:avLst/>
                <a:gdLst>
                  <a:gd name="connsiteX0" fmla="*/ 913352 w 1819275"/>
                  <a:gd name="connsiteY0" fmla="*/ 0 h 1819275"/>
                  <a:gd name="connsiteX1" fmla="*/ 0 w 1819275"/>
                  <a:gd name="connsiteY1" fmla="*/ 913352 h 1819275"/>
                  <a:gd name="connsiteX2" fmla="*/ 913352 w 1819275"/>
                  <a:gd name="connsiteY2" fmla="*/ 1826705 h 1819275"/>
                  <a:gd name="connsiteX3" fmla="*/ 1826705 w 1819275"/>
                  <a:gd name="connsiteY3" fmla="*/ 913352 h 1819275"/>
                  <a:gd name="connsiteX4" fmla="*/ 913352 w 1819275"/>
                  <a:gd name="connsiteY4" fmla="*/ 0 h 1819275"/>
                  <a:gd name="connsiteX5" fmla="*/ 913352 w 1819275"/>
                  <a:gd name="connsiteY5" fmla="*/ 1735741 h 1819275"/>
                  <a:gd name="connsiteX6" fmla="*/ 90964 w 1819275"/>
                  <a:gd name="connsiteY6" fmla="*/ 913352 h 1819275"/>
                  <a:gd name="connsiteX7" fmla="*/ 913352 w 1819275"/>
                  <a:gd name="connsiteY7" fmla="*/ 90964 h 1819275"/>
                  <a:gd name="connsiteX8" fmla="*/ 1735741 w 1819275"/>
                  <a:gd name="connsiteY8" fmla="*/ 913352 h 1819275"/>
                  <a:gd name="connsiteX9" fmla="*/ 913352 w 1819275"/>
                  <a:gd name="connsiteY9" fmla="*/ 1735741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819275">
                    <a:moveTo>
                      <a:pt x="913352" y="0"/>
                    </a:moveTo>
                    <a:cubicBezTo>
                      <a:pt x="409670" y="0"/>
                      <a:pt x="0" y="409766"/>
                      <a:pt x="0" y="913352"/>
                    </a:cubicBezTo>
                    <a:cubicBezTo>
                      <a:pt x="0" y="1416939"/>
                      <a:pt x="409766" y="1826705"/>
                      <a:pt x="913352" y="1826705"/>
                    </a:cubicBezTo>
                    <a:cubicBezTo>
                      <a:pt x="1417034" y="1826705"/>
                      <a:pt x="1826705" y="1416939"/>
                      <a:pt x="1826705" y="913352"/>
                    </a:cubicBezTo>
                    <a:cubicBezTo>
                      <a:pt x="1826705" y="409766"/>
                      <a:pt x="1416939" y="0"/>
                      <a:pt x="913352" y="0"/>
                    </a:cubicBezTo>
                    <a:close/>
                    <a:moveTo>
                      <a:pt x="913352" y="1735741"/>
                    </a:moveTo>
                    <a:cubicBezTo>
                      <a:pt x="459867" y="1735741"/>
                      <a:pt x="90964" y="1366838"/>
                      <a:pt x="90964" y="913352"/>
                    </a:cubicBezTo>
                    <a:cubicBezTo>
                      <a:pt x="90964" y="459867"/>
                      <a:pt x="459867" y="90964"/>
                      <a:pt x="913352" y="90964"/>
                    </a:cubicBezTo>
                    <a:cubicBezTo>
                      <a:pt x="1366838" y="90964"/>
                      <a:pt x="1735741" y="459867"/>
                      <a:pt x="1735741" y="913352"/>
                    </a:cubicBezTo>
                    <a:cubicBezTo>
                      <a:pt x="1735741" y="1366838"/>
                      <a:pt x="1366742" y="1735741"/>
                      <a:pt x="913352" y="1735741"/>
                    </a:cubicBezTo>
                    <a:close/>
                  </a:path>
                </a:pathLst>
              </a:custGeom>
              <a:solidFill>
                <a:srgbClr val="747480">
                  <a:alpha val="14000"/>
                </a:srgbClr>
              </a:solidFill>
              <a:ln w="0" cap="flat">
                <a:noFill/>
                <a:prstDash val="solid"/>
                <a:miter/>
              </a:ln>
            </p:spPr>
            <p:txBody>
              <a:bodyPr rtlCol="0" anchor="ctr"/>
              <a:lstStyle/>
              <a:p>
                <a:endParaRPr lang="en-IN">
                  <a:solidFill>
                    <a:srgbClr val="FFFFFF"/>
                  </a:solidFill>
                </a:endParaRPr>
              </a:p>
            </p:txBody>
          </p:sp>
        </p:grpSp>
        <p:grpSp>
          <p:nvGrpSpPr>
            <p:cNvPr id="286" name="Group 37">
              <a:extLst>
                <a:ext uri="{FF2B5EF4-FFF2-40B4-BE49-F238E27FC236}">
                  <a16:creationId xmlns:a16="http://schemas.microsoft.com/office/drawing/2014/main" id="{B5C0ED2E-54F3-4572-9910-E543BDBAC7FD}"/>
                </a:ext>
              </a:extLst>
            </p:cNvPr>
            <p:cNvGrpSpPr>
              <a:grpSpLocks noChangeAspect="1"/>
            </p:cNvGrpSpPr>
            <p:nvPr/>
          </p:nvGrpSpPr>
          <p:grpSpPr bwMode="auto">
            <a:xfrm>
              <a:off x="7795773" y="2993792"/>
              <a:ext cx="1245823" cy="1175184"/>
              <a:chOff x="528" y="843"/>
              <a:chExt cx="776" cy="732"/>
            </a:xfrm>
            <a:solidFill>
              <a:schemeClr val="bg1"/>
            </a:solidFill>
          </p:grpSpPr>
          <p:sp>
            <p:nvSpPr>
              <p:cNvPr id="317" name="Freeform 38">
                <a:extLst>
                  <a:ext uri="{FF2B5EF4-FFF2-40B4-BE49-F238E27FC236}">
                    <a16:creationId xmlns:a16="http://schemas.microsoft.com/office/drawing/2014/main" id="{DF9A71F9-6E80-4367-B06B-345683F999A6}"/>
                  </a:ext>
                </a:extLst>
              </p:cNvPr>
              <p:cNvSpPr>
                <a:spLocks noEditPoints="1"/>
              </p:cNvSpPr>
              <p:nvPr/>
            </p:nvSpPr>
            <p:spPr bwMode="auto">
              <a:xfrm>
                <a:off x="714" y="1467"/>
                <a:ext cx="404" cy="108"/>
              </a:xfrm>
              <a:custGeom>
                <a:avLst/>
                <a:gdLst>
                  <a:gd name="T0" fmla="*/ 404 w 404"/>
                  <a:gd name="T1" fmla="*/ 108 h 108"/>
                  <a:gd name="T2" fmla="*/ 0 w 404"/>
                  <a:gd name="T3" fmla="*/ 108 h 108"/>
                  <a:gd name="T4" fmla="*/ 0 w 404"/>
                  <a:gd name="T5" fmla="*/ 84 h 108"/>
                  <a:gd name="T6" fmla="*/ 0 w 404"/>
                  <a:gd name="T7" fmla="*/ 84 h 108"/>
                  <a:gd name="T8" fmla="*/ 2 w 404"/>
                  <a:gd name="T9" fmla="*/ 68 h 108"/>
                  <a:gd name="T10" fmla="*/ 8 w 404"/>
                  <a:gd name="T11" fmla="*/ 52 h 108"/>
                  <a:gd name="T12" fmla="*/ 16 w 404"/>
                  <a:gd name="T13" fmla="*/ 38 h 108"/>
                  <a:gd name="T14" fmla="*/ 26 w 404"/>
                  <a:gd name="T15" fmla="*/ 24 h 108"/>
                  <a:gd name="T16" fmla="*/ 38 w 404"/>
                  <a:gd name="T17" fmla="*/ 14 h 108"/>
                  <a:gd name="T18" fmla="*/ 52 w 404"/>
                  <a:gd name="T19" fmla="*/ 6 h 108"/>
                  <a:gd name="T20" fmla="*/ 68 w 404"/>
                  <a:gd name="T21" fmla="*/ 2 h 108"/>
                  <a:gd name="T22" fmla="*/ 86 w 404"/>
                  <a:gd name="T23" fmla="*/ 0 h 108"/>
                  <a:gd name="T24" fmla="*/ 320 w 404"/>
                  <a:gd name="T25" fmla="*/ 0 h 108"/>
                  <a:gd name="T26" fmla="*/ 320 w 404"/>
                  <a:gd name="T27" fmla="*/ 0 h 108"/>
                  <a:gd name="T28" fmla="*/ 336 w 404"/>
                  <a:gd name="T29" fmla="*/ 2 h 108"/>
                  <a:gd name="T30" fmla="*/ 352 w 404"/>
                  <a:gd name="T31" fmla="*/ 6 h 108"/>
                  <a:gd name="T32" fmla="*/ 366 w 404"/>
                  <a:gd name="T33" fmla="*/ 14 h 108"/>
                  <a:gd name="T34" fmla="*/ 380 w 404"/>
                  <a:gd name="T35" fmla="*/ 24 h 108"/>
                  <a:gd name="T36" fmla="*/ 390 w 404"/>
                  <a:gd name="T37" fmla="*/ 38 h 108"/>
                  <a:gd name="T38" fmla="*/ 398 w 404"/>
                  <a:gd name="T39" fmla="*/ 52 h 108"/>
                  <a:gd name="T40" fmla="*/ 402 w 404"/>
                  <a:gd name="T41" fmla="*/ 68 h 108"/>
                  <a:gd name="T42" fmla="*/ 404 w 404"/>
                  <a:gd name="T43" fmla="*/ 84 h 108"/>
                  <a:gd name="T44" fmla="*/ 404 w 404"/>
                  <a:gd name="T45" fmla="*/ 108 h 108"/>
                  <a:gd name="T46" fmla="*/ 18 w 404"/>
                  <a:gd name="T47" fmla="*/ 90 h 108"/>
                  <a:gd name="T48" fmla="*/ 386 w 404"/>
                  <a:gd name="T49" fmla="*/ 90 h 108"/>
                  <a:gd name="T50" fmla="*/ 386 w 404"/>
                  <a:gd name="T51" fmla="*/ 84 h 108"/>
                  <a:gd name="T52" fmla="*/ 386 w 404"/>
                  <a:gd name="T53" fmla="*/ 84 h 108"/>
                  <a:gd name="T54" fmla="*/ 384 w 404"/>
                  <a:gd name="T55" fmla="*/ 70 h 108"/>
                  <a:gd name="T56" fmla="*/ 380 w 404"/>
                  <a:gd name="T57" fmla="*/ 58 h 108"/>
                  <a:gd name="T58" fmla="*/ 374 w 404"/>
                  <a:gd name="T59" fmla="*/ 48 h 108"/>
                  <a:gd name="T60" fmla="*/ 366 w 404"/>
                  <a:gd name="T61" fmla="*/ 38 h 108"/>
                  <a:gd name="T62" fmla="*/ 356 w 404"/>
                  <a:gd name="T63" fmla="*/ 30 h 108"/>
                  <a:gd name="T64" fmla="*/ 346 w 404"/>
                  <a:gd name="T65" fmla="*/ 24 h 108"/>
                  <a:gd name="T66" fmla="*/ 334 w 404"/>
                  <a:gd name="T67" fmla="*/ 20 h 108"/>
                  <a:gd name="T68" fmla="*/ 320 w 404"/>
                  <a:gd name="T69" fmla="*/ 18 h 108"/>
                  <a:gd name="T70" fmla="*/ 86 w 404"/>
                  <a:gd name="T71" fmla="*/ 18 h 108"/>
                  <a:gd name="T72" fmla="*/ 86 w 404"/>
                  <a:gd name="T73" fmla="*/ 18 h 108"/>
                  <a:gd name="T74" fmla="*/ 72 w 404"/>
                  <a:gd name="T75" fmla="*/ 20 h 108"/>
                  <a:gd name="T76" fmla="*/ 60 w 404"/>
                  <a:gd name="T77" fmla="*/ 24 h 108"/>
                  <a:gd name="T78" fmla="*/ 48 w 404"/>
                  <a:gd name="T79" fmla="*/ 30 h 108"/>
                  <a:gd name="T80" fmla="*/ 38 w 404"/>
                  <a:gd name="T81" fmla="*/ 38 h 108"/>
                  <a:gd name="T82" fmla="*/ 30 w 404"/>
                  <a:gd name="T83" fmla="*/ 48 h 108"/>
                  <a:gd name="T84" fmla="*/ 24 w 404"/>
                  <a:gd name="T85" fmla="*/ 58 h 108"/>
                  <a:gd name="T86" fmla="*/ 20 w 404"/>
                  <a:gd name="T87" fmla="*/ 70 h 108"/>
                  <a:gd name="T88" fmla="*/ 18 w 404"/>
                  <a:gd name="T89" fmla="*/ 84 h 108"/>
                  <a:gd name="T90" fmla="*/ 18 w 404"/>
                  <a:gd name="T91" fmla="*/ 9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108">
                    <a:moveTo>
                      <a:pt x="404" y="108"/>
                    </a:moveTo>
                    <a:lnTo>
                      <a:pt x="0" y="108"/>
                    </a:lnTo>
                    <a:lnTo>
                      <a:pt x="0" y="84"/>
                    </a:lnTo>
                    <a:lnTo>
                      <a:pt x="0" y="84"/>
                    </a:lnTo>
                    <a:lnTo>
                      <a:pt x="2" y="68"/>
                    </a:lnTo>
                    <a:lnTo>
                      <a:pt x="8" y="52"/>
                    </a:lnTo>
                    <a:lnTo>
                      <a:pt x="16" y="38"/>
                    </a:lnTo>
                    <a:lnTo>
                      <a:pt x="26" y="24"/>
                    </a:lnTo>
                    <a:lnTo>
                      <a:pt x="38" y="14"/>
                    </a:lnTo>
                    <a:lnTo>
                      <a:pt x="52" y="6"/>
                    </a:lnTo>
                    <a:lnTo>
                      <a:pt x="68" y="2"/>
                    </a:lnTo>
                    <a:lnTo>
                      <a:pt x="86" y="0"/>
                    </a:lnTo>
                    <a:lnTo>
                      <a:pt x="320" y="0"/>
                    </a:lnTo>
                    <a:lnTo>
                      <a:pt x="320" y="0"/>
                    </a:lnTo>
                    <a:lnTo>
                      <a:pt x="336" y="2"/>
                    </a:lnTo>
                    <a:lnTo>
                      <a:pt x="352" y="6"/>
                    </a:lnTo>
                    <a:lnTo>
                      <a:pt x="366" y="14"/>
                    </a:lnTo>
                    <a:lnTo>
                      <a:pt x="380" y="24"/>
                    </a:lnTo>
                    <a:lnTo>
                      <a:pt x="390" y="38"/>
                    </a:lnTo>
                    <a:lnTo>
                      <a:pt x="398" y="52"/>
                    </a:lnTo>
                    <a:lnTo>
                      <a:pt x="402" y="68"/>
                    </a:lnTo>
                    <a:lnTo>
                      <a:pt x="404" y="84"/>
                    </a:lnTo>
                    <a:lnTo>
                      <a:pt x="404" y="108"/>
                    </a:lnTo>
                    <a:close/>
                    <a:moveTo>
                      <a:pt x="18" y="90"/>
                    </a:moveTo>
                    <a:lnTo>
                      <a:pt x="386" y="90"/>
                    </a:lnTo>
                    <a:lnTo>
                      <a:pt x="386" y="84"/>
                    </a:lnTo>
                    <a:lnTo>
                      <a:pt x="386" y="84"/>
                    </a:lnTo>
                    <a:lnTo>
                      <a:pt x="384" y="70"/>
                    </a:lnTo>
                    <a:lnTo>
                      <a:pt x="380" y="58"/>
                    </a:lnTo>
                    <a:lnTo>
                      <a:pt x="374" y="48"/>
                    </a:lnTo>
                    <a:lnTo>
                      <a:pt x="366" y="38"/>
                    </a:lnTo>
                    <a:lnTo>
                      <a:pt x="356" y="30"/>
                    </a:lnTo>
                    <a:lnTo>
                      <a:pt x="346" y="24"/>
                    </a:lnTo>
                    <a:lnTo>
                      <a:pt x="334" y="20"/>
                    </a:lnTo>
                    <a:lnTo>
                      <a:pt x="320" y="18"/>
                    </a:lnTo>
                    <a:lnTo>
                      <a:pt x="86" y="18"/>
                    </a:lnTo>
                    <a:lnTo>
                      <a:pt x="86" y="18"/>
                    </a:lnTo>
                    <a:lnTo>
                      <a:pt x="72" y="20"/>
                    </a:lnTo>
                    <a:lnTo>
                      <a:pt x="60" y="24"/>
                    </a:lnTo>
                    <a:lnTo>
                      <a:pt x="48" y="30"/>
                    </a:lnTo>
                    <a:lnTo>
                      <a:pt x="38" y="38"/>
                    </a:lnTo>
                    <a:lnTo>
                      <a:pt x="30" y="48"/>
                    </a:lnTo>
                    <a:lnTo>
                      <a:pt x="24" y="58"/>
                    </a:lnTo>
                    <a:lnTo>
                      <a:pt x="20" y="70"/>
                    </a:lnTo>
                    <a:lnTo>
                      <a:pt x="18" y="84"/>
                    </a:lnTo>
                    <a:lnTo>
                      <a:pt x="1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8" name="Freeform 39">
                <a:extLst>
                  <a:ext uri="{FF2B5EF4-FFF2-40B4-BE49-F238E27FC236}">
                    <a16:creationId xmlns:a16="http://schemas.microsoft.com/office/drawing/2014/main" id="{F9EE210F-5A79-42D7-955A-70B2BF97D84E}"/>
                  </a:ext>
                </a:extLst>
              </p:cNvPr>
              <p:cNvSpPr>
                <a:spLocks noEditPoints="1"/>
              </p:cNvSpPr>
              <p:nvPr/>
            </p:nvSpPr>
            <p:spPr bwMode="auto">
              <a:xfrm>
                <a:off x="846" y="1421"/>
                <a:ext cx="142" cy="64"/>
              </a:xfrm>
              <a:custGeom>
                <a:avLst/>
                <a:gdLst>
                  <a:gd name="T0" fmla="*/ 142 w 142"/>
                  <a:gd name="T1" fmla="*/ 64 h 64"/>
                  <a:gd name="T2" fmla="*/ 0 w 142"/>
                  <a:gd name="T3" fmla="*/ 64 h 64"/>
                  <a:gd name="T4" fmla="*/ 0 w 142"/>
                  <a:gd name="T5" fmla="*/ 0 h 64"/>
                  <a:gd name="T6" fmla="*/ 142 w 142"/>
                  <a:gd name="T7" fmla="*/ 0 h 64"/>
                  <a:gd name="T8" fmla="*/ 142 w 142"/>
                  <a:gd name="T9" fmla="*/ 64 h 64"/>
                  <a:gd name="T10" fmla="*/ 18 w 142"/>
                  <a:gd name="T11" fmla="*/ 46 h 64"/>
                  <a:gd name="T12" fmla="*/ 124 w 142"/>
                  <a:gd name="T13" fmla="*/ 46 h 64"/>
                  <a:gd name="T14" fmla="*/ 124 w 142"/>
                  <a:gd name="T15" fmla="*/ 18 h 64"/>
                  <a:gd name="T16" fmla="*/ 18 w 142"/>
                  <a:gd name="T17" fmla="*/ 18 h 64"/>
                  <a:gd name="T18" fmla="*/ 18 w 14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4">
                    <a:moveTo>
                      <a:pt x="142" y="64"/>
                    </a:moveTo>
                    <a:lnTo>
                      <a:pt x="0" y="64"/>
                    </a:lnTo>
                    <a:lnTo>
                      <a:pt x="0" y="0"/>
                    </a:lnTo>
                    <a:lnTo>
                      <a:pt x="142" y="0"/>
                    </a:lnTo>
                    <a:lnTo>
                      <a:pt x="142" y="64"/>
                    </a:lnTo>
                    <a:close/>
                    <a:moveTo>
                      <a:pt x="18" y="46"/>
                    </a:moveTo>
                    <a:lnTo>
                      <a:pt x="124" y="46"/>
                    </a:lnTo>
                    <a:lnTo>
                      <a:pt x="124"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9" name="Freeform 40">
                <a:extLst>
                  <a:ext uri="{FF2B5EF4-FFF2-40B4-BE49-F238E27FC236}">
                    <a16:creationId xmlns:a16="http://schemas.microsoft.com/office/drawing/2014/main" id="{9A3785DD-368F-4B30-B66A-FB3BC1E3D834}"/>
                  </a:ext>
                </a:extLst>
              </p:cNvPr>
              <p:cNvSpPr>
                <a:spLocks noEditPoints="1"/>
              </p:cNvSpPr>
              <p:nvPr/>
            </p:nvSpPr>
            <p:spPr bwMode="auto">
              <a:xfrm>
                <a:off x="878" y="1015"/>
                <a:ext cx="76" cy="424"/>
              </a:xfrm>
              <a:custGeom>
                <a:avLst/>
                <a:gdLst>
                  <a:gd name="T0" fmla="*/ 76 w 76"/>
                  <a:gd name="T1" fmla="*/ 424 h 424"/>
                  <a:gd name="T2" fmla="*/ 0 w 76"/>
                  <a:gd name="T3" fmla="*/ 424 h 424"/>
                  <a:gd name="T4" fmla="*/ 0 w 76"/>
                  <a:gd name="T5" fmla="*/ 0 h 424"/>
                  <a:gd name="T6" fmla="*/ 12 w 76"/>
                  <a:gd name="T7" fmla="*/ 6 h 424"/>
                  <a:gd name="T8" fmla="*/ 12 w 76"/>
                  <a:gd name="T9" fmla="*/ 6 h 424"/>
                  <a:gd name="T10" fmla="*/ 26 w 76"/>
                  <a:gd name="T11" fmla="*/ 10 h 424"/>
                  <a:gd name="T12" fmla="*/ 38 w 76"/>
                  <a:gd name="T13" fmla="*/ 12 h 424"/>
                  <a:gd name="T14" fmla="*/ 52 w 76"/>
                  <a:gd name="T15" fmla="*/ 10 h 424"/>
                  <a:gd name="T16" fmla="*/ 64 w 76"/>
                  <a:gd name="T17" fmla="*/ 6 h 424"/>
                  <a:gd name="T18" fmla="*/ 76 w 76"/>
                  <a:gd name="T19" fmla="*/ 0 h 424"/>
                  <a:gd name="T20" fmla="*/ 76 w 76"/>
                  <a:gd name="T21" fmla="*/ 424 h 424"/>
                  <a:gd name="T22" fmla="*/ 18 w 76"/>
                  <a:gd name="T23" fmla="*/ 406 h 424"/>
                  <a:gd name="T24" fmla="*/ 58 w 76"/>
                  <a:gd name="T25" fmla="*/ 406 h 424"/>
                  <a:gd name="T26" fmla="*/ 58 w 76"/>
                  <a:gd name="T27" fmla="*/ 28 h 424"/>
                  <a:gd name="T28" fmla="*/ 58 w 76"/>
                  <a:gd name="T29" fmla="*/ 28 h 424"/>
                  <a:gd name="T30" fmla="*/ 48 w 76"/>
                  <a:gd name="T31" fmla="*/ 30 h 424"/>
                  <a:gd name="T32" fmla="*/ 38 w 76"/>
                  <a:gd name="T33" fmla="*/ 30 h 424"/>
                  <a:gd name="T34" fmla="*/ 28 w 76"/>
                  <a:gd name="T35" fmla="*/ 30 h 424"/>
                  <a:gd name="T36" fmla="*/ 18 w 76"/>
                  <a:gd name="T37" fmla="*/ 28 h 424"/>
                  <a:gd name="T38" fmla="*/ 18 w 76"/>
                  <a:gd name="T3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424">
                    <a:moveTo>
                      <a:pt x="76" y="424"/>
                    </a:moveTo>
                    <a:lnTo>
                      <a:pt x="0" y="424"/>
                    </a:lnTo>
                    <a:lnTo>
                      <a:pt x="0" y="0"/>
                    </a:lnTo>
                    <a:lnTo>
                      <a:pt x="12" y="6"/>
                    </a:lnTo>
                    <a:lnTo>
                      <a:pt x="12" y="6"/>
                    </a:lnTo>
                    <a:lnTo>
                      <a:pt x="26" y="10"/>
                    </a:lnTo>
                    <a:lnTo>
                      <a:pt x="38" y="12"/>
                    </a:lnTo>
                    <a:lnTo>
                      <a:pt x="52" y="10"/>
                    </a:lnTo>
                    <a:lnTo>
                      <a:pt x="64" y="6"/>
                    </a:lnTo>
                    <a:lnTo>
                      <a:pt x="76" y="0"/>
                    </a:lnTo>
                    <a:lnTo>
                      <a:pt x="76" y="424"/>
                    </a:lnTo>
                    <a:close/>
                    <a:moveTo>
                      <a:pt x="18" y="406"/>
                    </a:moveTo>
                    <a:lnTo>
                      <a:pt x="58" y="406"/>
                    </a:lnTo>
                    <a:lnTo>
                      <a:pt x="58" y="28"/>
                    </a:lnTo>
                    <a:lnTo>
                      <a:pt x="58" y="28"/>
                    </a:lnTo>
                    <a:lnTo>
                      <a:pt x="48" y="30"/>
                    </a:lnTo>
                    <a:lnTo>
                      <a:pt x="38" y="30"/>
                    </a:lnTo>
                    <a:lnTo>
                      <a:pt x="28" y="30"/>
                    </a:lnTo>
                    <a:lnTo>
                      <a:pt x="18" y="28"/>
                    </a:lnTo>
                    <a:lnTo>
                      <a:pt x="1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0" name="Freeform 41">
                <a:extLst>
                  <a:ext uri="{FF2B5EF4-FFF2-40B4-BE49-F238E27FC236}">
                    <a16:creationId xmlns:a16="http://schemas.microsoft.com/office/drawing/2014/main" id="{2D68E40C-3943-4936-9AFE-395631D66FF6}"/>
                  </a:ext>
                </a:extLst>
              </p:cNvPr>
              <p:cNvSpPr>
                <a:spLocks noEditPoints="1"/>
              </p:cNvSpPr>
              <p:nvPr/>
            </p:nvSpPr>
            <p:spPr bwMode="auto">
              <a:xfrm>
                <a:off x="964" y="929"/>
                <a:ext cx="280" cy="76"/>
              </a:xfrm>
              <a:custGeom>
                <a:avLst/>
                <a:gdLst>
                  <a:gd name="T0" fmla="*/ 240 w 280"/>
                  <a:gd name="T1" fmla="*/ 76 h 76"/>
                  <a:gd name="T2" fmla="*/ 0 w 280"/>
                  <a:gd name="T3" fmla="*/ 76 h 76"/>
                  <a:gd name="T4" fmla="*/ 6 w 280"/>
                  <a:gd name="T5" fmla="*/ 64 h 76"/>
                  <a:gd name="T6" fmla="*/ 6 w 280"/>
                  <a:gd name="T7" fmla="*/ 64 h 76"/>
                  <a:gd name="T8" fmla="*/ 12 w 280"/>
                  <a:gd name="T9" fmla="*/ 50 h 76"/>
                  <a:gd name="T10" fmla="*/ 12 w 280"/>
                  <a:gd name="T11" fmla="*/ 38 h 76"/>
                  <a:gd name="T12" fmla="*/ 12 w 280"/>
                  <a:gd name="T13" fmla="*/ 38 h 76"/>
                  <a:gd name="T14" fmla="*/ 12 w 280"/>
                  <a:gd name="T15" fmla="*/ 24 h 76"/>
                  <a:gd name="T16" fmla="*/ 6 w 280"/>
                  <a:gd name="T17" fmla="*/ 12 h 76"/>
                  <a:gd name="T18" fmla="*/ 0 w 280"/>
                  <a:gd name="T19" fmla="*/ 0 h 76"/>
                  <a:gd name="T20" fmla="*/ 240 w 280"/>
                  <a:gd name="T21" fmla="*/ 0 h 76"/>
                  <a:gd name="T22" fmla="*/ 240 w 280"/>
                  <a:gd name="T23" fmla="*/ 0 h 76"/>
                  <a:gd name="T24" fmla="*/ 248 w 280"/>
                  <a:gd name="T25" fmla="*/ 0 h 76"/>
                  <a:gd name="T26" fmla="*/ 256 w 280"/>
                  <a:gd name="T27" fmla="*/ 2 h 76"/>
                  <a:gd name="T28" fmla="*/ 262 w 280"/>
                  <a:gd name="T29" fmla="*/ 6 h 76"/>
                  <a:gd name="T30" fmla="*/ 268 w 280"/>
                  <a:gd name="T31" fmla="*/ 10 h 76"/>
                  <a:gd name="T32" fmla="*/ 272 w 280"/>
                  <a:gd name="T33" fmla="*/ 16 h 76"/>
                  <a:gd name="T34" fmla="*/ 276 w 280"/>
                  <a:gd name="T35" fmla="*/ 24 h 76"/>
                  <a:gd name="T36" fmla="*/ 278 w 280"/>
                  <a:gd name="T37" fmla="*/ 30 h 76"/>
                  <a:gd name="T38" fmla="*/ 280 w 280"/>
                  <a:gd name="T39" fmla="*/ 38 h 76"/>
                  <a:gd name="T40" fmla="*/ 280 w 280"/>
                  <a:gd name="T41" fmla="*/ 38 h 76"/>
                  <a:gd name="T42" fmla="*/ 278 w 280"/>
                  <a:gd name="T43" fmla="*/ 46 h 76"/>
                  <a:gd name="T44" fmla="*/ 276 w 280"/>
                  <a:gd name="T45" fmla="*/ 52 h 76"/>
                  <a:gd name="T46" fmla="*/ 272 w 280"/>
                  <a:gd name="T47" fmla="*/ 60 h 76"/>
                  <a:gd name="T48" fmla="*/ 268 w 280"/>
                  <a:gd name="T49" fmla="*/ 64 h 76"/>
                  <a:gd name="T50" fmla="*/ 262 w 280"/>
                  <a:gd name="T51" fmla="*/ 70 h 76"/>
                  <a:gd name="T52" fmla="*/ 256 w 280"/>
                  <a:gd name="T53" fmla="*/ 74 h 76"/>
                  <a:gd name="T54" fmla="*/ 248 w 280"/>
                  <a:gd name="T55" fmla="*/ 76 h 76"/>
                  <a:gd name="T56" fmla="*/ 240 w 280"/>
                  <a:gd name="T57" fmla="*/ 76 h 76"/>
                  <a:gd name="T58" fmla="*/ 240 w 280"/>
                  <a:gd name="T59" fmla="*/ 76 h 76"/>
                  <a:gd name="T60" fmla="*/ 28 w 280"/>
                  <a:gd name="T61" fmla="*/ 58 h 76"/>
                  <a:gd name="T62" fmla="*/ 240 w 280"/>
                  <a:gd name="T63" fmla="*/ 58 h 76"/>
                  <a:gd name="T64" fmla="*/ 240 w 280"/>
                  <a:gd name="T65" fmla="*/ 58 h 76"/>
                  <a:gd name="T66" fmla="*/ 248 w 280"/>
                  <a:gd name="T67" fmla="*/ 56 h 76"/>
                  <a:gd name="T68" fmla="*/ 256 w 280"/>
                  <a:gd name="T69" fmla="*/ 52 h 76"/>
                  <a:gd name="T70" fmla="*/ 260 w 280"/>
                  <a:gd name="T71" fmla="*/ 46 h 76"/>
                  <a:gd name="T72" fmla="*/ 262 w 280"/>
                  <a:gd name="T73" fmla="*/ 38 h 76"/>
                  <a:gd name="T74" fmla="*/ 262 w 280"/>
                  <a:gd name="T75" fmla="*/ 38 h 76"/>
                  <a:gd name="T76" fmla="*/ 260 w 280"/>
                  <a:gd name="T77" fmla="*/ 30 h 76"/>
                  <a:gd name="T78" fmla="*/ 256 w 280"/>
                  <a:gd name="T79" fmla="*/ 24 h 76"/>
                  <a:gd name="T80" fmla="*/ 248 w 280"/>
                  <a:gd name="T81" fmla="*/ 20 h 76"/>
                  <a:gd name="T82" fmla="*/ 240 w 280"/>
                  <a:gd name="T83" fmla="*/ 18 h 76"/>
                  <a:gd name="T84" fmla="*/ 28 w 280"/>
                  <a:gd name="T85" fmla="*/ 18 h 76"/>
                  <a:gd name="T86" fmla="*/ 28 w 280"/>
                  <a:gd name="T87" fmla="*/ 18 h 76"/>
                  <a:gd name="T88" fmla="*/ 30 w 280"/>
                  <a:gd name="T89" fmla="*/ 28 h 76"/>
                  <a:gd name="T90" fmla="*/ 30 w 280"/>
                  <a:gd name="T91" fmla="*/ 38 h 76"/>
                  <a:gd name="T92" fmla="*/ 30 w 280"/>
                  <a:gd name="T93" fmla="*/ 38 h 76"/>
                  <a:gd name="T94" fmla="*/ 30 w 280"/>
                  <a:gd name="T95" fmla="*/ 48 h 76"/>
                  <a:gd name="T96" fmla="*/ 28 w 280"/>
                  <a:gd name="T97" fmla="*/ 58 h 76"/>
                  <a:gd name="T98" fmla="*/ 28 w 280"/>
                  <a:gd name="T9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76">
                    <a:moveTo>
                      <a:pt x="240" y="76"/>
                    </a:moveTo>
                    <a:lnTo>
                      <a:pt x="0" y="76"/>
                    </a:lnTo>
                    <a:lnTo>
                      <a:pt x="6" y="64"/>
                    </a:lnTo>
                    <a:lnTo>
                      <a:pt x="6" y="64"/>
                    </a:lnTo>
                    <a:lnTo>
                      <a:pt x="12" y="50"/>
                    </a:lnTo>
                    <a:lnTo>
                      <a:pt x="12" y="38"/>
                    </a:lnTo>
                    <a:lnTo>
                      <a:pt x="12" y="38"/>
                    </a:lnTo>
                    <a:lnTo>
                      <a:pt x="12" y="24"/>
                    </a:lnTo>
                    <a:lnTo>
                      <a:pt x="6" y="12"/>
                    </a:lnTo>
                    <a:lnTo>
                      <a:pt x="0" y="0"/>
                    </a:lnTo>
                    <a:lnTo>
                      <a:pt x="240" y="0"/>
                    </a:lnTo>
                    <a:lnTo>
                      <a:pt x="240" y="0"/>
                    </a:lnTo>
                    <a:lnTo>
                      <a:pt x="248" y="0"/>
                    </a:lnTo>
                    <a:lnTo>
                      <a:pt x="256" y="2"/>
                    </a:lnTo>
                    <a:lnTo>
                      <a:pt x="262" y="6"/>
                    </a:lnTo>
                    <a:lnTo>
                      <a:pt x="268" y="10"/>
                    </a:lnTo>
                    <a:lnTo>
                      <a:pt x="272" y="16"/>
                    </a:lnTo>
                    <a:lnTo>
                      <a:pt x="276" y="24"/>
                    </a:lnTo>
                    <a:lnTo>
                      <a:pt x="278" y="30"/>
                    </a:lnTo>
                    <a:lnTo>
                      <a:pt x="280" y="38"/>
                    </a:lnTo>
                    <a:lnTo>
                      <a:pt x="280" y="38"/>
                    </a:lnTo>
                    <a:lnTo>
                      <a:pt x="278" y="46"/>
                    </a:lnTo>
                    <a:lnTo>
                      <a:pt x="276" y="52"/>
                    </a:lnTo>
                    <a:lnTo>
                      <a:pt x="272" y="60"/>
                    </a:lnTo>
                    <a:lnTo>
                      <a:pt x="268" y="64"/>
                    </a:lnTo>
                    <a:lnTo>
                      <a:pt x="262" y="70"/>
                    </a:lnTo>
                    <a:lnTo>
                      <a:pt x="256" y="74"/>
                    </a:lnTo>
                    <a:lnTo>
                      <a:pt x="248" y="76"/>
                    </a:lnTo>
                    <a:lnTo>
                      <a:pt x="240" y="76"/>
                    </a:lnTo>
                    <a:lnTo>
                      <a:pt x="240" y="76"/>
                    </a:lnTo>
                    <a:close/>
                    <a:moveTo>
                      <a:pt x="28" y="58"/>
                    </a:moveTo>
                    <a:lnTo>
                      <a:pt x="240" y="58"/>
                    </a:lnTo>
                    <a:lnTo>
                      <a:pt x="240" y="58"/>
                    </a:lnTo>
                    <a:lnTo>
                      <a:pt x="248" y="56"/>
                    </a:lnTo>
                    <a:lnTo>
                      <a:pt x="256" y="52"/>
                    </a:lnTo>
                    <a:lnTo>
                      <a:pt x="260" y="46"/>
                    </a:lnTo>
                    <a:lnTo>
                      <a:pt x="262" y="38"/>
                    </a:lnTo>
                    <a:lnTo>
                      <a:pt x="262" y="38"/>
                    </a:lnTo>
                    <a:lnTo>
                      <a:pt x="260" y="30"/>
                    </a:lnTo>
                    <a:lnTo>
                      <a:pt x="256" y="24"/>
                    </a:lnTo>
                    <a:lnTo>
                      <a:pt x="248" y="20"/>
                    </a:lnTo>
                    <a:lnTo>
                      <a:pt x="240" y="18"/>
                    </a:lnTo>
                    <a:lnTo>
                      <a:pt x="28" y="18"/>
                    </a:lnTo>
                    <a:lnTo>
                      <a:pt x="28" y="18"/>
                    </a:lnTo>
                    <a:lnTo>
                      <a:pt x="30" y="28"/>
                    </a:lnTo>
                    <a:lnTo>
                      <a:pt x="30" y="38"/>
                    </a:lnTo>
                    <a:lnTo>
                      <a:pt x="30" y="38"/>
                    </a:lnTo>
                    <a:lnTo>
                      <a:pt x="30" y="48"/>
                    </a:lnTo>
                    <a:lnTo>
                      <a:pt x="28" y="58"/>
                    </a:lnTo>
                    <a:lnTo>
                      <a:pt x="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1" name="Freeform 42">
                <a:extLst>
                  <a:ext uri="{FF2B5EF4-FFF2-40B4-BE49-F238E27FC236}">
                    <a16:creationId xmlns:a16="http://schemas.microsoft.com/office/drawing/2014/main" id="{16572AD0-AEB2-4015-9CB5-4D2BD1E15FA1}"/>
                  </a:ext>
                </a:extLst>
              </p:cNvPr>
              <p:cNvSpPr>
                <a:spLocks noEditPoints="1"/>
              </p:cNvSpPr>
              <p:nvPr/>
            </p:nvSpPr>
            <p:spPr bwMode="auto">
              <a:xfrm>
                <a:off x="590" y="929"/>
                <a:ext cx="278" cy="76"/>
              </a:xfrm>
              <a:custGeom>
                <a:avLst/>
                <a:gdLst>
                  <a:gd name="T0" fmla="*/ 278 w 278"/>
                  <a:gd name="T1" fmla="*/ 76 h 76"/>
                  <a:gd name="T2" fmla="*/ 38 w 278"/>
                  <a:gd name="T3" fmla="*/ 76 h 76"/>
                  <a:gd name="T4" fmla="*/ 38 w 278"/>
                  <a:gd name="T5" fmla="*/ 76 h 76"/>
                  <a:gd name="T6" fmla="*/ 30 w 278"/>
                  <a:gd name="T7" fmla="*/ 76 h 76"/>
                  <a:gd name="T8" fmla="*/ 22 w 278"/>
                  <a:gd name="T9" fmla="*/ 74 h 76"/>
                  <a:gd name="T10" fmla="*/ 16 w 278"/>
                  <a:gd name="T11" fmla="*/ 70 h 76"/>
                  <a:gd name="T12" fmla="*/ 10 w 278"/>
                  <a:gd name="T13" fmla="*/ 64 h 76"/>
                  <a:gd name="T14" fmla="*/ 6 w 278"/>
                  <a:gd name="T15" fmla="*/ 60 h 76"/>
                  <a:gd name="T16" fmla="*/ 2 w 278"/>
                  <a:gd name="T17" fmla="*/ 52 h 76"/>
                  <a:gd name="T18" fmla="*/ 0 w 278"/>
                  <a:gd name="T19" fmla="*/ 46 h 76"/>
                  <a:gd name="T20" fmla="*/ 0 w 278"/>
                  <a:gd name="T21" fmla="*/ 38 h 76"/>
                  <a:gd name="T22" fmla="*/ 0 w 278"/>
                  <a:gd name="T23" fmla="*/ 38 h 76"/>
                  <a:gd name="T24" fmla="*/ 0 w 278"/>
                  <a:gd name="T25" fmla="*/ 30 h 76"/>
                  <a:gd name="T26" fmla="*/ 2 w 278"/>
                  <a:gd name="T27" fmla="*/ 24 h 76"/>
                  <a:gd name="T28" fmla="*/ 6 w 278"/>
                  <a:gd name="T29" fmla="*/ 16 h 76"/>
                  <a:gd name="T30" fmla="*/ 10 w 278"/>
                  <a:gd name="T31" fmla="*/ 10 h 76"/>
                  <a:gd name="T32" fmla="*/ 16 w 278"/>
                  <a:gd name="T33" fmla="*/ 6 h 76"/>
                  <a:gd name="T34" fmla="*/ 22 w 278"/>
                  <a:gd name="T35" fmla="*/ 2 h 76"/>
                  <a:gd name="T36" fmla="*/ 30 w 278"/>
                  <a:gd name="T37" fmla="*/ 0 h 76"/>
                  <a:gd name="T38" fmla="*/ 38 w 278"/>
                  <a:gd name="T39" fmla="*/ 0 h 76"/>
                  <a:gd name="T40" fmla="*/ 278 w 278"/>
                  <a:gd name="T41" fmla="*/ 0 h 76"/>
                  <a:gd name="T42" fmla="*/ 272 w 278"/>
                  <a:gd name="T43" fmla="*/ 12 h 76"/>
                  <a:gd name="T44" fmla="*/ 272 w 278"/>
                  <a:gd name="T45" fmla="*/ 12 h 76"/>
                  <a:gd name="T46" fmla="*/ 268 w 278"/>
                  <a:gd name="T47" fmla="*/ 24 h 76"/>
                  <a:gd name="T48" fmla="*/ 266 w 278"/>
                  <a:gd name="T49" fmla="*/ 38 h 76"/>
                  <a:gd name="T50" fmla="*/ 266 w 278"/>
                  <a:gd name="T51" fmla="*/ 38 h 76"/>
                  <a:gd name="T52" fmla="*/ 268 w 278"/>
                  <a:gd name="T53" fmla="*/ 50 h 76"/>
                  <a:gd name="T54" fmla="*/ 272 w 278"/>
                  <a:gd name="T55" fmla="*/ 64 h 76"/>
                  <a:gd name="T56" fmla="*/ 278 w 278"/>
                  <a:gd name="T57" fmla="*/ 76 h 76"/>
                  <a:gd name="T58" fmla="*/ 38 w 278"/>
                  <a:gd name="T59" fmla="*/ 18 h 76"/>
                  <a:gd name="T60" fmla="*/ 38 w 278"/>
                  <a:gd name="T61" fmla="*/ 18 h 76"/>
                  <a:gd name="T62" fmla="*/ 30 w 278"/>
                  <a:gd name="T63" fmla="*/ 20 h 76"/>
                  <a:gd name="T64" fmla="*/ 24 w 278"/>
                  <a:gd name="T65" fmla="*/ 24 h 76"/>
                  <a:gd name="T66" fmla="*/ 20 w 278"/>
                  <a:gd name="T67" fmla="*/ 30 h 76"/>
                  <a:gd name="T68" fmla="*/ 18 w 278"/>
                  <a:gd name="T69" fmla="*/ 38 h 76"/>
                  <a:gd name="T70" fmla="*/ 18 w 278"/>
                  <a:gd name="T71" fmla="*/ 38 h 76"/>
                  <a:gd name="T72" fmla="*/ 20 w 278"/>
                  <a:gd name="T73" fmla="*/ 46 h 76"/>
                  <a:gd name="T74" fmla="*/ 24 w 278"/>
                  <a:gd name="T75" fmla="*/ 52 h 76"/>
                  <a:gd name="T76" fmla="*/ 30 w 278"/>
                  <a:gd name="T77" fmla="*/ 56 h 76"/>
                  <a:gd name="T78" fmla="*/ 38 w 278"/>
                  <a:gd name="T79" fmla="*/ 58 h 76"/>
                  <a:gd name="T80" fmla="*/ 252 w 278"/>
                  <a:gd name="T81" fmla="*/ 58 h 76"/>
                  <a:gd name="T82" fmla="*/ 252 w 278"/>
                  <a:gd name="T83" fmla="*/ 58 h 76"/>
                  <a:gd name="T84" fmla="*/ 250 w 278"/>
                  <a:gd name="T85" fmla="*/ 48 h 76"/>
                  <a:gd name="T86" fmla="*/ 248 w 278"/>
                  <a:gd name="T87" fmla="*/ 38 h 76"/>
                  <a:gd name="T88" fmla="*/ 248 w 278"/>
                  <a:gd name="T89" fmla="*/ 38 h 76"/>
                  <a:gd name="T90" fmla="*/ 250 w 278"/>
                  <a:gd name="T91" fmla="*/ 28 h 76"/>
                  <a:gd name="T92" fmla="*/ 252 w 278"/>
                  <a:gd name="T93" fmla="*/ 18 h 76"/>
                  <a:gd name="T94" fmla="*/ 38 w 278"/>
                  <a:gd name="T95"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8" h="76">
                    <a:moveTo>
                      <a:pt x="278" y="76"/>
                    </a:moveTo>
                    <a:lnTo>
                      <a:pt x="38" y="76"/>
                    </a:lnTo>
                    <a:lnTo>
                      <a:pt x="38" y="76"/>
                    </a:lnTo>
                    <a:lnTo>
                      <a:pt x="30" y="76"/>
                    </a:lnTo>
                    <a:lnTo>
                      <a:pt x="22" y="74"/>
                    </a:lnTo>
                    <a:lnTo>
                      <a:pt x="16" y="70"/>
                    </a:lnTo>
                    <a:lnTo>
                      <a:pt x="10" y="64"/>
                    </a:lnTo>
                    <a:lnTo>
                      <a:pt x="6" y="60"/>
                    </a:lnTo>
                    <a:lnTo>
                      <a:pt x="2" y="52"/>
                    </a:lnTo>
                    <a:lnTo>
                      <a:pt x="0" y="46"/>
                    </a:lnTo>
                    <a:lnTo>
                      <a:pt x="0" y="38"/>
                    </a:lnTo>
                    <a:lnTo>
                      <a:pt x="0" y="38"/>
                    </a:lnTo>
                    <a:lnTo>
                      <a:pt x="0" y="30"/>
                    </a:lnTo>
                    <a:lnTo>
                      <a:pt x="2" y="24"/>
                    </a:lnTo>
                    <a:lnTo>
                      <a:pt x="6" y="16"/>
                    </a:lnTo>
                    <a:lnTo>
                      <a:pt x="10" y="10"/>
                    </a:lnTo>
                    <a:lnTo>
                      <a:pt x="16" y="6"/>
                    </a:lnTo>
                    <a:lnTo>
                      <a:pt x="22" y="2"/>
                    </a:lnTo>
                    <a:lnTo>
                      <a:pt x="30" y="0"/>
                    </a:lnTo>
                    <a:lnTo>
                      <a:pt x="38" y="0"/>
                    </a:lnTo>
                    <a:lnTo>
                      <a:pt x="278" y="0"/>
                    </a:lnTo>
                    <a:lnTo>
                      <a:pt x="272" y="12"/>
                    </a:lnTo>
                    <a:lnTo>
                      <a:pt x="272" y="12"/>
                    </a:lnTo>
                    <a:lnTo>
                      <a:pt x="268" y="24"/>
                    </a:lnTo>
                    <a:lnTo>
                      <a:pt x="266" y="38"/>
                    </a:lnTo>
                    <a:lnTo>
                      <a:pt x="266" y="38"/>
                    </a:lnTo>
                    <a:lnTo>
                      <a:pt x="268" y="50"/>
                    </a:lnTo>
                    <a:lnTo>
                      <a:pt x="272" y="64"/>
                    </a:lnTo>
                    <a:lnTo>
                      <a:pt x="278" y="76"/>
                    </a:lnTo>
                    <a:close/>
                    <a:moveTo>
                      <a:pt x="38" y="18"/>
                    </a:moveTo>
                    <a:lnTo>
                      <a:pt x="38" y="18"/>
                    </a:lnTo>
                    <a:lnTo>
                      <a:pt x="30" y="20"/>
                    </a:lnTo>
                    <a:lnTo>
                      <a:pt x="24" y="24"/>
                    </a:lnTo>
                    <a:lnTo>
                      <a:pt x="20" y="30"/>
                    </a:lnTo>
                    <a:lnTo>
                      <a:pt x="18" y="38"/>
                    </a:lnTo>
                    <a:lnTo>
                      <a:pt x="18" y="38"/>
                    </a:lnTo>
                    <a:lnTo>
                      <a:pt x="20" y="46"/>
                    </a:lnTo>
                    <a:lnTo>
                      <a:pt x="24" y="52"/>
                    </a:lnTo>
                    <a:lnTo>
                      <a:pt x="30" y="56"/>
                    </a:lnTo>
                    <a:lnTo>
                      <a:pt x="38" y="58"/>
                    </a:lnTo>
                    <a:lnTo>
                      <a:pt x="252" y="58"/>
                    </a:lnTo>
                    <a:lnTo>
                      <a:pt x="252" y="58"/>
                    </a:lnTo>
                    <a:lnTo>
                      <a:pt x="250" y="48"/>
                    </a:lnTo>
                    <a:lnTo>
                      <a:pt x="248" y="38"/>
                    </a:lnTo>
                    <a:lnTo>
                      <a:pt x="248" y="38"/>
                    </a:lnTo>
                    <a:lnTo>
                      <a:pt x="250" y="28"/>
                    </a:lnTo>
                    <a:lnTo>
                      <a:pt x="252" y="18"/>
                    </a:lnTo>
                    <a:lnTo>
                      <a:pt x="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2" name="Freeform 43">
                <a:extLst>
                  <a:ext uri="{FF2B5EF4-FFF2-40B4-BE49-F238E27FC236}">
                    <a16:creationId xmlns:a16="http://schemas.microsoft.com/office/drawing/2014/main" id="{08D16694-995A-4924-863B-3EB02D013E98}"/>
                  </a:ext>
                </a:extLst>
              </p:cNvPr>
              <p:cNvSpPr>
                <a:spLocks/>
              </p:cNvSpPr>
              <p:nvPr/>
            </p:nvSpPr>
            <p:spPr bwMode="auto">
              <a:xfrm>
                <a:off x="842" y="889"/>
                <a:ext cx="148" cy="60"/>
              </a:xfrm>
              <a:custGeom>
                <a:avLst/>
                <a:gdLst>
                  <a:gd name="T0" fmla="*/ 16 w 148"/>
                  <a:gd name="T1" fmla="*/ 60 h 60"/>
                  <a:gd name="T2" fmla="*/ 0 w 148"/>
                  <a:gd name="T3" fmla="*/ 52 h 60"/>
                  <a:gd name="T4" fmla="*/ 4 w 148"/>
                  <a:gd name="T5" fmla="*/ 44 h 60"/>
                  <a:gd name="T6" fmla="*/ 4 w 148"/>
                  <a:gd name="T7" fmla="*/ 44 h 60"/>
                  <a:gd name="T8" fmla="*/ 10 w 148"/>
                  <a:gd name="T9" fmla="*/ 36 h 60"/>
                  <a:gd name="T10" fmla="*/ 16 w 148"/>
                  <a:gd name="T11" fmla="*/ 26 h 60"/>
                  <a:gd name="T12" fmla="*/ 24 w 148"/>
                  <a:gd name="T13" fmla="*/ 18 h 60"/>
                  <a:gd name="T14" fmla="*/ 32 w 148"/>
                  <a:gd name="T15" fmla="*/ 12 h 60"/>
                  <a:gd name="T16" fmla="*/ 42 w 148"/>
                  <a:gd name="T17" fmla="*/ 6 h 60"/>
                  <a:gd name="T18" fmla="*/ 52 w 148"/>
                  <a:gd name="T19" fmla="*/ 2 h 60"/>
                  <a:gd name="T20" fmla="*/ 64 w 148"/>
                  <a:gd name="T21" fmla="*/ 0 h 60"/>
                  <a:gd name="T22" fmla="*/ 74 w 148"/>
                  <a:gd name="T23" fmla="*/ 0 h 60"/>
                  <a:gd name="T24" fmla="*/ 74 w 148"/>
                  <a:gd name="T25" fmla="*/ 0 h 60"/>
                  <a:gd name="T26" fmla="*/ 86 w 148"/>
                  <a:gd name="T27" fmla="*/ 0 h 60"/>
                  <a:gd name="T28" fmla="*/ 96 w 148"/>
                  <a:gd name="T29" fmla="*/ 2 h 60"/>
                  <a:gd name="T30" fmla="*/ 106 w 148"/>
                  <a:gd name="T31" fmla="*/ 6 h 60"/>
                  <a:gd name="T32" fmla="*/ 116 w 148"/>
                  <a:gd name="T33" fmla="*/ 12 h 60"/>
                  <a:gd name="T34" fmla="*/ 126 w 148"/>
                  <a:gd name="T35" fmla="*/ 18 h 60"/>
                  <a:gd name="T36" fmla="*/ 132 w 148"/>
                  <a:gd name="T37" fmla="*/ 26 h 60"/>
                  <a:gd name="T38" fmla="*/ 140 w 148"/>
                  <a:gd name="T39" fmla="*/ 36 h 60"/>
                  <a:gd name="T40" fmla="*/ 146 w 148"/>
                  <a:gd name="T41" fmla="*/ 44 h 60"/>
                  <a:gd name="T42" fmla="*/ 148 w 148"/>
                  <a:gd name="T43" fmla="*/ 52 h 60"/>
                  <a:gd name="T44" fmla="*/ 132 w 148"/>
                  <a:gd name="T45" fmla="*/ 60 h 60"/>
                  <a:gd name="T46" fmla="*/ 128 w 148"/>
                  <a:gd name="T47" fmla="*/ 52 h 60"/>
                  <a:gd name="T48" fmla="*/ 128 w 148"/>
                  <a:gd name="T49" fmla="*/ 52 h 60"/>
                  <a:gd name="T50" fmla="*/ 124 w 148"/>
                  <a:gd name="T51" fmla="*/ 44 h 60"/>
                  <a:gd name="T52" fmla="*/ 120 w 148"/>
                  <a:gd name="T53" fmla="*/ 38 h 60"/>
                  <a:gd name="T54" fmla="*/ 106 w 148"/>
                  <a:gd name="T55" fmla="*/ 28 h 60"/>
                  <a:gd name="T56" fmla="*/ 92 w 148"/>
                  <a:gd name="T57" fmla="*/ 20 h 60"/>
                  <a:gd name="T58" fmla="*/ 84 w 148"/>
                  <a:gd name="T59" fmla="*/ 18 h 60"/>
                  <a:gd name="T60" fmla="*/ 74 w 148"/>
                  <a:gd name="T61" fmla="*/ 18 h 60"/>
                  <a:gd name="T62" fmla="*/ 74 w 148"/>
                  <a:gd name="T63" fmla="*/ 18 h 60"/>
                  <a:gd name="T64" fmla="*/ 66 w 148"/>
                  <a:gd name="T65" fmla="*/ 18 h 60"/>
                  <a:gd name="T66" fmla="*/ 58 w 148"/>
                  <a:gd name="T67" fmla="*/ 20 h 60"/>
                  <a:gd name="T68" fmla="*/ 42 w 148"/>
                  <a:gd name="T69" fmla="*/ 28 h 60"/>
                  <a:gd name="T70" fmla="*/ 30 w 148"/>
                  <a:gd name="T71" fmla="*/ 38 h 60"/>
                  <a:gd name="T72" fmla="*/ 24 w 148"/>
                  <a:gd name="T73" fmla="*/ 44 h 60"/>
                  <a:gd name="T74" fmla="*/ 20 w 148"/>
                  <a:gd name="T75" fmla="*/ 52 h 60"/>
                  <a:gd name="T76" fmla="*/ 16 w 148"/>
                  <a:gd name="T7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60">
                    <a:moveTo>
                      <a:pt x="16" y="60"/>
                    </a:moveTo>
                    <a:lnTo>
                      <a:pt x="0" y="52"/>
                    </a:lnTo>
                    <a:lnTo>
                      <a:pt x="4" y="44"/>
                    </a:lnTo>
                    <a:lnTo>
                      <a:pt x="4" y="44"/>
                    </a:lnTo>
                    <a:lnTo>
                      <a:pt x="10" y="36"/>
                    </a:lnTo>
                    <a:lnTo>
                      <a:pt x="16" y="26"/>
                    </a:lnTo>
                    <a:lnTo>
                      <a:pt x="24" y="18"/>
                    </a:lnTo>
                    <a:lnTo>
                      <a:pt x="32" y="12"/>
                    </a:lnTo>
                    <a:lnTo>
                      <a:pt x="42" y="6"/>
                    </a:lnTo>
                    <a:lnTo>
                      <a:pt x="52" y="2"/>
                    </a:lnTo>
                    <a:lnTo>
                      <a:pt x="64" y="0"/>
                    </a:lnTo>
                    <a:lnTo>
                      <a:pt x="74" y="0"/>
                    </a:lnTo>
                    <a:lnTo>
                      <a:pt x="74" y="0"/>
                    </a:lnTo>
                    <a:lnTo>
                      <a:pt x="86" y="0"/>
                    </a:lnTo>
                    <a:lnTo>
                      <a:pt x="96" y="2"/>
                    </a:lnTo>
                    <a:lnTo>
                      <a:pt x="106" y="6"/>
                    </a:lnTo>
                    <a:lnTo>
                      <a:pt x="116" y="12"/>
                    </a:lnTo>
                    <a:lnTo>
                      <a:pt x="126" y="18"/>
                    </a:lnTo>
                    <a:lnTo>
                      <a:pt x="132" y="26"/>
                    </a:lnTo>
                    <a:lnTo>
                      <a:pt x="140" y="36"/>
                    </a:lnTo>
                    <a:lnTo>
                      <a:pt x="146" y="44"/>
                    </a:lnTo>
                    <a:lnTo>
                      <a:pt x="148" y="52"/>
                    </a:lnTo>
                    <a:lnTo>
                      <a:pt x="132" y="60"/>
                    </a:lnTo>
                    <a:lnTo>
                      <a:pt x="128" y="52"/>
                    </a:lnTo>
                    <a:lnTo>
                      <a:pt x="128" y="52"/>
                    </a:lnTo>
                    <a:lnTo>
                      <a:pt x="124" y="44"/>
                    </a:lnTo>
                    <a:lnTo>
                      <a:pt x="120" y="38"/>
                    </a:lnTo>
                    <a:lnTo>
                      <a:pt x="106" y="28"/>
                    </a:lnTo>
                    <a:lnTo>
                      <a:pt x="92" y="20"/>
                    </a:lnTo>
                    <a:lnTo>
                      <a:pt x="84" y="18"/>
                    </a:lnTo>
                    <a:lnTo>
                      <a:pt x="74" y="18"/>
                    </a:lnTo>
                    <a:lnTo>
                      <a:pt x="74" y="18"/>
                    </a:lnTo>
                    <a:lnTo>
                      <a:pt x="66" y="18"/>
                    </a:lnTo>
                    <a:lnTo>
                      <a:pt x="58" y="20"/>
                    </a:lnTo>
                    <a:lnTo>
                      <a:pt x="42" y="28"/>
                    </a:lnTo>
                    <a:lnTo>
                      <a:pt x="30" y="38"/>
                    </a:lnTo>
                    <a:lnTo>
                      <a:pt x="24" y="44"/>
                    </a:lnTo>
                    <a:lnTo>
                      <a:pt x="20" y="52"/>
                    </a:lnTo>
                    <a:lnTo>
                      <a:pt x="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3" name="Freeform 44">
                <a:extLst>
                  <a:ext uri="{FF2B5EF4-FFF2-40B4-BE49-F238E27FC236}">
                    <a16:creationId xmlns:a16="http://schemas.microsoft.com/office/drawing/2014/main" id="{50FCB019-3FAD-49ED-9A43-3691C87A1693}"/>
                  </a:ext>
                </a:extLst>
              </p:cNvPr>
              <p:cNvSpPr>
                <a:spLocks/>
              </p:cNvSpPr>
              <p:nvPr/>
            </p:nvSpPr>
            <p:spPr bwMode="auto">
              <a:xfrm>
                <a:off x="934" y="985"/>
                <a:ext cx="56" cy="56"/>
              </a:xfrm>
              <a:custGeom>
                <a:avLst/>
                <a:gdLst>
                  <a:gd name="T0" fmla="*/ 8 w 56"/>
                  <a:gd name="T1" fmla="*/ 56 h 56"/>
                  <a:gd name="T2" fmla="*/ 0 w 56"/>
                  <a:gd name="T3" fmla="*/ 40 h 56"/>
                  <a:gd name="T4" fmla="*/ 8 w 56"/>
                  <a:gd name="T5" fmla="*/ 36 h 56"/>
                  <a:gd name="T6" fmla="*/ 8 w 56"/>
                  <a:gd name="T7" fmla="*/ 36 h 56"/>
                  <a:gd name="T8" fmla="*/ 16 w 56"/>
                  <a:gd name="T9" fmla="*/ 32 h 56"/>
                  <a:gd name="T10" fmla="*/ 24 w 56"/>
                  <a:gd name="T11" fmla="*/ 24 h 56"/>
                  <a:gd name="T12" fmla="*/ 32 w 56"/>
                  <a:gd name="T13" fmla="*/ 16 h 56"/>
                  <a:gd name="T14" fmla="*/ 36 w 56"/>
                  <a:gd name="T15" fmla="*/ 8 h 56"/>
                  <a:gd name="T16" fmla="*/ 40 w 56"/>
                  <a:gd name="T17" fmla="*/ 0 h 56"/>
                  <a:gd name="T18" fmla="*/ 56 w 56"/>
                  <a:gd name="T19" fmla="*/ 6 h 56"/>
                  <a:gd name="T20" fmla="*/ 54 w 56"/>
                  <a:gd name="T21" fmla="*/ 16 h 56"/>
                  <a:gd name="T22" fmla="*/ 54 w 56"/>
                  <a:gd name="T23" fmla="*/ 16 h 56"/>
                  <a:gd name="T24" fmla="*/ 46 w 56"/>
                  <a:gd name="T25" fmla="*/ 26 h 56"/>
                  <a:gd name="T26" fmla="*/ 38 w 56"/>
                  <a:gd name="T27" fmla="*/ 38 h 56"/>
                  <a:gd name="T28" fmla="*/ 28 w 56"/>
                  <a:gd name="T29" fmla="*/ 46 h 56"/>
                  <a:gd name="T30" fmla="*/ 16 w 56"/>
                  <a:gd name="T31" fmla="*/ 52 h 56"/>
                  <a:gd name="T32" fmla="*/ 8 w 56"/>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8" y="56"/>
                    </a:moveTo>
                    <a:lnTo>
                      <a:pt x="0" y="40"/>
                    </a:lnTo>
                    <a:lnTo>
                      <a:pt x="8" y="36"/>
                    </a:lnTo>
                    <a:lnTo>
                      <a:pt x="8" y="36"/>
                    </a:lnTo>
                    <a:lnTo>
                      <a:pt x="16" y="32"/>
                    </a:lnTo>
                    <a:lnTo>
                      <a:pt x="24" y="24"/>
                    </a:lnTo>
                    <a:lnTo>
                      <a:pt x="32" y="16"/>
                    </a:lnTo>
                    <a:lnTo>
                      <a:pt x="36" y="8"/>
                    </a:lnTo>
                    <a:lnTo>
                      <a:pt x="40" y="0"/>
                    </a:lnTo>
                    <a:lnTo>
                      <a:pt x="56" y="6"/>
                    </a:lnTo>
                    <a:lnTo>
                      <a:pt x="54" y="16"/>
                    </a:lnTo>
                    <a:lnTo>
                      <a:pt x="54" y="16"/>
                    </a:lnTo>
                    <a:lnTo>
                      <a:pt x="46" y="26"/>
                    </a:lnTo>
                    <a:lnTo>
                      <a:pt x="38" y="38"/>
                    </a:lnTo>
                    <a:lnTo>
                      <a:pt x="28" y="46"/>
                    </a:lnTo>
                    <a:lnTo>
                      <a:pt x="16" y="52"/>
                    </a:lnTo>
                    <a:lnTo>
                      <a:pt x="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4" name="Freeform 45">
                <a:extLst>
                  <a:ext uri="{FF2B5EF4-FFF2-40B4-BE49-F238E27FC236}">
                    <a16:creationId xmlns:a16="http://schemas.microsoft.com/office/drawing/2014/main" id="{9E18EA9A-E36F-4E95-B309-CFF05B28625F}"/>
                  </a:ext>
                </a:extLst>
              </p:cNvPr>
              <p:cNvSpPr>
                <a:spLocks/>
              </p:cNvSpPr>
              <p:nvPr/>
            </p:nvSpPr>
            <p:spPr bwMode="auto">
              <a:xfrm>
                <a:off x="842" y="985"/>
                <a:ext cx="58" cy="56"/>
              </a:xfrm>
              <a:custGeom>
                <a:avLst/>
                <a:gdLst>
                  <a:gd name="T0" fmla="*/ 50 w 58"/>
                  <a:gd name="T1" fmla="*/ 56 h 56"/>
                  <a:gd name="T2" fmla="*/ 42 w 58"/>
                  <a:gd name="T3" fmla="*/ 52 h 56"/>
                  <a:gd name="T4" fmla="*/ 42 w 58"/>
                  <a:gd name="T5" fmla="*/ 52 h 56"/>
                  <a:gd name="T6" fmla="*/ 30 w 58"/>
                  <a:gd name="T7" fmla="*/ 46 h 56"/>
                  <a:gd name="T8" fmla="*/ 20 w 58"/>
                  <a:gd name="T9" fmla="*/ 38 h 56"/>
                  <a:gd name="T10" fmla="*/ 10 w 58"/>
                  <a:gd name="T11" fmla="*/ 26 h 56"/>
                  <a:gd name="T12" fmla="*/ 4 w 58"/>
                  <a:gd name="T13" fmla="*/ 16 h 56"/>
                  <a:gd name="T14" fmla="*/ 0 w 58"/>
                  <a:gd name="T15" fmla="*/ 6 h 56"/>
                  <a:gd name="T16" fmla="*/ 16 w 58"/>
                  <a:gd name="T17" fmla="*/ 0 h 56"/>
                  <a:gd name="T18" fmla="*/ 20 w 58"/>
                  <a:gd name="T19" fmla="*/ 8 h 56"/>
                  <a:gd name="T20" fmla="*/ 20 w 58"/>
                  <a:gd name="T21" fmla="*/ 8 h 56"/>
                  <a:gd name="T22" fmla="*/ 26 w 58"/>
                  <a:gd name="T23" fmla="*/ 16 h 56"/>
                  <a:gd name="T24" fmla="*/ 32 w 58"/>
                  <a:gd name="T25" fmla="*/ 24 h 56"/>
                  <a:gd name="T26" fmla="*/ 40 w 58"/>
                  <a:gd name="T27" fmla="*/ 32 h 56"/>
                  <a:gd name="T28" fmla="*/ 48 w 58"/>
                  <a:gd name="T29" fmla="*/ 36 h 56"/>
                  <a:gd name="T30" fmla="*/ 58 w 58"/>
                  <a:gd name="T31" fmla="*/ 40 h 56"/>
                  <a:gd name="T32" fmla="*/ 50 w 58"/>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6">
                    <a:moveTo>
                      <a:pt x="50" y="56"/>
                    </a:moveTo>
                    <a:lnTo>
                      <a:pt x="42" y="52"/>
                    </a:lnTo>
                    <a:lnTo>
                      <a:pt x="42" y="52"/>
                    </a:lnTo>
                    <a:lnTo>
                      <a:pt x="30" y="46"/>
                    </a:lnTo>
                    <a:lnTo>
                      <a:pt x="20" y="38"/>
                    </a:lnTo>
                    <a:lnTo>
                      <a:pt x="10" y="26"/>
                    </a:lnTo>
                    <a:lnTo>
                      <a:pt x="4" y="16"/>
                    </a:lnTo>
                    <a:lnTo>
                      <a:pt x="0" y="6"/>
                    </a:lnTo>
                    <a:lnTo>
                      <a:pt x="16" y="0"/>
                    </a:lnTo>
                    <a:lnTo>
                      <a:pt x="20" y="8"/>
                    </a:lnTo>
                    <a:lnTo>
                      <a:pt x="20" y="8"/>
                    </a:lnTo>
                    <a:lnTo>
                      <a:pt x="26" y="16"/>
                    </a:lnTo>
                    <a:lnTo>
                      <a:pt x="32" y="24"/>
                    </a:lnTo>
                    <a:lnTo>
                      <a:pt x="40" y="32"/>
                    </a:lnTo>
                    <a:lnTo>
                      <a:pt x="48" y="36"/>
                    </a:lnTo>
                    <a:lnTo>
                      <a:pt x="58" y="40"/>
                    </a:lnTo>
                    <a:lnTo>
                      <a:pt x="5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5" name="Freeform 46">
                <a:extLst>
                  <a:ext uri="{FF2B5EF4-FFF2-40B4-BE49-F238E27FC236}">
                    <a16:creationId xmlns:a16="http://schemas.microsoft.com/office/drawing/2014/main" id="{13955BD6-E33B-4EC8-AB47-325267C1EFC1}"/>
                  </a:ext>
                </a:extLst>
              </p:cNvPr>
              <p:cNvSpPr>
                <a:spLocks noEditPoints="1"/>
              </p:cNvSpPr>
              <p:nvPr/>
            </p:nvSpPr>
            <p:spPr bwMode="auto">
              <a:xfrm>
                <a:off x="576" y="993"/>
                <a:ext cx="154" cy="228"/>
              </a:xfrm>
              <a:custGeom>
                <a:avLst/>
                <a:gdLst>
                  <a:gd name="T0" fmla="*/ 146 w 154"/>
                  <a:gd name="T1" fmla="*/ 228 h 228"/>
                  <a:gd name="T2" fmla="*/ 8 w 154"/>
                  <a:gd name="T3" fmla="*/ 228 h 228"/>
                  <a:gd name="T4" fmla="*/ 0 w 154"/>
                  <a:gd name="T5" fmla="*/ 216 h 228"/>
                  <a:gd name="T6" fmla="*/ 68 w 154"/>
                  <a:gd name="T7" fmla="*/ 0 h 228"/>
                  <a:gd name="T8" fmla="*/ 86 w 154"/>
                  <a:gd name="T9" fmla="*/ 0 h 228"/>
                  <a:gd name="T10" fmla="*/ 154 w 154"/>
                  <a:gd name="T11" fmla="*/ 216 h 228"/>
                  <a:gd name="T12" fmla="*/ 146 w 154"/>
                  <a:gd name="T13" fmla="*/ 228 h 228"/>
                  <a:gd name="T14" fmla="*/ 20 w 154"/>
                  <a:gd name="T15" fmla="*/ 210 h 228"/>
                  <a:gd name="T16" fmla="*/ 134 w 154"/>
                  <a:gd name="T17" fmla="*/ 210 h 228"/>
                  <a:gd name="T18" fmla="*/ 76 w 154"/>
                  <a:gd name="T19" fmla="*/ 32 h 228"/>
                  <a:gd name="T20" fmla="*/ 20 w 154"/>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28">
                    <a:moveTo>
                      <a:pt x="146" y="228"/>
                    </a:moveTo>
                    <a:lnTo>
                      <a:pt x="8" y="228"/>
                    </a:lnTo>
                    <a:lnTo>
                      <a:pt x="0" y="216"/>
                    </a:lnTo>
                    <a:lnTo>
                      <a:pt x="68" y="0"/>
                    </a:lnTo>
                    <a:lnTo>
                      <a:pt x="86" y="0"/>
                    </a:lnTo>
                    <a:lnTo>
                      <a:pt x="154" y="216"/>
                    </a:lnTo>
                    <a:lnTo>
                      <a:pt x="146" y="228"/>
                    </a:lnTo>
                    <a:close/>
                    <a:moveTo>
                      <a:pt x="20" y="210"/>
                    </a:moveTo>
                    <a:lnTo>
                      <a:pt x="134" y="210"/>
                    </a:lnTo>
                    <a:lnTo>
                      <a:pt x="76" y="32"/>
                    </a:lnTo>
                    <a:lnTo>
                      <a:pt x="2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6" name="Freeform 47">
                <a:extLst>
                  <a:ext uri="{FF2B5EF4-FFF2-40B4-BE49-F238E27FC236}">
                    <a16:creationId xmlns:a16="http://schemas.microsoft.com/office/drawing/2014/main" id="{7748F18C-CEF6-4B7B-BF05-5EDF951111AA}"/>
                  </a:ext>
                </a:extLst>
              </p:cNvPr>
              <p:cNvSpPr>
                <a:spLocks noEditPoints="1"/>
              </p:cNvSpPr>
              <p:nvPr/>
            </p:nvSpPr>
            <p:spPr bwMode="auto">
              <a:xfrm>
                <a:off x="1102" y="993"/>
                <a:ext cx="156" cy="228"/>
              </a:xfrm>
              <a:custGeom>
                <a:avLst/>
                <a:gdLst>
                  <a:gd name="T0" fmla="*/ 146 w 156"/>
                  <a:gd name="T1" fmla="*/ 228 h 228"/>
                  <a:gd name="T2" fmla="*/ 10 w 156"/>
                  <a:gd name="T3" fmla="*/ 228 h 228"/>
                  <a:gd name="T4" fmla="*/ 0 w 156"/>
                  <a:gd name="T5" fmla="*/ 216 h 228"/>
                  <a:gd name="T6" fmla="*/ 70 w 156"/>
                  <a:gd name="T7" fmla="*/ 0 h 228"/>
                  <a:gd name="T8" fmla="*/ 86 w 156"/>
                  <a:gd name="T9" fmla="*/ 0 h 228"/>
                  <a:gd name="T10" fmla="*/ 156 w 156"/>
                  <a:gd name="T11" fmla="*/ 216 h 228"/>
                  <a:gd name="T12" fmla="*/ 146 w 156"/>
                  <a:gd name="T13" fmla="*/ 228 h 228"/>
                  <a:gd name="T14" fmla="*/ 22 w 156"/>
                  <a:gd name="T15" fmla="*/ 210 h 228"/>
                  <a:gd name="T16" fmla="*/ 134 w 156"/>
                  <a:gd name="T17" fmla="*/ 210 h 228"/>
                  <a:gd name="T18" fmla="*/ 78 w 156"/>
                  <a:gd name="T19" fmla="*/ 32 h 228"/>
                  <a:gd name="T20" fmla="*/ 22 w 156"/>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28">
                    <a:moveTo>
                      <a:pt x="146" y="228"/>
                    </a:moveTo>
                    <a:lnTo>
                      <a:pt x="10" y="228"/>
                    </a:lnTo>
                    <a:lnTo>
                      <a:pt x="0" y="216"/>
                    </a:lnTo>
                    <a:lnTo>
                      <a:pt x="70" y="0"/>
                    </a:lnTo>
                    <a:lnTo>
                      <a:pt x="86" y="0"/>
                    </a:lnTo>
                    <a:lnTo>
                      <a:pt x="156" y="216"/>
                    </a:lnTo>
                    <a:lnTo>
                      <a:pt x="146" y="228"/>
                    </a:lnTo>
                    <a:close/>
                    <a:moveTo>
                      <a:pt x="22" y="210"/>
                    </a:moveTo>
                    <a:lnTo>
                      <a:pt x="134" y="210"/>
                    </a:lnTo>
                    <a:lnTo>
                      <a:pt x="78" y="32"/>
                    </a:lnTo>
                    <a:lnTo>
                      <a:pt x="22"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7" name="Freeform 48">
                <a:extLst>
                  <a:ext uri="{FF2B5EF4-FFF2-40B4-BE49-F238E27FC236}">
                    <a16:creationId xmlns:a16="http://schemas.microsoft.com/office/drawing/2014/main" id="{7BF41B90-7220-44D6-9D87-C0669781ECB9}"/>
                  </a:ext>
                </a:extLst>
              </p:cNvPr>
              <p:cNvSpPr>
                <a:spLocks noEditPoints="1"/>
              </p:cNvSpPr>
              <p:nvPr/>
            </p:nvSpPr>
            <p:spPr bwMode="auto">
              <a:xfrm>
                <a:off x="528" y="1203"/>
                <a:ext cx="250" cy="134"/>
              </a:xfrm>
              <a:custGeom>
                <a:avLst/>
                <a:gdLst>
                  <a:gd name="T0" fmla="*/ 124 w 250"/>
                  <a:gd name="T1" fmla="*/ 134 h 134"/>
                  <a:gd name="T2" fmla="*/ 124 w 250"/>
                  <a:gd name="T3" fmla="*/ 134 h 134"/>
                  <a:gd name="T4" fmla="*/ 112 w 250"/>
                  <a:gd name="T5" fmla="*/ 134 h 134"/>
                  <a:gd name="T6" fmla="*/ 100 w 250"/>
                  <a:gd name="T7" fmla="*/ 132 h 134"/>
                  <a:gd name="T8" fmla="*/ 88 w 250"/>
                  <a:gd name="T9" fmla="*/ 128 h 134"/>
                  <a:gd name="T10" fmla="*/ 76 w 250"/>
                  <a:gd name="T11" fmla="*/ 124 h 134"/>
                  <a:gd name="T12" fmla="*/ 56 w 250"/>
                  <a:gd name="T13" fmla="*/ 114 h 134"/>
                  <a:gd name="T14" fmla="*/ 36 w 250"/>
                  <a:gd name="T15" fmla="*/ 98 h 134"/>
                  <a:gd name="T16" fmla="*/ 22 w 250"/>
                  <a:gd name="T17" fmla="*/ 80 h 134"/>
                  <a:gd name="T18" fmla="*/ 10 w 250"/>
                  <a:gd name="T19" fmla="*/ 58 h 134"/>
                  <a:gd name="T20" fmla="*/ 6 w 250"/>
                  <a:gd name="T21" fmla="*/ 46 h 134"/>
                  <a:gd name="T22" fmla="*/ 2 w 250"/>
                  <a:gd name="T23" fmla="*/ 34 h 134"/>
                  <a:gd name="T24" fmla="*/ 0 w 250"/>
                  <a:gd name="T25" fmla="*/ 22 h 134"/>
                  <a:gd name="T26" fmla="*/ 0 w 250"/>
                  <a:gd name="T27" fmla="*/ 10 h 134"/>
                  <a:gd name="T28" fmla="*/ 0 w 250"/>
                  <a:gd name="T29" fmla="*/ 0 h 134"/>
                  <a:gd name="T30" fmla="*/ 250 w 250"/>
                  <a:gd name="T31" fmla="*/ 0 h 134"/>
                  <a:gd name="T32" fmla="*/ 250 w 250"/>
                  <a:gd name="T33" fmla="*/ 10 h 134"/>
                  <a:gd name="T34" fmla="*/ 250 w 250"/>
                  <a:gd name="T35" fmla="*/ 10 h 134"/>
                  <a:gd name="T36" fmla="*/ 250 w 250"/>
                  <a:gd name="T37" fmla="*/ 22 h 134"/>
                  <a:gd name="T38" fmla="*/ 248 w 250"/>
                  <a:gd name="T39" fmla="*/ 34 h 134"/>
                  <a:gd name="T40" fmla="*/ 244 w 250"/>
                  <a:gd name="T41" fmla="*/ 46 h 134"/>
                  <a:gd name="T42" fmla="*/ 240 w 250"/>
                  <a:gd name="T43" fmla="*/ 58 h 134"/>
                  <a:gd name="T44" fmla="*/ 228 w 250"/>
                  <a:gd name="T45" fmla="*/ 80 h 134"/>
                  <a:gd name="T46" fmla="*/ 214 w 250"/>
                  <a:gd name="T47" fmla="*/ 98 h 134"/>
                  <a:gd name="T48" fmla="*/ 194 w 250"/>
                  <a:gd name="T49" fmla="*/ 114 h 134"/>
                  <a:gd name="T50" fmla="*/ 174 w 250"/>
                  <a:gd name="T51" fmla="*/ 124 h 134"/>
                  <a:gd name="T52" fmla="*/ 162 w 250"/>
                  <a:gd name="T53" fmla="*/ 128 h 134"/>
                  <a:gd name="T54" fmla="*/ 150 w 250"/>
                  <a:gd name="T55" fmla="*/ 132 h 134"/>
                  <a:gd name="T56" fmla="*/ 138 w 250"/>
                  <a:gd name="T57" fmla="*/ 134 h 134"/>
                  <a:gd name="T58" fmla="*/ 124 w 250"/>
                  <a:gd name="T59" fmla="*/ 134 h 134"/>
                  <a:gd name="T60" fmla="*/ 124 w 250"/>
                  <a:gd name="T61" fmla="*/ 134 h 134"/>
                  <a:gd name="T62" fmla="*/ 18 w 250"/>
                  <a:gd name="T63" fmla="*/ 18 h 134"/>
                  <a:gd name="T64" fmla="*/ 18 w 250"/>
                  <a:gd name="T65" fmla="*/ 18 h 134"/>
                  <a:gd name="T66" fmla="*/ 22 w 250"/>
                  <a:gd name="T67" fmla="*/ 38 h 134"/>
                  <a:gd name="T68" fmla="*/ 30 w 250"/>
                  <a:gd name="T69" fmla="*/ 56 h 134"/>
                  <a:gd name="T70" fmla="*/ 40 w 250"/>
                  <a:gd name="T71" fmla="*/ 74 h 134"/>
                  <a:gd name="T72" fmla="*/ 52 w 250"/>
                  <a:gd name="T73" fmla="*/ 88 h 134"/>
                  <a:gd name="T74" fmla="*/ 68 w 250"/>
                  <a:gd name="T75" fmla="*/ 100 h 134"/>
                  <a:gd name="T76" fmla="*/ 86 w 250"/>
                  <a:gd name="T77" fmla="*/ 108 h 134"/>
                  <a:gd name="T78" fmla="*/ 104 w 250"/>
                  <a:gd name="T79" fmla="*/ 114 h 134"/>
                  <a:gd name="T80" fmla="*/ 124 w 250"/>
                  <a:gd name="T81" fmla="*/ 116 h 134"/>
                  <a:gd name="T82" fmla="*/ 124 w 250"/>
                  <a:gd name="T83" fmla="*/ 116 h 134"/>
                  <a:gd name="T84" fmla="*/ 146 w 250"/>
                  <a:gd name="T85" fmla="*/ 114 h 134"/>
                  <a:gd name="T86" fmla="*/ 164 w 250"/>
                  <a:gd name="T87" fmla="*/ 108 h 134"/>
                  <a:gd name="T88" fmla="*/ 182 w 250"/>
                  <a:gd name="T89" fmla="*/ 100 h 134"/>
                  <a:gd name="T90" fmla="*/ 198 w 250"/>
                  <a:gd name="T91" fmla="*/ 88 h 134"/>
                  <a:gd name="T92" fmla="*/ 210 w 250"/>
                  <a:gd name="T93" fmla="*/ 74 h 134"/>
                  <a:gd name="T94" fmla="*/ 220 w 250"/>
                  <a:gd name="T95" fmla="*/ 56 h 134"/>
                  <a:gd name="T96" fmla="*/ 228 w 250"/>
                  <a:gd name="T97" fmla="*/ 38 h 134"/>
                  <a:gd name="T98" fmla="*/ 232 w 250"/>
                  <a:gd name="T99" fmla="*/ 18 h 134"/>
                  <a:gd name="T100" fmla="*/ 18 w 250"/>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134">
                    <a:moveTo>
                      <a:pt x="124" y="134"/>
                    </a:moveTo>
                    <a:lnTo>
                      <a:pt x="124" y="134"/>
                    </a:lnTo>
                    <a:lnTo>
                      <a:pt x="112" y="134"/>
                    </a:lnTo>
                    <a:lnTo>
                      <a:pt x="100" y="132"/>
                    </a:lnTo>
                    <a:lnTo>
                      <a:pt x="88" y="128"/>
                    </a:lnTo>
                    <a:lnTo>
                      <a:pt x="76" y="124"/>
                    </a:lnTo>
                    <a:lnTo>
                      <a:pt x="56" y="114"/>
                    </a:lnTo>
                    <a:lnTo>
                      <a:pt x="36" y="98"/>
                    </a:lnTo>
                    <a:lnTo>
                      <a:pt x="22" y="80"/>
                    </a:lnTo>
                    <a:lnTo>
                      <a:pt x="10" y="58"/>
                    </a:lnTo>
                    <a:lnTo>
                      <a:pt x="6" y="46"/>
                    </a:lnTo>
                    <a:lnTo>
                      <a:pt x="2" y="34"/>
                    </a:lnTo>
                    <a:lnTo>
                      <a:pt x="0" y="22"/>
                    </a:lnTo>
                    <a:lnTo>
                      <a:pt x="0" y="10"/>
                    </a:lnTo>
                    <a:lnTo>
                      <a:pt x="0" y="0"/>
                    </a:lnTo>
                    <a:lnTo>
                      <a:pt x="250" y="0"/>
                    </a:lnTo>
                    <a:lnTo>
                      <a:pt x="250" y="10"/>
                    </a:lnTo>
                    <a:lnTo>
                      <a:pt x="250" y="10"/>
                    </a:lnTo>
                    <a:lnTo>
                      <a:pt x="250" y="22"/>
                    </a:lnTo>
                    <a:lnTo>
                      <a:pt x="248" y="34"/>
                    </a:lnTo>
                    <a:lnTo>
                      <a:pt x="244" y="46"/>
                    </a:lnTo>
                    <a:lnTo>
                      <a:pt x="240" y="58"/>
                    </a:lnTo>
                    <a:lnTo>
                      <a:pt x="228" y="80"/>
                    </a:lnTo>
                    <a:lnTo>
                      <a:pt x="214" y="98"/>
                    </a:lnTo>
                    <a:lnTo>
                      <a:pt x="194" y="114"/>
                    </a:lnTo>
                    <a:lnTo>
                      <a:pt x="174" y="124"/>
                    </a:lnTo>
                    <a:lnTo>
                      <a:pt x="162" y="128"/>
                    </a:lnTo>
                    <a:lnTo>
                      <a:pt x="150" y="132"/>
                    </a:lnTo>
                    <a:lnTo>
                      <a:pt x="138" y="134"/>
                    </a:lnTo>
                    <a:lnTo>
                      <a:pt x="124" y="134"/>
                    </a:lnTo>
                    <a:lnTo>
                      <a:pt x="124" y="134"/>
                    </a:lnTo>
                    <a:close/>
                    <a:moveTo>
                      <a:pt x="18" y="18"/>
                    </a:moveTo>
                    <a:lnTo>
                      <a:pt x="18" y="18"/>
                    </a:lnTo>
                    <a:lnTo>
                      <a:pt x="22" y="38"/>
                    </a:lnTo>
                    <a:lnTo>
                      <a:pt x="30" y="56"/>
                    </a:lnTo>
                    <a:lnTo>
                      <a:pt x="40" y="74"/>
                    </a:lnTo>
                    <a:lnTo>
                      <a:pt x="52" y="88"/>
                    </a:lnTo>
                    <a:lnTo>
                      <a:pt x="68" y="100"/>
                    </a:lnTo>
                    <a:lnTo>
                      <a:pt x="86" y="108"/>
                    </a:lnTo>
                    <a:lnTo>
                      <a:pt x="104" y="114"/>
                    </a:lnTo>
                    <a:lnTo>
                      <a:pt x="124" y="116"/>
                    </a:lnTo>
                    <a:lnTo>
                      <a:pt x="124" y="116"/>
                    </a:lnTo>
                    <a:lnTo>
                      <a:pt x="146" y="114"/>
                    </a:lnTo>
                    <a:lnTo>
                      <a:pt x="164" y="108"/>
                    </a:lnTo>
                    <a:lnTo>
                      <a:pt x="182" y="100"/>
                    </a:lnTo>
                    <a:lnTo>
                      <a:pt x="198" y="88"/>
                    </a:lnTo>
                    <a:lnTo>
                      <a:pt x="210" y="74"/>
                    </a:lnTo>
                    <a:lnTo>
                      <a:pt x="220" y="56"/>
                    </a:lnTo>
                    <a:lnTo>
                      <a:pt x="228" y="38"/>
                    </a:lnTo>
                    <a:lnTo>
                      <a:pt x="232"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8" name="Freeform 49">
                <a:extLst>
                  <a:ext uri="{FF2B5EF4-FFF2-40B4-BE49-F238E27FC236}">
                    <a16:creationId xmlns:a16="http://schemas.microsoft.com/office/drawing/2014/main" id="{4FFD0141-97D2-4B3D-9EF5-F913239C1F23}"/>
                  </a:ext>
                </a:extLst>
              </p:cNvPr>
              <p:cNvSpPr>
                <a:spLocks noEditPoints="1"/>
              </p:cNvSpPr>
              <p:nvPr/>
            </p:nvSpPr>
            <p:spPr bwMode="auto">
              <a:xfrm>
                <a:off x="1056" y="1203"/>
                <a:ext cx="248" cy="134"/>
              </a:xfrm>
              <a:custGeom>
                <a:avLst/>
                <a:gdLst>
                  <a:gd name="T0" fmla="*/ 124 w 248"/>
                  <a:gd name="T1" fmla="*/ 134 h 134"/>
                  <a:gd name="T2" fmla="*/ 124 w 248"/>
                  <a:gd name="T3" fmla="*/ 134 h 134"/>
                  <a:gd name="T4" fmla="*/ 112 w 248"/>
                  <a:gd name="T5" fmla="*/ 134 h 134"/>
                  <a:gd name="T6" fmla="*/ 98 w 248"/>
                  <a:gd name="T7" fmla="*/ 132 h 134"/>
                  <a:gd name="T8" fmla="*/ 86 w 248"/>
                  <a:gd name="T9" fmla="*/ 128 h 134"/>
                  <a:gd name="T10" fmla="*/ 76 w 248"/>
                  <a:gd name="T11" fmla="*/ 124 h 134"/>
                  <a:gd name="T12" fmla="*/ 54 w 248"/>
                  <a:gd name="T13" fmla="*/ 114 h 134"/>
                  <a:gd name="T14" fmla="*/ 36 w 248"/>
                  <a:gd name="T15" fmla="*/ 98 h 134"/>
                  <a:gd name="T16" fmla="*/ 20 w 248"/>
                  <a:gd name="T17" fmla="*/ 80 h 134"/>
                  <a:gd name="T18" fmla="*/ 8 w 248"/>
                  <a:gd name="T19" fmla="*/ 58 h 134"/>
                  <a:gd name="T20" fmla="*/ 4 w 248"/>
                  <a:gd name="T21" fmla="*/ 46 h 134"/>
                  <a:gd name="T22" fmla="*/ 2 w 248"/>
                  <a:gd name="T23" fmla="*/ 34 h 134"/>
                  <a:gd name="T24" fmla="*/ 0 w 248"/>
                  <a:gd name="T25" fmla="*/ 22 h 134"/>
                  <a:gd name="T26" fmla="*/ 0 w 248"/>
                  <a:gd name="T27" fmla="*/ 10 h 134"/>
                  <a:gd name="T28" fmla="*/ 0 w 248"/>
                  <a:gd name="T29" fmla="*/ 0 h 134"/>
                  <a:gd name="T30" fmla="*/ 248 w 248"/>
                  <a:gd name="T31" fmla="*/ 0 h 134"/>
                  <a:gd name="T32" fmla="*/ 248 w 248"/>
                  <a:gd name="T33" fmla="*/ 10 h 134"/>
                  <a:gd name="T34" fmla="*/ 248 w 248"/>
                  <a:gd name="T35" fmla="*/ 10 h 134"/>
                  <a:gd name="T36" fmla="*/ 248 w 248"/>
                  <a:gd name="T37" fmla="*/ 22 h 134"/>
                  <a:gd name="T38" fmla="*/ 246 w 248"/>
                  <a:gd name="T39" fmla="*/ 34 h 134"/>
                  <a:gd name="T40" fmla="*/ 244 w 248"/>
                  <a:gd name="T41" fmla="*/ 46 h 134"/>
                  <a:gd name="T42" fmla="*/ 240 w 248"/>
                  <a:gd name="T43" fmla="*/ 58 h 134"/>
                  <a:gd name="T44" fmla="*/ 228 w 248"/>
                  <a:gd name="T45" fmla="*/ 80 h 134"/>
                  <a:gd name="T46" fmla="*/ 212 w 248"/>
                  <a:gd name="T47" fmla="*/ 98 h 134"/>
                  <a:gd name="T48" fmla="*/ 194 w 248"/>
                  <a:gd name="T49" fmla="*/ 114 h 134"/>
                  <a:gd name="T50" fmla="*/ 172 w 248"/>
                  <a:gd name="T51" fmla="*/ 124 h 134"/>
                  <a:gd name="T52" fmla="*/ 162 w 248"/>
                  <a:gd name="T53" fmla="*/ 128 h 134"/>
                  <a:gd name="T54" fmla="*/ 150 w 248"/>
                  <a:gd name="T55" fmla="*/ 132 h 134"/>
                  <a:gd name="T56" fmla="*/ 136 w 248"/>
                  <a:gd name="T57" fmla="*/ 134 h 134"/>
                  <a:gd name="T58" fmla="*/ 124 w 248"/>
                  <a:gd name="T59" fmla="*/ 134 h 134"/>
                  <a:gd name="T60" fmla="*/ 124 w 248"/>
                  <a:gd name="T61" fmla="*/ 134 h 134"/>
                  <a:gd name="T62" fmla="*/ 18 w 248"/>
                  <a:gd name="T63" fmla="*/ 18 h 134"/>
                  <a:gd name="T64" fmla="*/ 18 w 248"/>
                  <a:gd name="T65" fmla="*/ 18 h 134"/>
                  <a:gd name="T66" fmla="*/ 22 w 248"/>
                  <a:gd name="T67" fmla="*/ 38 h 134"/>
                  <a:gd name="T68" fmla="*/ 28 w 248"/>
                  <a:gd name="T69" fmla="*/ 56 h 134"/>
                  <a:gd name="T70" fmla="*/ 38 w 248"/>
                  <a:gd name="T71" fmla="*/ 74 h 134"/>
                  <a:gd name="T72" fmla="*/ 52 w 248"/>
                  <a:gd name="T73" fmla="*/ 88 h 134"/>
                  <a:gd name="T74" fmla="*/ 66 w 248"/>
                  <a:gd name="T75" fmla="*/ 100 h 134"/>
                  <a:gd name="T76" fmla="*/ 84 w 248"/>
                  <a:gd name="T77" fmla="*/ 108 h 134"/>
                  <a:gd name="T78" fmla="*/ 104 w 248"/>
                  <a:gd name="T79" fmla="*/ 114 h 134"/>
                  <a:gd name="T80" fmla="*/ 124 w 248"/>
                  <a:gd name="T81" fmla="*/ 116 h 134"/>
                  <a:gd name="T82" fmla="*/ 124 w 248"/>
                  <a:gd name="T83" fmla="*/ 116 h 134"/>
                  <a:gd name="T84" fmla="*/ 144 w 248"/>
                  <a:gd name="T85" fmla="*/ 114 h 134"/>
                  <a:gd name="T86" fmla="*/ 164 w 248"/>
                  <a:gd name="T87" fmla="*/ 108 h 134"/>
                  <a:gd name="T88" fmla="*/ 182 w 248"/>
                  <a:gd name="T89" fmla="*/ 100 h 134"/>
                  <a:gd name="T90" fmla="*/ 196 w 248"/>
                  <a:gd name="T91" fmla="*/ 88 h 134"/>
                  <a:gd name="T92" fmla="*/ 210 w 248"/>
                  <a:gd name="T93" fmla="*/ 74 h 134"/>
                  <a:gd name="T94" fmla="*/ 220 w 248"/>
                  <a:gd name="T95" fmla="*/ 56 h 134"/>
                  <a:gd name="T96" fmla="*/ 226 w 248"/>
                  <a:gd name="T97" fmla="*/ 38 h 134"/>
                  <a:gd name="T98" fmla="*/ 230 w 248"/>
                  <a:gd name="T99" fmla="*/ 18 h 134"/>
                  <a:gd name="T100" fmla="*/ 18 w 248"/>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34">
                    <a:moveTo>
                      <a:pt x="124" y="134"/>
                    </a:moveTo>
                    <a:lnTo>
                      <a:pt x="124" y="134"/>
                    </a:lnTo>
                    <a:lnTo>
                      <a:pt x="112" y="134"/>
                    </a:lnTo>
                    <a:lnTo>
                      <a:pt x="98" y="132"/>
                    </a:lnTo>
                    <a:lnTo>
                      <a:pt x="86" y="128"/>
                    </a:lnTo>
                    <a:lnTo>
                      <a:pt x="76" y="124"/>
                    </a:lnTo>
                    <a:lnTo>
                      <a:pt x="54" y="114"/>
                    </a:lnTo>
                    <a:lnTo>
                      <a:pt x="36" y="98"/>
                    </a:lnTo>
                    <a:lnTo>
                      <a:pt x="20" y="80"/>
                    </a:lnTo>
                    <a:lnTo>
                      <a:pt x="8" y="58"/>
                    </a:lnTo>
                    <a:lnTo>
                      <a:pt x="4" y="46"/>
                    </a:lnTo>
                    <a:lnTo>
                      <a:pt x="2" y="34"/>
                    </a:lnTo>
                    <a:lnTo>
                      <a:pt x="0" y="22"/>
                    </a:lnTo>
                    <a:lnTo>
                      <a:pt x="0" y="10"/>
                    </a:lnTo>
                    <a:lnTo>
                      <a:pt x="0" y="0"/>
                    </a:lnTo>
                    <a:lnTo>
                      <a:pt x="248" y="0"/>
                    </a:lnTo>
                    <a:lnTo>
                      <a:pt x="248" y="10"/>
                    </a:lnTo>
                    <a:lnTo>
                      <a:pt x="248" y="10"/>
                    </a:lnTo>
                    <a:lnTo>
                      <a:pt x="248" y="22"/>
                    </a:lnTo>
                    <a:lnTo>
                      <a:pt x="246" y="34"/>
                    </a:lnTo>
                    <a:lnTo>
                      <a:pt x="244" y="46"/>
                    </a:lnTo>
                    <a:lnTo>
                      <a:pt x="240" y="58"/>
                    </a:lnTo>
                    <a:lnTo>
                      <a:pt x="228" y="80"/>
                    </a:lnTo>
                    <a:lnTo>
                      <a:pt x="212" y="98"/>
                    </a:lnTo>
                    <a:lnTo>
                      <a:pt x="194" y="114"/>
                    </a:lnTo>
                    <a:lnTo>
                      <a:pt x="172" y="124"/>
                    </a:lnTo>
                    <a:lnTo>
                      <a:pt x="162" y="128"/>
                    </a:lnTo>
                    <a:lnTo>
                      <a:pt x="150" y="132"/>
                    </a:lnTo>
                    <a:lnTo>
                      <a:pt x="136" y="134"/>
                    </a:lnTo>
                    <a:lnTo>
                      <a:pt x="124" y="134"/>
                    </a:lnTo>
                    <a:lnTo>
                      <a:pt x="124" y="134"/>
                    </a:lnTo>
                    <a:close/>
                    <a:moveTo>
                      <a:pt x="18" y="18"/>
                    </a:moveTo>
                    <a:lnTo>
                      <a:pt x="18" y="18"/>
                    </a:lnTo>
                    <a:lnTo>
                      <a:pt x="22" y="38"/>
                    </a:lnTo>
                    <a:lnTo>
                      <a:pt x="28" y="56"/>
                    </a:lnTo>
                    <a:lnTo>
                      <a:pt x="38" y="74"/>
                    </a:lnTo>
                    <a:lnTo>
                      <a:pt x="52" y="88"/>
                    </a:lnTo>
                    <a:lnTo>
                      <a:pt x="66" y="100"/>
                    </a:lnTo>
                    <a:lnTo>
                      <a:pt x="84" y="108"/>
                    </a:lnTo>
                    <a:lnTo>
                      <a:pt x="104" y="114"/>
                    </a:lnTo>
                    <a:lnTo>
                      <a:pt x="124" y="116"/>
                    </a:lnTo>
                    <a:lnTo>
                      <a:pt x="124" y="116"/>
                    </a:lnTo>
                    <a:lnTo>
                      <a:pt x="144" y="114"/>
                    </a:lnTo>
                    <a:lnTo>
                      <a:pt x="164" y="108"/>
                    </a:lnTo>
                    <a:lnTo>
                      <a:pt x="182" y="100"/>
                    </a:lnTo>
                    <a:lnTo>
                      <a:pt x="196" y="88"/>
                    </a:lnTo>
                    <a:lnTo>
                      <a:pt x="210" y="74"/>
                    </a:lnTo>
                    <a:lnTo>
                      <a:pt x="220" y="56"/>
                    </a:lnTo>
                    <a:lnTo>
                      <a:pt x="226" y="38"/>
                    </a:lnTo>
                    <a:lnTo>
                      <a:pt x="230"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29" name="Freeform 50">
                <a:extLst>
                  <a:ext uri="{FF2B5EF4-FFF2-40B4-BE49-F238E27FC236}">
                    <a16:creationId xmlns:a16="http://schemas.microsoft.com/office/drawing/2014/main" id="{95BD89CF-056B-42C6-BDEF-BEF833BEA382}"/>
                  </a:ext>
                </a:extLst>
              </p:cNvPr>
              <p:cNvSpPr>
                <a:spLocks/>
              </p:cNvSpPr>
              <p:nvPr/>
            </p:nvSpPr>
            <p:spPr bwMode="auto">
              <a:xfrm>
                <a:off x="800" y="843"/>
                <a:ext cx="232" cy="86"/>
              </a:xfrm>
              <a:custGeom>
                <a:avLst/>
                <a:gdLst>
                  <a:gd name="T0" fmla="*/ 216 w 232"/>
                  <a:gd name="T1" fmla="*/ 86 h 86"/>
                  <a:gd name="T2" fmla="*/ 212 w 232"/>
                  <a:gd name="T3" fmla="*/ 78 h 86"/>
                  <a:gd name="T4" fmla="*/ 212 w 232"/>
                  <a:gd name="T5" fmla="*/ 78 h 86"/>
                  <a:gd name="T6" fmla="*/ 204 w 232"/>
                  <a:gd name="T7" fmla="*/ 66 h 86"/>
                  <a:gd name="T8" fmla="*/ 196 w 232"/>
                  <a:gd name="T9" fmla="*/ 54 h 86"/>
                  <a:gd name="T10" fmla="*/ 184 w 232"/>
                  <a:gd name="T11" fmla="*/ 44 h 86"/>
                  <a:gd name="T12" fmla="*/ 172 w 232"/>
                  <a:gd name="T13" fmla="*/ 34 h 86"/>
                  <a:gd name="T14" fmla="*/ 160 w 232"/>
                  <a:gd name="T15" fmla="*/ 28 h 86"/>
                  <a:gd name="T16" fmla="*/ 146 w 232"/>
                  <a:gd name="T17" fmla="*/ 22 h 86"/>
                  <a:gd name="T18" fmla="*/ 132 w 232"/>
                  <a:gd name="T19" fmla="*/ 20 h 86"/>
                  <a:gd name="T20" fmla="*/ 116 w 232"/>
                  <a:gd name="T21" fmla="*/ 18 h 86"/>
                  <a:gd name="T22" fmla="*/ 116 w 232"/>
                  <a:gd name="T23" fmla="*/ 18 h 86"/>
                  <a:gd name="T24" fmla="*/ 102 w 232"/>
                  <a:gd name="T25" fmla="*/ 20 h 86"/>
                  <a:gd name="T26" fmla="*/ 86 w 232"/>
                  <a:gd name="T27" fmla="*/ 22 h 86"/>
                  <a:gd name="T28" fmla="*/ 74 w 232"/>
                  <a:gd name="T29" fmla="*/ 28 h 86"/>
                  <a:gd name="T30" fmla="*/ 60 w 232"/>
                  <a:gd name="T31" fmla="*/ 34 h 86"/>
                  <a:gd name="T32" fmla="*/ 48 w 232"/>
                  <a:gd name="T33" fmla="*/ 44 h 86"/>
                  <a:gd name="T34" fmla="*/ 38 w 232"/>
                  <a:gd name="T35" fmla="*/ 54 h 86"/>
                  <a:gd name="T36" fmla="*/ 28 w 232"/>
                  <a:gd name="T37" fmla="*/ 66 h 86"/>
                  <a:gd name="T38" fmla="*/ 20 w 232"/>
                  <a:gd name="T39" fmla="*/ 78 h 86"/>
                  <a:gd name="T40" fmla="*/ 18 w 232"/>
                  <a:gd name="T41" fmla="*/ 86 h 86"/>
                  <a:gd name="T42" fmla="*/ 0 w 232"/>
                  <a:gd name="T43" fmla="*/ 78 h 86"/>
                  <a:gd name="T44" fmla="*/ 4 w 232"/>
                  <a:gd name="T45" fmla="*/ 70 h 86"/>
                  <a:gd name="T46" fmla="*/ 4 w 232"/>
                  <a:gd name="T47" fmla="*/ 70 h 86"/>
                  <a:gd name="T48" fmla="*/ 14 w 232"/>
                  <a:gd name="T49" fmla="*/ 56 h 86"/>
                  <a:gd name="T50" fmla="*/ 24 w 232"/>
                  <a:gd name="T51" fmla="*/ 42 h 86"/>
                  <a:gd name="T52" fmla="*/ 36 w 232"/>
                  <a:gd name="T53" fmla="*/ 30 h 86"/>
                  <a:gd name="T54" fmla="*/ 50 w 232"/>
                  <a:gd name="T55" fmla="*/ 20 h 86"/>
                  <a:gd name="T56" fmla="*/ 66 w 232"/>
                  <a:gd name="T57" fmla="*/ 12 h 86"/>
                  <a:gd name="T58" fmla="*/ 82 w 232"/>
                  <a:gd name="T59" fmla="*/ 6 h 86"/>
                  <a:gd name="T60" fmla="*/ 98 w 232"/>
                  <a:gd name="T61" fmla="*/ 2 h 86"/>
                  <a:gd name="T62" fmla="*/ 116 w 232"/>
                  <a:gd name="T63" fmla="*/ 0 h 86"/>
                  <a:gd name="T64" fmla="*/ 116 w 232"/>
                  <a:gd name="T65" fmla="*/ 0 h 86"/>
                  <a:gd name="T66" fmla="*/ 134 w 232"/>
                  <a:gd name="T67" fmla="*/ 2 h 86"/>
                  <a:gd name="T68" fmla="*/ 152 w 232"/>
                  <a:gd name="T69" fmla="*/ 6 h 86"/>
                  <a:gd name="T70" fmla="*/ 168 w 232"/>
                  <a:gd name="T71" fmla="*/ 12 h 86"/>
                  <a:gd name="T72" fmla="*/ 182 w 232"/>
                  <a:gd name="T73" fmla="*/ 20 h 86"/>
                  <a:gd name="T74" fmla="*/ 196 w 232"/>
                  <a:gd name="T75" fmla="*/ 30 h 86"/>
                  <a:gd name="T76" fmla="*/ 208 w 232"/>
                  <a:gd name="T77" fmla="*/ 42 h 86"/>
                  <a:gd name="T78" fmla="*/ 220 w 232"/>
                  <a:gd name="T79" fmla="*/ 56 h 86"/>
                  <a:gd name="T80" fmla="*/ 228 w 232"/>
                  <a:gd name="T81" fmla="*/ 70 h 86"/>
                  <a:gd name="T82" fmla="*/ 232 w 232"/>
                  <a:gd name="T83" fmla="*/ 78 h 86"/>
                  <a:gd name="T84" fmla="*/ 216 w 232"/>
                  <a:gd name="T8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86">
                    <a:moveTo>
                      <a:pt x="216" y="86"/>
                    </a:moveTo>
                    <a:lnTo>
                      <a:pt x="212" y="78"/>
                    </a:lnTo>
                    <a:lnTo>
                      <a:pt x="212" y="78"/>
                    </a:lnTo>
                    <a:lnTo>
                      <a:pt x="204" y="66"/>
                    </a:lnTo>
                    <a:lnTo>
                      <a:pt x="196" y="54"/>
                    </a:lnTo>
                    <a:lnTo>
                      <a:pt x="184" y="44"/>
                    </a:lnTo>
                    <a:lnTo>
                      <a:pt x="172" y="34"/>
                    </a:lnTo>
                    <a:lnTo>
                      <a:pt x="160" y="28"/>
                    </a:lnTo>
                    <a:lnTo>
                      <a:pt x="146" y="22"/>
                    </a:lnTo>
                    <a:lnTo>
                      <a:pt x="132" y="20"/>
                    </a:lnTo>
                    <a:lnTo>
                      <a:pt x="116" y="18"/>
                    </a:lnTo>
                    <a:lnTo>
                      <a:pt x="116" y="18"/>
                    </a:lnTo>
                    <a:lnTo>
                      <a:pt x="102" y="20"/>
                    </a:lnTo>
                    <a:lnTo>
                      <a:pt x="86" y="22"/>
                    </a:lnTo>
                    <a:lnTo>
                      <a:pt x="74" y="28"/>
                    </a:lnTo>
                    <a:lnTo>
                      <a:pt x="60" y="34"/>
                    </a:lnTo>
                    <a:lnTo>
                      <a:pt x="48" y="44"/>
                    </a:lnTo>
                    <a:lnTo>
                      <a:pt x="38" y="54"/>
                    </a:lnTo>
                    <a:lnTo>
                      <a:pt x="28" y="66"/>
                    </a:lnTo>
                    <a:lnTo>
                      <a:pt x="20" y="78"/>
                    </a:lnTo>
                    <a:lnTo>
                      <a:pt x="18" y="86"/>
                    </a:lnTo>
                    <a:lnTo>
                      <a:pt x="0" y="78"/>
                    </a:lnTo>
                    <a:lnTo>
                      <a:pt x="4" y="70"/>
                    </a:lnTo>
                    <a:lnTo>
                      <a:pt x="4" y="70"/>
                    </a:lnTo>
                    <a:lnTo>
                      <a:pt x="14" y="56"/>
                    </a:lnTo>
                    <a:lnTo>
                      <a:pt x="24" y="42"/>
                    </a:lnTo>
                    <a:lnTo>
                      <a:pt x="36" y="30"/>
                    </a:lnTo>
                    <a:lnTo>
                      <a:pt x="50" y="20"/>
                    </a:lnTo>
                    <a:lnTo>
                      <a:pt x="66" y="12"/>
                    </a:lnTo>
                    <a:lnTo>
                      <a:pt x="82" y="6"/>
                    </a:lnTo>
                    <a:lnTo>
                      <a:pt x="98" y="2"/>
                    </a:lnTo>
                    <a:lnTo>
                      <a:pt x="116" y="0"/>
                    </a:lnTo>
                    <a:lnTo>
                      <a:pt x="116" y="0"/>
                    </a:lnTo>
                    <a:lnTo>
                      <a:pt x="134" y="2"/>
                    </a:lnTo>
                    <a:lnTo>
                      <a:pt x="152" y="6"/>
                    </a:lnTo>
                    <a:lnTo>
                      <a:pt x="168" y="12"/>
                    </a:lnTo>
                    <a:lnTo>
                      <a:pt x="182" y="20"/>
                    </a:lnTo>
                    <a:lnTo>
                      <a:pt x="196" y="30"/>
                    </a:lnTo>
                    <a:lnTo>
                      <a:pt x="208" y="42"/>
                    </a:lnTo>
                    <a:lnTo>
                      <a:pt x="220" y="56"/>
                    </a:lnTo>
                    <a:lnTo>
                      <a:pt x="228" y="70"/>
                    </a:lnTo>
                    <a:lnTo>
                      <a:pt x="232" y="78"/>
                    </a:lnTo>
                    <a:lnTo>
                      <a:pt x="21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
          <p:nvSpPr>
            <p:cNvPr id="287" name="TextBox 286">
              <a:extLst>
                <a:ext uri="{FF2B5EF4-FFF2-40B4-BE49-F238E27FC236}">
                  <a16:creationId xmlns:a16="http://schemas.microsoft.com/office/drawing/2014/main" id="{6EA8C44B-2AA1-4715-BB6B-3FCD847C327F}"/>
                </a:ext>
              </a:extLst>
            </p:cNvPr>
            <p:cNvSpPr txBox="1"/>
            <p:nvPr/>
          </p:nvSpPr>
          <p:spPr>
            <a:xfrm>
              <a:off x="7830812" y="2672736"/>
              <a:ext cx="1045143" cy="186043"/>
            </a:xfrm>
            <a:prstGeom prst="rect">
              <a:avLst/>
            </a:prstGeom>
            <a:noFill/>
            <a:ln w="12700" cap="sq">
              <a:noFill/>
              <a:miter lim="800000"/>
            </a:ln>
          </p:spPr>
          <p:txBody>
            <a:bodyPr wrap="square" lIns="61200" tIns="36576"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AT" sz="1000" b="1" i="0" u="none" strike="noStrike" kern="0" cap="none" spc="0" normalizeH="0" baseline="0" noProof="0" dirty="0">
                  <a:ln>
                    <a:noFill/>
                  </a:ln>
                  <a:solidFill>
                    <a:srgbClr val="FFE600"/>
                  </a:solidFill>
                  <a:effectLst/>
                  <a:uLnTx/>
                  <a:uFillTx/>
                </a:rPr>
                <a:t>Consumer Protection</a:t>
              </a:r>
            </a:p>
          </p:txBody>
        </p:sp>
        <p:grpSp>
          <p:nvGrpSpPr>
            <p:cNvPr id="288" name="Group 49">
              <a:extLst>
                <a:ext uri="{FF2B5EF4-FFF2-40B4-BE49-F238E27FC236}">
                  <a16:creationId xmlns:a16="http://schemas.microsoft.com/office/drawing/2014/main" id="{A65B8428-BA1C-4C0A-AC59-D898C48CDF74}"/>
                </a:ext>
              </a:extLst>
            </p:cNvPr>
            <p:cNvGrpSpPr>
              <a:grpSpLocks noChangeAspect="1"/>
            </p:cNvGrpSpPr>
            <p:nvPr/>
          </p:nvGrpSpPr>
          <p:grpSpPr bwMode="auto">
            <a:xfrm>
              <a:off x="8807688" y="3607696"/>
              <a:ext cx="83073" cy="122013"/>
              <a:chOff x="2027" y="1937"/>
              <a:chExt cx="512" cy="752"/>
            </a:xfrm>
            <a:solidFill>
              <a:srgbClr val="FFE600"/>
            </a:solidFill>
          </p:grpSpPr>
          <p:sp>
            <p:nvSpPr>
              <p:cNvPr id="308" name="Freeform 50">
                <a:extLst>
                  <a:ext uri="{FF2B5EF4-FFF2-40B4-BE49-F238E27FC236}">
                    <a16:creationId xmlns:a16="http://schemas.microsoft.com/office/drawing/2014/main" id="{0ED88C2E-956B-4BB5-B94B-853427179222}"/>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09" name="Freeform 51">
                <a:extLst>
                  <a:ext uri="{FF2B5EF4-FFF2-40B4-BE49-F238E27FC236}">
                    <a16:creationId xmlns:a16="http://schemas.microsoft.com/office/drawing/2014/main" id="{46ED5A2C-9D63-4B3F-AD9D-62FC52BD2BE7}"/>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0" name="Freeform 52">
                <a:extLst>
                  <a:ext uri="{FF2B5EF4-FFF2-40B4-BE49-F238E27FC236}">
                    <a16:creationId xmlns:a16="http://schemas.microsoft.com/office/drawing/2014/main" id="{8DF00EF8-171B-48B4-B37B-DEF4D41E1218}"/>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1" name="Freeform 53">
                <a:extLst>
                  <a:ext uri="{FF2B5EF4-FFF2-40B4-BE49-F238E27FC236}">
                    <a16:creationId xmlns:a16="http://schemas.microsoft.com/office/drawing/2014/main" id="{037742CE-95F7-48D8-907A-FC9B98E6112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12" name="Freeform 54">
                <a:extLst>
                  <a:ext uri="{FF2B5EF4-FFF2-40B4-BE49-F238E27FC236}">
                    <a16:creationId xmlns:a16="http://schemas.microsoft.com/office/drawing/2014/main" id="{8B5DB061-C15B-4D83-9949-620C220ABD87}"/>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3" name="Freeform 55">
                <a:extLst>
                  <a:ext uri="{FF2B5EF4-FFF2-40B4-BE49-F238E27FC236}">
                    <a16:creationId xmlns:a16="http://schemas.microsoft.com/office/drawing/2014/main" id="{2AF36D7A-4A38-4F3B-A8B1-EFDB0FFB4836}"/>
                  </a:ext>
                </a:extLst>
              </p:cNvPr>
              <p:cNvSpPr>
                <a:spLocks noEditPoints="1"/>
              </p:cNvSpPr>
              <p:nvPr/>
            </p:nvSpPr>
            <p:spPr bwMode="auto">
              <a:xfrm>
                <a:off x="2229" y="2581"/>
                <a:ext cx="108" cy="108"/>
              </a:xfrm>
              <a:custGeom>
                <a:avLst/>
                <a:gdLst>
                  <a:gd name="T0" fmla="*/ 54 w 108"/>
                  <a:gd name="T1" fmla="*/ 108 h 108"/>
                  <a:gd name="T2" fmla="*/ 32 w 108"/>
                  <a:gd name="T3" fmla="*/ 104 h 108"/>
                  <a:gd name="T4" fmla="*/ 16 w 108"/>
                  <a:gd name="T5" fmla="*/ 92 h 108"/>
                  <a:gd name="T6" fmla="*/ 4 w 108"/>
                  <a:gd name="T7" fmla="*/ 74 h 108"/>
                  <a:gd name="T8" fmla="*/ 0 w 108"/>
                  <a:gd name="T9" fmla="*/ 54 h 108"/>
                  <a:gd name="T10" fmla="*/ 0 w 108"/>
                  <a:gd name="T11" fmla="*/ 42 h 108"/>
                  <a:gd name="T12" fmla="*/ 10 w 108"/>
                  <a:gd name="T13" fmla="*/ 24 h 108"/>
                  <a:gd name="T14" fmla="*/ 24 w 108"/>
                  <a:gd name="T15" fmla="*/ 8 h 108"/>
                  <a:gd name="T16" fmla="*/ 42 w 108"/>
                  <a:gd name="T17" fmla="*/ 0 h 108"/>
                  <a:gd name="T18" fmla="*/ 54 w 108"/>
                  <a:gd name="T19" fmla="*/ 0 h 108"/>
                  <a:gd name="T20" fmla="*/ 74 w 108"/>
                  <a:gd name="T21" fmla="*/ 4 h 108"/>
                  <a:gd name="T22" fmla="*/ 92 w 108"/>
                  <a:gd name="T23" fmla="*/ 16 h 108"/>
                  <a:gd name="T24" fmla="*/ 104 w 108"/>
                  <a:gd name="T25" fmla="*/ 32 h 108"/>
                  <a:gd name="T26" fmla="*/ 108 w 108"/>
                  <a:gd name="T27" fmla="*/ 54 h 108"/>
                  <a:gd name="T28" fmla="*/ 106 w 108"/>
                  <a:gd name="T29" fmla="*/ 64 h 108"/>
                  <a:gd name="T30" fmla="*/ 98 w 108"/>
                  <a:gd name="T31" fmla="*/ 84 h 108"/>
                  <a:gd name="T32" fmla="*/ 84 w 108"/>
                  <a:gd name="T33" fmla="*/ 98 h 108"/>
                  <a:gd name="T34" fmla="*/ 64 w 108"/>
                  <a:gd name="T35" fmla="*/ 106 h 108"/>
                  <a:gd name="T36" fmla="*/ 54 w 108"/>
                  <a:gd name="T37" fmla="*/ 108 h 108"/>
                  <a:gd name="T38" fmla="*/ 54 w 108"/>
                  <a:gd name="T39" fmla="*/ 18 h 108"/>
                  <a:gd name="T40" fmla="*/ 40 w 108"/>
                  <a:gd name="T41" fmla="*/ 20 h 108"/>
                  <a:gd name="T42" fmla="*/ 28 w 108"/>
                  <a:gd name="T43" fmla="*/ 28 h 108"/>
                  <a:gd name="T44" fmla="*/ 20 w 108"/>
                  <a:gd name="T45" fmla="*/ 40 h 108"/>
                  <a:gd name="T46" fmla="*/ 18 w 108"/>
                  <a:gd name="T47" fmla="*/ 54 h 108"/>
                  <a:gd name="T48" fmla="*/ 18 w 108"/>
                  <a:gd name="T49" fmla="*/ 60 h 108"/>
                  <a:gd name="T50" fmla="*/ 24 w 108"/>
                  <a:gd name="T51" fmla="*/ 74 h 108"/>
                  <a:gd name="T52" fmla="*/ 34 w 108"/>
                  <a:gd name="T53" fmla="*/ 84 h 108"/>
                  <a:gd name="T54" fmla="*/ 46 w 108"/>
                  <a:gd name="T55" fmla="*/ 88 h 108"/>
                  <a:gd name="T56" fmla="*/ 54 w 108"/>
                  <a:gd name="T57" fmla="*/ 90 h 108"/>
                  <a:gd name="T58" fmla="*/ 68 w 108"/>
                  <a:gd name="T59" fmla="*/ 86 h 108"/>
                  <a:gd name="T60" fmla="*/ 80 w 108"/>
                  <a:gd name="T61" fmla="*/ 78 h 108"/>
                  <a:gd name="T62" fmla="*/ 88 w 108"/>
                  <a:gd name="T63" fmla="*/ 68 h 108"/>
                  <a:gd name="T64" fmla="*/ 90 w 108"/>
                  <a:gd name="T65" fmla="*/ 54 h 108"/>
                  <a:gd name="T66" fmla="*/ 90 w 108"/>
                  <a:gd name="T67" fmla="*/ 46 h 108"/>
                  <a:gd name="T68" fmla="*/ 84 w 108"/>
                  <a:gd name="T69" fmla="*/ 34 h 108"/>
                  <a:gd name="T70" fmla="*/ 74 w 108"/>
                  <a:gd name="T71" fmla="*/ 24 h 108"/>
                  <a:gd name="T72" fmla="*/ 62 w 108"/>
                  <a:gd name="T73" fmla="*/ 18 h 108"/>
                  <a:gd name="T74" fmla="*/ 54 w 108"/>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8">
                    <a:moveTo>
                      <a:pt x="54" y="108"/>
                    </a:moveTo>
                    <a:lnTo>
                      <a:pt x="54" y="108"/>
                    </a:lnTo>
                    <a:lnTo>
                      <a:pt x="42" y="106"/>
                    </a:lnTo>
                    <a:lnTo>
                      <a:pt x="32" y="104"/>
                    </a:lnTo>
                    <a:lnTo>
                      <a:pt x="24" y="98"/>
                    </a:lnTo>
                    <a:lnTo>
                      <a:pt x="16" y="92"/>
                    </a:lnTo>
                    <a:lnTo>
                      <a:pt x="10" y="84"/>
                    </a:lnTo>
                    <a:lnTo>
                      <a:pt x="4" y="74"/>
                    </a:lnTo>
                    <a:lnTo>
                      <a:pt x="0" y="64"/>
                    </a:lnTo>
                    <a:lnTo>
                      <a:pt x="0" y="54"/>
                    </a:lnTo>
                    <a:lnTo>
                      <a:pt x="0" y="54"/>
                    </a:lnTo>
                    <a:lnTo>
                      <a:pt x="0" y="42"/>
                    </a:lnTo>
                    <a:lnTo>
                      <a:pt x="4" y="32"/>
                    </a:lnTo>
                    <a:lnTo>
                      <a:pt x="10" y="24"/>
                    </a:lnTo>
                    <a:lnTo>
                      <a:pt x="16" y="16"/>
                    </a:lnTo>
                    <a:lnTo>
                      <a:pt x="24" y="8"/>
                    </a:lnTo>
                    <a:lnTo>
                      <a:pt x="32" y="4"/>
                    </a:lnTo>
                    <a:lnTo>
                      <a:pt x="42" y="0"/>
                    </a:lnTo>
                    <a:lnTo>
                      <a:pt x="54" y="0"/>
                    </a:lnTo>
                    <a:lnTo>
                      <a:pt x="54" y="0"/>
                    </a:lnTo>
                    <a:lnTo>
                      <a:pt x="64" y="0"/>
                    </a:lnTo>
                    <a:lnTo>
                      <a:pt x="74" y="4"/>
                    </a:lnTo>
                    <a:lnTo>
                      <a:pt x="84" y="8"/>
                    </a:lnTo>
                    <a:lnTo>
                      <a:pt x="92" y="16"/>
                    </a:lnTo>
                    <a:lnTo>
                      <a:pt x="98" y="24"/>
                    </a:lnTo>
                    <a:lnTo>
                      <a:pt x="104" y="32"/>
                    </a:lnTo>
                    <a:lnTo>
                      <a:pt x="106" y="42"/>
                    </a:lnTo>
                    <a:lnTo>
                      <a:pt x="108" y="54"/>
                    </a:lnTo>
                    <a:lnTo>
                      <a:pt x="108" y="54"/>
                    </a:lnTo>
                    <a:lnTo>
                      <a:pt x="106" y="64"/>
                    </a:lnTo>
                    <a:lnTo>
                      <a:pt x="104" y="74"/>
                    </a:lnTo>
                    <a:lnTo>
                      <a:pt x="98" y="84"/>
                    </a:lnTo>
                    <a:lnTo>
                      <a:pt x="92" y="92"/>
                    </a:lnTo>
                    <a:lnTo>
                      <a:pt x="84" y="98"/>
                    </a:lnTo>
                    <a:lnTo>
                      <a:pt x="74" y="104"/>
                    </a:lnTo>
                    <a:lnTo>
                      <a:pt x="64" y="106"/>
                    </a:lnTo>
                    <a:lnTo>
                      <a:pt x="54" y="108"/>
                    </a:lnTo>
                    <a:lnTo>
                      <a:pt x="54" y="108"/>
                    </a:lnTo>
                    <a:close/>
                    <a:moveTo>
                      <a:pt x="54" y="18"/>
                    </a:moveTo>
                    <a:lnTo>
                      <a:pt x="54" y="18"/>
                    </a:lnTo>
                    <a:lnTo>
                      <a:pt x="46" y="18"/>
                    </a:lnTo>
                    <a:lnTo>
                      <a:pt x="40" y="20"/>
                    </a:lnTo>
                    <a:lnTo>
                      <a:pt x="34" y="24"/>
                    </a:lnTo>
                    <a:lnTo>
                      <a:pt x="28" y="28"/>
                    </a:lnTo>
                    <a:lnTo>
                      <a:pt x="24" y="34"/>
                    </a:lnTo>
                    <a:lnTo>
                      <a:pt x="20" y="40"/>
                    </a:lnTo>
                    <a:lnTo>
                      <a:pt x="18" y="46"/>
                    </a:lnTo>
                    <a:lnTo>
                      <a:pt x="18" y="54"/>
                    </a:lnTo>
                    <a:lnTo>
                      <a:pt x="18" y="54"/>
                    </a:lnTo>
                    <a:lnTo>
                      <a:pt x="18" y="60"/>
                    </a:lnTo>
                    <a:lnTo>
                      <a:pt x="20" y="68"/>
                    </a:lnTo>
                    <a:lnTo>
                      <a:pt x="24" y="74"/>
                    </a:lnTo>
                    <a:lnTo>
                      <a:pt x="28" y="78"/>
                    </a:lnTo>
                    <a:lnTo>
                      <a:pt x="34" y="84"/>
                    </a:lnTo>
                    <a:lnTo>
                      <a:pt x="40" y="86"/>
                    </a:lnTo>
                    <a:lnTo>
                      <a:pt x="46" y="88"/>
                    </a:lnTo>
                    <a:lnTo>
                      <a:pt x="54" y="90"/>
                    </a:lnTo>
                    <a:lnTo>
                      <a:pt x="54" y="90"/>
                    </a:lnTo>
                    <a:lnTo>
                      <a:pt x="62" y="88"/>
                    </a:lnTo>
                    <a:lnTo>
                      <a:pt x="68" y="86"/>
                    </a:lnTo>
                    <a:lnTo>
                      <a:pt x="74" y="84"/>
                    </a:lnTo>
                    <a:lnTo>
                      <a:pt x="80" y="78"/>
                    </a:lnTo>
                    <a:lnTo>
                      <a:pt x="84" y="74"/>
                    </a:lnTo>
                    <a:lnTo>
                      <a:pt x="88" y="68"/>
                    </a:lnTo>
                    <a:lnTo>
                      <a:pt x="90" y="60"/>
                    </a:lnTo>
                    <a:lnTo>
                      <a:pt x="90" y="54"/>
                    </a:lnTo>
                    <a:lnTo>
                      <a:pt x="90" y="54"/>
                    </a:lnTo>
                    <a:lnTo>
                      <a:pt x="90" y="46"/>
                    </a:lnTo>
                    <a:lnTo>
                      <a:pt x="88" y="40"/>
                    </a:lnTo>
                    <a:lnTo>
                      <a:pt x="84" y="34"/>
                    </a:lnTo>
                    <a:lnTo>
                      <a:pt x="80" y="28"/>
                    </a:lnTo>
                    <a:lnTo>
                      <a:pt x="74" y="24"/>
                    </a:lnTo>
                    <a:lnTo>
                      <a:pt x="68" y="20"/>
                    </a:lnTo>
                    <a:lnTo>
                      <a:pt x="62" y="18"/>
                    </a:lnTo>
                    <a:lnTo>
                      <a:pt x="54" y="18"/>
                    </a:lnTo>
                    <a:lnTo>
                      <a:pt x="5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4" name="Rectangle 56">
                <a:extLst>
                  <a:ext uri="{FF2B5EF4-FFF2-40B4-BE49-F238E27FC236}">
                    <a16:creationId xmlns:a16="http://schemas.microsoft.com/office/drawing/2014/main" id="{41BD9D13-D2CB-41CB-ACA6-9B82223715DD}"/>
                  </a:ext>
                </a:extLst>
              </p:cNvPr>
              <p:cNvSpPr>
                <a:spLocks noChangeArrowheads="1"/>
              </p:cNvSpPr>
              <p:nvPr/>
            </p:nvSpPr>
            <p:spPr bwMode="auto">
              <a:xfrm>
                <a:off x="2273" y="2523"/>
                <a:ext cx="18"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5" name="Rectangle 57">
                <a:extLst>
                  <a:ext uri="{FF2B5EF4-FFF2-40B4-BE49-F238E27FC236}">
                    <a16:creationId xmlns:a16="http://schemas.microsoft.com/office/drawing/2014/main" id="{ED8553FB-B0B5-4279-A994-F6D43D9962E5}"/>
                  </a:ext>
                </a:extLst>
              </p:cNvPr>
              <p:cNvSpPr>
                <a:spLocks noChangeArrowheads="1"/>
              </p:cNvSpPr>
              <p:nvPr/>
            </p:nvSpPr>
            <p:spPr bwMode="auto">
              <a:xfrm>
                <a:off x="2319"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316" name="Rectangle 58">
                <a:extLst>
                  <a:ext uri="{FF2B5EF4-FFF2-40B4-BE49-F238E27FC236}">
                    <a16:creationId xmlns:a16="http://schemas.microsoft.com/office/drawing/2014/main" id="{3A7FFDF3-E644-41CC-ACD0-21BD7269932C}"/>
                  </a:ext>
                </a:extLst>
              </p:cNvPr>
              <p:cNvSpPr>
                <a:spLocks noChangeArrowheads="1"/>
              </p:cNvSpPr>
              <p:nvPr/>
            </p:nvSpPr>
            <p:spPr bwMode="auto">
              <a:xfrm>
                <a:off x="2027" y="2625"/>
                <a:ext cx="2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grpSp>
          <p:nvGrpSpPr>
            <p:cNvPr id="289" name="Group 288">
              <a:extLst>
                <a:ext uri="{FF2B5EF4-FFF2-40B4-BE49-F238E27FC236}">
                  <a16:creationId xmlns:a16="http://schemas.microsoft.com/office/drawing/2014/main" id="{09CE4AC3-1898-4CB6-BA06-1D169F8A5348}"/>
                </a:ext>
              </a:extLst>
            </p:cNvPr>
            <p:cNvGrpSpPr/>
            <p:nvPr/>
          </p:nvGrpSpPr>
          <p:grpSpPr>
            <a:xfrm>
              <a:off x="7918920" y="3616004"/>
              <a:ext cx="155067" cy="150692"/>
              <a:chOff x="2689225" y="3098800"/>
              <a:chExt cx="1600200" cy="1098550"/>
            </a:xfrm>
            <a:solidFill>
              <a:srgbClr val="FFE600"/>
            </a:solidFill>
          </p:grpSpPr>
          <p:sp>
            <p:nvSpPr>
              <p:cNvPr id="292" name="Freeform 23">
                <a:extLst>
                  <a:ext uri="{FF2B5EF4-FFF2-40B4-BE49-F238E27FC236}">
                    <a16:creationId xmlns:a16="http://schemas.microsoft.com/office/drawing/2014/main" id="{7C1889CD-883A-4209-85AA-F6F334A5FA7B}"/>
                  </a:ext>
                </a:extLst>
              </p:cNvPr>
              <p:cNvSpPr>
                <a:spLocks noEditPoints="1"/>
              </p:cNvSpPr>
              <p:nvPr/>
            </p:nvSpPr>
            <p:spPr bwMode="auto">
              <a:xfrm>
                <a:off x="2689225" y="4016375"/>
                <a:ext cx="1600200" cy="180975"/>
              </a:xfrm>
              <a:custGeom>
                <a:avLst/>
                <a:gdLst>
                  <a:gd name="T0" fmla="*/ 52 w 1008"/>
                  <a:gd name="T1" fmla="*/ 114 h 114"/>
                  <a:gd name="T2" fmla="*/ 42 w 1008"/>
                  <a:gd name="T3" fmla="*/ 114 h 114"/>
                  <a:gd name="T4" fmla="*/ 24 w 1008"/>
                  <a:gd name="T5" fmla="*/ 106 h 114"/>
                  <a:gd name="T6" fmla="*/ 8 w 1008"/>
                  <a:gd name="T7" fmla="*/ 90 h 114"/>
                  <a:gd name="T8" fmla="*/ 0 w 1008"/>
                  <a:gd name="T9" fmla="*/ 72 h 114"/>
                  <a:gd name="T10" fmla="*/ 0 w 1008"/>
                  <a:gd name="T11" fmla="*/ 0 h 114"/>
                  <a:gd name="T12" fmla="*/ 430 w 1008"/>
                  <a:gd name="T13" fmla="*/ 16 h 114"/>
                  <a:gd name="T14" fmla="*/ 432 w 1008"/>
                  <a:gd name="T15" fmla="*/ 26 h 114"/>
                  <a:gd name="T16" fmla="*/ 444 w 1008"/>
                  <a:gd name="T17" fmla="*/ 38 h 114"/>
                  <a:gd name="T18" fmla="*/ 568 w 1008"/>
                  <a:gd name="T19" fmla="*/ 38 h 114"/>
                  <a:gd name="T20" fmla="*/ 576 w 1008"/>
                  <a:gd name="T21" fmla="*/ 38 h 114"/>
                  <a:gd name="T22" fmla="*/ 588 w 1008"/>
                  <a:gd name="T23" fmla="*/ 26 h 114"/>
                  <a:gd name="T24" fmla="*/ 590 w 1008"/>
                  <a:gd name="T25" fmla="*/ 0 h 114"/>
                  <a:gd name="T26" fmla="*/ 1008 w 1008"/>
                  <a:gd name="T27" fmla="*/ 60 h 114"/>
                  <a:gd name="T28" fmla="*/ 1008 w 1008"/>
                  <a:gd name="T29" fmla="*/ 72 h 114"/>
                  <a:gd name="T30" fmla="*/ 1000 w 1008"/>
                  <a:gd name="T31" fmla="*/ 90 h 114"/>
                  <a:gd name="T32" fmla="*/ 984 w 1008"/>
                  <a:gd name="T33" fmla="*/ 106 h 114"/>
                  <a:gd name="T34" fmla="*/ 966 w 1008"/>
                  <a:gd name="T35" fmla="*/ 114 h 114"/>
                  <a:gd name="T36" fmla="*/ 956 w 1008"/>
                  <a:gd name="T37" fmla="*/ 114 h 114"/>
                  <a:gd name="T38" fmla="*/ 18 w 1008"/>
                  <a:gd name="T39" fmla="*/ 60 h 114"/>
                  <a:gd name="T40" fmla="*/ 18 w 1008"/>
                  <a:gd name="T41" fmla="*/ 68 h 114"/>
                  <a:gd name="T42" fmla="*/ 24 w 1008"/>
                  <a:gd name="T43" fmla="*/ 80 h 114"/>
                  <a:gd name="T44" fmla="*/ 34 w 1008"/>
                  <a:gd name="T45" fmla="*/ 90 h 114"/>
                  <a:gd name="T46" fmla="*/ 46 w 1008"/>
                  <a:gd name="T47" fmla="*/ 96 h 114"/>
                  <a:gd name="T48" fmla="*/ 956 w 1008"/>
                  <a:gd name="T49" fmla="*/ 96 h 114"/>
                  <a:gd name="T50" fmla="*/ 962 w 1008"/>
                  <a:gd name="T51" fmla="*/ 96 h 114"/>
                  <a:gd name="T52" fmla="*/ 974 w 1008"/>
                  <a:gd name="T53" fmla="*/ 90 h 114"/>
                  <a:gd name="T54" fmla="*/ 984 w 1008"/>
                  <a:gd name="T55" fmla="*/ 80 h 114"/>
                  <a:gd name="T56" fmla="*/ 990 w 1008"/>
                  <a:gd name="T57" fmla="*/ 68 h 114"/>
                  <a:gd name="T58" fmla="*/ 990 w 1008"/>
                  <a:gd name="T59" fmla="*/ 18 h 114"/>
                  <a:gd name="T60" fmla="*/ 608 w 1008"/>
                  <a:gd name="T61" fmla="*/ 18 h 114"/>
                  <a:gd name="T62" fmla="*/ 604 w 1008"/>
                  <a:gd name="T63" fmla="*/ 34 h 114"/>
                  <a:gd name="T64" fmla="*/ 596 w 1008"/>
                  <a:gd name="T65" fmla="*/ 46 h 114"/>
                  <a:gd name="T66" fmla="*/ 584 w 1008"/>
                  <a:gd name="T67" fmla="*/ 54 h 114"/>
                  <a:gd name="T68" fmla="*/ 568 w 1008"/>
                  <a:gd name="T69" fmla="*/ 56 h 114"/>
                  <a:gd name="T70" fmla="*/ 452 w 1008"/>
                  <a:gd name="T71" fmla="*/ 56 h 114"/>
                  <a:gd name="T72" fmla="*/ 438 w 1008"/>
                  <a:gd name="T73" fmla="*/ 54 h 114"/>
                  <a:gd name="T74" fmla="*/ 426 w 1008"/>
                  <a:gd name="T75" fmla="*/ 46 h 114"/>
                  <a:gd name="T76" fmla="*/ 416 w 1008"/>
                  <a:gd name="T77" fmla="*/ 34 h 114"/>
                  <a:gd name="T78" fmla="*/ 412 w 1008"/>
                  <a:gd name="T7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08" h="114">
                    <a:moveTo>
                      <a:pt x="956" y="114"/>
                    </a:moveTo>
                    <a:lnTo>
                      <a:pt x="52" y="114"/>
                    </a:lnTo>
                    <a:lnTo>
                      <a:pt x="52" y="114"/>
                    </a:lnTo>
                    <a:lnTo>
                      <a:pt x="42" y="114"/>
                    </a:lnTo>
                    <a:lnTo>
                      <a:pt x="32" y="110"/>
                    </a:lnTo>
                    <a:lnTo>
                      <a:pt x="24" y="106"/>
                    </a:lnTo>
                    <a:lnTo>
                      <a:pt x="16" y="98"/>
                    </a:lnTo>
                    <a:lnTo>
                      <a:pt x="8" y="90"/>
                    </a:lnTo>
                    <a:lnTo>
                      <a:pt x="4" y="82"/>
                    </a:lnTo>
                    <a:lnTo>
                      <a:pt x="0" y="72"/>
                    </a:lnTo>
                    <a:lnTo>
                      <a:pt x="0" y="60"/>
                    </a:lnTo>
                    <a:lnTo>
                      <a:pt x="0" y="0"/>
                    </a:lnTo>
                    <a:lnTo>
                      <a:pt x="430" y="0"/>
                    </a:lnTo>
                    <a:lnTo>
                      <a:pt x="430" y="16"/>
                    </a:lnTo>
                    <a:lnTo>
                      <a:pt x="430" y="16"/>
                    </a:lnTo>
                    <a:lnTo>
                      <a:pt x="432" y="26"/>
                    </a:lnTo>
                    <a:lnTo>
                      <a:pt x="438" y="32"/>
                    </a:lnTo>
                    <a:lnTo>
                      <a:pt x="444" y="38"/>
                    </a:lnTo>
                    <a:lnTo>
                      <a:pt x="452" y="38"/>
                    </a:lnTo>
                    <a:lnTo>
                      <a:pt x="568" y="38"/>
                    </a:lnTo>
                    <a:lnTo>
                      <a:pt x="568" y="38"/>
                    </a:lnTo>
                    <a:lnTo>
                      <a:pt x="576" y="38"/>
                    </a:lnTo>
                    <a:lnTo>
                      <a:pt x="584" y="32"/>
                    </a:lnTo>
                    <a:lnTo>
                      <a:pt x="588" y="26"/>
                    </a:lnTo>
                    <a:lnTo>
                      <a:pt x="590" y="16"/>
                    </a:lnTo>
                    <a:lnTo>
                      <a:pt x="590" y="0"/>
                    </a:lnTo>
                    <a:lnTo>
                      <a:pt x="1008" y="0"/>
                    </a:lnTo>
                    <a:lnTo>
                      <a:pt x="1008" y="60"/>
                    </a:lnTo>
                    <a:lnTo>
                      <a:pt x="1008" y="60"/>
                    </a:lnTo>
                    <a:lnTo>
                      <a:pt x="1008" y="72"/>
                    </a:lnTo>
                    <a:lnTo>
                      <a:pt x="1004" y="82"/>
                    </a:lnTo>
                    <a:lnTo>
                      <a:pt x="1000" y="90"/>
                    </a:lnTo>
                    <a:lnTo>
                      <a:pt x="992" y="98"/>
                    </a:lnTo>
                    <a:lnTo>
                      <a:pt x="984" y="106"/>
                    </a:lnTo>
                    <a:lnTo>
                      <a:pt x="976" y="110"/>
                    </a:lnTo>
                    <a:lnTo>
                      <a:pt x="966" y="114"/>
                    </a:lnTo>
                    <a:lnTo>
                      <a:pt x="956" y="114"/>
                    </a:lnTo>
                    <a:lnTo>
                      <a:pt x="956" y="114"/>
                    </a:lnTo>
                    <a:close/>
                    <a:moveTo>
                      <a:pt x="18" y="18"/>
                    </a:moveTo>
                    <a:lnTo>
                      <a:pt x="18" y="60"/>
                    </a:lnTo>
                    <a:lnTo>
                      <a:pt x="18" y="60"/>
                    </a:lnTo>
                    <a:lnTo>
                      <a:pt x="18" y="68"/>
                    </a:lnTo>
                    <a:lnTo>
                      <a:pt x="20" y="74"/>
                    </a:lnTo>
                    <a:lnTo>
                      <a:pt x="24" y="80"/>
                    </a:lnTo>
                    <a:lnTo>
                      <a:pt x="28" y="86"/>
                    </a:lnTo>
                    <a:lnTo>
                      <a:pt x="34" y="90"/>
                    </a:lnTo>
                    <a:lnTo>
                      <a:pt x="40" y="94"/>
                    </a:lnTo>
                    <a:lnTo>
                      <a:pt x="46" y="96"/>
                    </a:lnTo>
                    <a:lnTo>
                      <a:pt x="52" y="96"/>
                    </a:lnTo>
                    <a:lnTo>
                      <a:pt x="956" y="96"/>
                    </a:lnTo>
                    <a:lnTo>
                      <a:pt x="956" y="96"/>
                    </a:lnTo>
                    <a:lnTo>
                      <a:pt x="962" y="96"/>
                    </a:lnTo>
                    <a:lnTo>
                      <a:pt x="968" y="94"/>
                    </a:lnTo>
                    <a:lnTo>
                      <a:pt x="974" y="90"/>
                    </a:lnTo>
                    <a:lnTo>
                      <a:pt x="980" y="86"/>
                    </a:lnTo>
                    <a:lnTo>
                      <a:pt x="984" y="80"/>
                    </a:lnTo>
                    <a:lnTo>
                      <a:pt x="988" y="74"/>
                    </a:lnTo>
                    <a:lnTo>
                      <a:pt x="990" y="68"/>
                    </a:lnTo>
                    <a:lnTo>
                      <a:pt x="990" y="60"/>
                    </a:lnTo>
                    <a:lnTo>
                      <a:pt x="990" y="18"/>
                    </a:lnTo>
                    <a:lnTo>
                      <a:pt x="608" y="18"/>
                    </a:lnTo>
                    <a:lnTo>
                      <a:pt x="608" y="18"/>
                    </a:lnTo>
                    <a:lnTo>
                      <a:pt x="606" y="26"/>
                    </a:lnTo>
                    <a:lnTo>
                      <a:pt x="604" y="34"/>
                    </a:lnTo>
                    <a:lnTo>
                      <a:pt x="600" y="40"/>
                    </a:lnTo>
                    <a:lnTo>
                      <a:pt x="596" y="46"/>
                    </a:lnTo>
                    <a:lnTo>
                      <a:pt x="590" y="50"/>
                    </a:lnTo>
                    <a:lnTo>
                      <a:pt x="584" y="54"/>
                    </a:lnTo>
                    <a:lnTo>
                      <a:pt x="576" y="56"/>
                    </a:lnTo>
                    <a:lnTo>
                      <a:pt x="568" y="56"/>
                    </a:lnTo>
                    <a:lnTo>
                      <a:pt x="452" y="56"/>
                    </a:lnTo>
                    <a:lnTo>
                      <a:pt x="452" y="56"/>
                    </a:lnTo>
                    <a:lnTo>
                      <a:pt x="444" y="56"/>
                    </a:lnTo>
                    <a:lnTo>
                      <a:pt x="438" y="54"/>
                    </a:lnTo>
                    <a:lnTo>
                      <a:pt x="430" y="50"/>
                    </a:lnTo>
                    <a:lnTo>
                      <a:pt x="426" y="46"/>
                    </a:lnTo>
                    <a:lnTo>
                      <a:pt x="420" y="40"/>
                    </a:lnTo>
                    <a:lnTo>
                      <a:pt x="416" y="34"/>
                    </a:lnTo>
                    <a:lnTo>
                      <a:pt x="414" y="26"/>
                    </a:lnTo>
                    <a:lnTo>
                      <a:pt x="41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3" name="Freeform 24">
                <a:extLst>
                  <a:ext uri="{FF2B5EF4-FFF2-40B4-BE49-F238E27FC236}">
                    <a16:creationId xmlns:a16="http://schemas.microsoft.com/office/drawing/2014/main" id="{6FE7D374-2AD5-4FE0-9D00-16F11DAA3A7E}"/>
                  </a:ext>
                </a:extLst>
              </p:cNvPr>
              <p:cNvSpPr>
                <a:spLocks/>
              </p:cNvSpPr>
              <p:nvPr/>
            </p:nvSpPr>
            <p:spPr bwMode="auto">
              <a:xfrm>
                <a:off x="2784475" y="3143250"/>
                <a:ext cx="1409700" cy="901700"/>
              </a:xfrm>
              <a:custGeom>
                <a:avLst/>
                <a:gdLst>
                  <a:gd name="T0" fmla="*/ 888 w 888"/>
                  <a:gd name="T1" fmla="*/ 568 h 568"/>
                  <a:gd name="T2" fmla="*/ 0 w 888"/>
                  <a:gd name="T3" fmla="*/ 568 h 568"/>
                  <a:gd name="T4" fmla="*/ 0 w 888"/>
                  <a:gd name="T5" fmla="*/ 42 h 568"/>
                  <a:gd name="T6" fmla="*/ 0 w 888"/>
                  <a:gd name="T7" fmla="*/ 42 h 568"/>
                  <a:gd name="T8" fmla="*/ 0 w 888"/>
                  <a:gd name="T9" fmla="*/ 34 h 568"/>
                  <a:gd name="T10" fmla="*/ 2 w 888"/>
                  <a:gd name="T11" fmla="*/ 26 h 568"/>
                  <a:gd name="T12" fmla="*/ 6 w 888"/>
                  <a:gd name="T13" fmla="*/ 18 h 568"/>
                  <a:gd name="T14" fmla="*/ 12 w 888"/>
                  <a:gd name="T15" fmla="*/ 12 h 568"/>
                  <a:gd name="T16" fmla="*/ 18 w 888"/>
                  <a:gd name="T17" fmla="*/ 6 h 568"/>
                  <a:gd name="T18" fmla="*/ 24 w 888"/>
                  <a:gd name="T19" fmla="*/ 2 h 568"/>
                  <a:gd name="T20" fmla="*/ 32 w 888"/>
                  <a:gd name="T21" fmla="*/ 0 h 568"/>
                  <a:gd name="T22" fmla="*/ 42 w 888"/>
                  <a:gd name="T23" fmla="*/ 0 h 568"/>
                  <a:gd name="T24" fmla="*/ 142 w 888"/>
                  <a:gd name="T25" fmla="*/ 0 h 568"/>
                  <a:gd name="T26" fmla="*/ 142 w 888"/>
                  <a:gd name="T27" fmla="*/ 18 h 568"/>
                  <a:gd name="T28" fmla="*/ 42 w 888"/>
                  <a:gd name="T29" fmla="*/ 18 h 568"/>
                  <a:gd name="T30" fmla="*/ 42 w 888"/>
                  <a:gd name="T31" fmla="*/ 18 h 568"/>
                  <a:gd name="T32" fmla="*/ 32 w 888"/>
                  <a:gd name="T33" fmla="*/ 20 h 568"/>
                  <a:gd name="T34" fmla="*/ 24 w 888"/>
                  <a:gd name="T35" fmla="*/ 24 h 568"/>
                  <a:gd name="T36" fmla="*/ 20 w 888"/>
                  <a:gd name="T37" fmla="*/ 32 h 568"/>
                  <a:gd name="T38" fmla="*/ 18 w 888"/>
                  <a:gd name="T39" fmla="*/ 42 h 568"/>
                  <a:gd name="T40" fmla="*/ 18 w 888"/>
                  <a:gd name="T41" fmla="*/ 550 h 568"/>
                  <a:gd name="T42" fmla="*/ 870 w 888"/>
                  <a:gd name="T43" fmla="*/ 550 h 568"/>
                  <a:gd name="T44" fmla="*/ 870 w 888"/>
                  <a:gd name="T45" fmla="*/ 42 h 568"/>
                  <a:gd name="T46" fmla="*/ 870 w 888"/>
                  <a:gd name="T47" fmla="*/ 42 h 568"/>
                  <a:gd name="T48" fmla="*/ 868 w 888"/>
                  <a:gd name="T49" fmla="*/ 32 h 568"/>
                  <a:gd name="T50" fmla="*/ 864 w 888"/>
                  <a:gd name="T51" fmla="*/ 24 h 568"/>
                  <a:gd name="T52" fmla="*/ 856 w 888"/>
                  <a:gd name="T53" fmla="*/ 20 h 568"/>
                  <a:gd name="T54" fmla="*/ 846 w 888"/>
                  <a:gd name="T55" fmla="*/ 18 h 568"/>
                  <a:gd name="T56" fmla="*/ 746 w 888"/>
                  <a:gd name="T57" fmla="*/ 18 h 568"/>
                  <a:gd name="T58" fmla="*/ 746 w 888"/>
                  <a:gd name="T59" fmla="*/ 0 h 568"/>
                  <a:gd name="T60" fmla="*/ 846 w 888"/>
                  <a:gd name="T61" fmla="*/ 0 h 568"/>
                  <a:gd name="T62" fmla="*/ 846 w 888"/>
                  <a:gd name="T63" fmla="*/ 0 h 568"/>
                  <a:gd name="T64" fmla="*/ 854 w 888"/>
                  <a:gd name="T65" fmla="*/ 0 h 568"/>
                  <a:gd name="T66" fmla="*/ 862 w 888"/>
                  <a:gd name="T67" fmla="*/ 2 h 568"/>
                  <a:gd name="T68" fmla="*/ 870 w 888"/>
                  <a:gd name="T69" fmla="*/ 6 h 568"/>
                  <a:gd name="T70" fmla="*/ 876 w 888"/>
                  <a:gd name="T71" fmla="*/ 12 h 568"/>
                  <a:gd name="T72" fmla="*/ 882 w 888"/>
                  <a:gd name="T73" fmla="*/ 18 h 568"/>
                  <a:gd name="T74" fmla="*/ 886 w 888"/>
                  <a:gd name="T75" fmla="*/ 26 h 568"/>
                  <a:gd name="T76" fmla="*/ 888 w 888"/>
                  <a:gd name="T77" fmla="*/ 34 h 568"/>
                  <a:gd name="T78" fmla="*/ 888 w 888"/>
                  <a:gd name="T79" fmla="*/ 42 h 568"/>
                  <a:gd name="T80" fmla="*/ 888 w 888"/>
                  <a:gd name="T81"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8" h="568">
                    <a:moveTo>
                      <a:pt x="888" y="568"/>
                    </a:moveTo>
                    <a:lnTo>
                      <a:pt x="0" y="568"/>
                    </a:lnTo>
                    <a:lnTo>
                      <a:pt x="0" y="42"/>
                    </a:lnTo>
                    <a:lnTo>
                      <a:pt x="0" y="42"/>
                    </a:lnTo>
                    <a:lnTo>
                      <a:pt x="0" y="34"/>
                    </a:lnTo>
                    <a:lnTo>
                      <a:pt x="2" y="26"/>
                    </a:lnTo>
                    <a:lnTo>
                      <a:pt x="6" y="18"/>
                    </a:lnTo>
                    <a:lnTo>
                      <a:pt x="12" y="12"/>
                    </a:lnTo>
                    <a:lnTo>
                      <a:pt x="18" y="6"/>
                    </a:lnTo>
                    <a:lnTo>
                      <a:pt x="24" y="2"/>
                    </a:lnTo>
                    <a:lnTo>
                      <a:pt x="32" y="0"/>
                    </a:lnTo>
                    <a:lnTo>
                      <a:pt x="42" y="0"/>
                    </a:lnTo>
                    <a:lnTo>
                      <a:pt x="142" y="0"/>
                    </a:lnTo>
                    <a:lnTo>
                      <a:pt x="142" y="18"/>
                    </a:lnTo>
                    <a:lnTo>
                      <a:pt x="42" y="18"/>
                    </a:lnTo>
                    <a:lnTo>
                      <a:pt x="42" y="18"/>
                    </a:lnTo>
                    <a:lnTo>
                      <a:pt x="32" y="20"/>
                    </a:lnTo>
                    <a:lnTo>
                      <a:pt x="24" y="24"/>
                    </a:lnTo>
                    <a:lnTo>
                      <a:pt x="20" y="32"/>
                    </a:lnTo>
                    <a:lnTo>
                      <a:pt x="18" y="42"/>
                    </a:lnTo>
                    <a:lnTo>
                      <a:pt x="18" y="550"/>
                    </a:lnTo>
                    <a:lnTo>
                      <a:pt x="870" y="550"/>
                    </a:lnTo>
                    <a:lnTo>
                      <a:pt x="870" y="42"/>
                    </a:lnTo>
                    <a:lnTo>
                      <a:pt x="870" y="42"/>
                    </a:lnTo>
                    <a:lnTo>
                      <a:pt x="868" y="32"/>
                    </a:lnTo>
                    <a:lnTo>
                      <a:pt x="864" y="24"/>
                    </a:lnTo>
                    <a:lnTo>
                      <a:pt x="856" y="20"/>
                    </a:lnTo>
                    <a:lnTo>
                      <a:pt x="846" y="18"/>
                    </a:lnTo>
                    <a:lnTo>
                      <a:pt x="746" y="18"/>
                    </a:lnTo>
                    <a:lnTo>
                      <a:pt x="746" y="0"/>
                    </a:lnTo>
                    <a:lnTo>
                      <a:pt x="846" y="0"/>
                    </a:lnTo>
                    <a:lnTo>
                      <a:pt x="846" y="0"/>
                    </a:lnTo>
                    <a:lnTo>
                      <a:pt x="854" y="0"/>
                    </a:lnTo>
                    <a:lnTo>
                      <a:pt x="862" y="2"/>
                    </a:lnTo>
                    <a:lnTo>
                      <a:pt x="870" y="6"/>
                    </a:lnTo>
                    <a:lnTo>
                      <a:pt x="876" y="12"/>
                    </a:lnTo>
                    <a:lnTo>
                      <a:pt x="882" y="18"/>
                    </a:lnTo>
                    <a:lnTo>
                      <a:pt x="886" y="26"/>
                    </a:lnTo>
                    <a:lnTo>
                      <a:pt x="888" y="34"/>
                    </a:lnTo>
                    <a:lnTo>
                      <a:pt x="888" y="42"/>
                    </a:lnTo>
                    <a:lnTo>
                      <a:pt x="888" y="5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4" name="Freeform 25">
                <a:extLst>
                  <a:ext uri="{FF2B5EF4-FFF2-40B4-BE49-F238E27FC236}">
                    <a16:creationId xmlns:a16="http://schemas.microsoft.com/office/drawing/2014/main" id="{B77EA892-3794-4FE0-AD5E-B04918633E20}"/>
                  </a:ext>
                </a:extLst>
              </p:cNvPr>
              <p:cNvSpPr>
                <a:spLocks/>
              </p:cNvSpPr>
              <p:nvPr/>
            </p:nvSpPr>
            <p:spPr bwMode="auto">
              <a:xfrm>
                <a:off x="2873375" y="3222625"/>
                <a:ext cx="1231900" cy="742950"/>
              </a:xfrm>
              <a:custGeom>
                <a:avLst/>
                <a:gdLst>
                  <a:gd name="T0" fmla="*/ 754 w 776"/>
                  <a:gd name="T1" fmla="*/ 468 h 468"/>
                  <a:gd name="T2" fmla="*/ 22 w 776"/>
                  <a:gd name="T3" fmla="*/ 468 h 468"/>
                  <a:gd name="T4" fmla="*/ 22 w 776"/>
                  <a:gd name="T5" fmla="*/ 468 h 468"/>
                  <a:gd name="T6" fmla="*/ 14 w 776"/>
                  <a:gd name="T7" fmla="*/ 466 h 468"/>
                  <a:gd name="T8" fmla="*/ 6 w 776"/>
                  <a:gd name="T9" fmla="*/ 462 h 468"/>
                  <a:gd name="T10" fmla="*/ 2 w 776"/>
                  <a:gd name="T11" fmla="*/ 456 h 468"/>
                  <a:gd name="T12" fmla="*/ 0 w 776"/>
                  <a:gd name="T13" fmla="*/ 446 h 468"/>
                  <a:gd name="T14" fmla="*/ 0 w 776"/>
                  <a:gd name="T15" fmla="*/ 22 h 468"/>
                  <a:gd name="T16" fmla="*/ 0 w 776"/>
                  <a:gd name="T17" fmla="*/ 22 h 468"/>
                  <a:gd name="T18" fmla="*/ 2 w 776"/>
                  <a:gd name="T19" fmla="*/ 14 h 468"/>
                  <a:gd name="T20" fmla="*/ 6 w 776"/>
                  <a:gd name="T21" fmla="*/ 6 h 468"/>
                  <a:gd name="T22" fmla="*/ 14 w 776"/>
                  <a:gd name="T23" fmla="*/ 2 h 468"/>
                  <a:gd name="T24" fmla="*/ 22 w 776"/>
                  <a:gd name="T25" fmla="*/ 0 h 468"/>
                  <a:gd name="T26" fmla="*/ 86 w 776"/>
                  <a:gd name="T27" fmla="*/ 0 h 468"/>
                  <a:gd name="T28" fmla="*/ 86 w 776"/>
                  <a:gd name="T29" fmla="*/ 18 h 468"/>
                  <a:gd name="T30" fmla="*/ 22 w 776"/>
                  <a:gd name="T31" fmla="*/ 18 h 468"/>
                  <a:gd name="T32" fmla="*/ 22 w 776"/>
                  <a:gd name="T33" fmla="*/ 18 h 468"/>
                  <a:gd name="T34" fmla="*/ 20 w 776"/>
                  <a:gd name="T35" fmla="*/ 18 h 468"/>
                  <a:gd name="T36" fmla="*/ 18 w 776"/>
                  <a:gd name="T37" fmla="*/ 22 h 468"/>
                  <a:gd name="T38" fmla="*/ 18 w 776"/>
                  <a:gd name="T39" fmla="*/ 446 h 468"/>
                  <a:gd name="T40" fmla="*/ 18 w 776"/>
                  <a:gd name="T41" fmla="*/ 446 h 468"/>
                  <a:gd name="T42" fmla="*/ 20 w 776"/>
                  <a:gd name="T43" fmla="*/ 450 h 468"/>
                  <a:gd name="T44" fmla="*/ 22 w 776"/>
                  <a:gd name="T45" fmla="*/ 450 h 468"/>
                  <a:gd name="T46" fmla="*/ 754 w 776"/>
                  <a:gd name="T47" fmla="*/ 450 h 468"/>
                  <a:gd name="T48" fmla="*/ 754 w 776"/>
                  <a:gd name="T49" fmla="*/ 450 h 468"/>
                  <a:gd name="T50" fmla="*/ 756 w 776"/>
                  <a:gd name="T51" fmla="*/ 450 h 468"/>
                  <a:gd name="T52" fmla="*/ 758 w 776"/>
                  <a:gd name="T53" fmla="*/ 446 h 468"/>
                  <a:gd name="T54" fmla="*/ 758 w 776"/>
                  <a:gd name="T55" fmla="*/ 22 h 468"/>
                  <a:gd name="T56" fmla="*/ 758 w 776"/>
                  <a:gd name="T57" fmla="*/ 22 h 468"/>
                  <a:gd name="T58" fmla="*/ 756 w 776"/>
                  <a:gd name="T59" fmla="*/ 18 h 468"/>
                  <a:gd name="T60" fmla="*/ 754 w 776"/>
                  <a:gd name="T61" fmla="*/ 18 h 468"/>
                  <a:gd name="T62" fmla="*/ 690 w 776"/>
                  <a:gd name="T63" fmla="*/ 18 h 468"/>
                  <a:gd name="T64" fmla="*/ 690 w 776"/>
                  <a:gd name="T65" fmla="*/ 0 h 468"/>
                  <a:gd name="T66" fmla="*/ 754 w 776"/>
                  <a:gd name="T67" fmla="*/ 0 h 468"/>
                  <a:gd name="T68" fmla="*/ 754 w 776"/>
                  <a:gd name="T69" fmla="*/ 0 h 468"/>
                  <a:gd name="T70" fmla="*/ 762 w 776"/>
                  <a:gd name="T71" fmla="*/ 2 h 468"/>
                  <a:gd name="T72" fmla="*/ 770 w 776"/>
                  <a:gd name="T73" fmla="*/ 6 h 468"/>
                  <a:gd name="T74" fmla="*/ 774 w 776"/>
                  <a:gd name="T75" fmla="*/ 14 h 468"/>
                  <a:gd name="T76" fmla="*/ 776 w 776"/>
                  <a:gd name="T77" fmla="*/ 22 h 468"/>
                  <a:gd name="T78" fmla="*/ 776 w 776"/>
                  <a:gd name="T79" fmla="*/ 446 h 468"/>
                  <a:gd name="T80" fmla="*/ 776 w 776"/>
                  <a:gd name="T81" fmla="*/ 446 h 468"/>
                  <a:gd name="T82" fmla="*/ 774 w 776"/>
                  <a:gd name="T83" fmla="*/ 456 h 468"/>
                  <a:gd name="T84" fmla="*/ 770 w 776"/>
                  <a:gd name="T85" fmla="*/ 462 h 468"/>
                  <a:gd name="T86" fmla="*/ 762 w 776"/>
                  <a:gd name="T87" fmla="*/ 466 h 468"/>
                  <a:gd name="T88" fmla="*/ 754 w 776"/>
                  <a:gd name="T89" fmla="*/ 468 h 468"/>
                  <a:gd name="T90" fmla="*/ 754 w 776"/>
                  <a:gd name="T9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6" h="468">
                    <a:moveTo>
                      <a:pt x="754" y="468"/>
                    </a:moveTo>
                    <a:lnTo>
                      <a:pt x="22" y="468"/>
                    </a:lnTo>
                    <a:lnTo>
                      <a:pt x="22" y="468"/>
                    </a:lnTo>
                    <a:lnTo>
                      <a:pt x="14" y="466"/>
                    </a:lnTo>
                    <a:lnTo>
                      <a:pt x="6" y="462"/>
                    </a:lnTo>
                    <a:lnTo>
                      <a:pt x="2" y="456"/>
                    </a:lnTo>
                    <a:lnTo>
                      <a:pt x="0" y="446"/>
                    </a:lnTo>
                    <a:lnTo>
                      <a:pt x="0" y="22"/>
                    </a:lnTo>
                    <a:lnTo>
                      <a:pt x="0" y="22"/>
                    </a:lnTo>
                    <a:lnTo>
                      <a:pt x="2" y="14"/>
                    </a:lnTo>
                    <a:lnTo>
                      <a:pt x="6" y="6"/>
                    </a:lnTo>
                    <a:lnTo>
                      <a:pt x="14" y="2"/>
                    </a:lnTo>
                    <a:lnTo>
                      <a:pt x="22" y="0"/>
                    </a:lnTo>
                    <a:lnTo>
                      <a:pt x="86" y="0"/>
                    </a:lnTo>
                    <a:lnTo>
                      <a:pt x="86" y="18"/>
                    </a:lnTo>
                    <a:lnTo>
                      <a:pt x="22" y="18"/>
                    </a:lnTo>
                    <a:lnTo>
                      <a:pt x="22" y="18"/>
                    </a:lnTo>
                    <a:lnTo>
                      <a:pt x="20" y="18"/>
                    </a:lnTo>
                    <a:lnTo>
                      <a:pt x="18" y="22"/>
                    </a:lnTo>
                    <a:lnTo>
                      <a:pt x="18" y="446"/>
                    </a:lnTo>
                    <a:lnTo>
                      <a:pt x="18" y="446"/>
                    </a:lnTo>
                    <a:lnTo>
                      <a:pt x="20" y="450"/>
                    </a:lnTo>
                    <a:lnTo>
                      <a:pt x="22" y="450"/>
                    </a:lnTo>
                    <a:lnTo>
                      <a:pt x="754" y="450"/>
                    </a:lnTo>
                    <a:lnTo>
                      <a:pt x="754" y="450"/>
                    </a:lnTo>
                    <a:lnTo>
                      <a:pt x="756" y="450"/>
                    </a:lnTo>
                    <a:lnTo>
                      <a:pt x="758" y="446"/>
                    </a:lnTo>
                    <a:lnTo>
                      <a:pt x="758" y="22"/>
                    </a:lnTo>
                    <a:lnTo>
                      <a:pt x="758" y="22"/>
                    </a:lnTo>
                    <a:lnTo>
                      <a:pt x="756" y="18"/>
                    </a:lnTo>
                    <a:lnTo>
                      <a:pt x="754" y="18"/>
                    </a:lnTo>
                    <a:lnTo>
                      <a:pt x="690" y="18"/>
                    </a:lnTo>
                    <a:lnTo>
                      <a:pt x="690" y="0"/>
                    </a:lnTo>
                    <a:lnTo>
                      <a:pt x="754" y="0"/>
                    </a:lnTo>
                    <a:lnTo>
                      <a:pt x="754" y="0"/>
                    </a:lnTo>
                    <a:lnTo>
                      <a:pt x="762" y="2"/>
                    </a:lnTo>
                    <a:lnTo>
                      <a:pt x="770" y="6"/>
                    </a:lnTo>
                    <a:lnTo>
                      <a:pt x="774" y="14"/>
                    </a:lnTo>
                    <a:lnTo>
                      <a:pt x="776" y="22"/>
                    </a:lnTo>
                    <a:lnTo>
                      <a:pt x="776" y="446"/>
                    </a:lnTo>
                    <a:lnTo>
                      <a:pt x="776" y="446"/>
                    </a:lnTo>
                    <a:lnTo>
                      <a:pt x="774" y="456"/>
                    </a:lnTo>
                    <a:lnTo>
                      <a:pt x="770" y="462"/>
                    </a:lnTo>
                    <a:lnTo>
                      <a:pt x="762" y="466"/>
                    </a:lnTo>
                    <a:lnTo>
                      <a:pt x="754" y="468"/>
                    </a:lnTo>
                    <a:lnTo>
                      <a:pt x="754" y="4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5" name="Freeform 26">
                <a:extLst>
                  <a:ext uri="{FF2B5EF4-FFF2-40B4-BE49-F238E27FC236}">
                    <a16:creationId xmlns:a16="http://schemas.microsoft.com/office/drawing/2014/main" id="{91369047-E97F-45E7-AF36-10C9C40FE2CF}"/>
                  </a:ext>
                </a:extLst>
              </p:cNvPr>
              <p:cNvSpPr>
                <a:spLocks noEditPoints="1"/>
              </p:cNvSpPr>
              <p:nvPr/>
            </p:nvSpPr>
            <p:spPr bwMode="auto">
              <a:xfrm>
                <a:off x="3054350" y="3098800"/>
                <a:ext cx="447675" cy="682625"/>
              </a:xfrm>
              <a:custGeom>
                <a:avLst/>
                <a:gdLst>
                  <a:gd name="T0" fmla="*/ 282 w 282"/>
                  <a:gd name="T1" fmla="*/ 430 h 430"/>
                  <a:gd name="T2" fmla="*/ 264 w 282"/>
                  <a:gd name="T3" fmla="*/ 430 h 430"/>
                  <a:gd name="T4" fmla="*/ 264 w 282"/>
                  <a:gd name="T5" fmla="*/ 420 h 430"/>
                  <a:gd name="T6" fmla="*/ 264 w 282"/>
                  <a:gd name="T7" fmla="*/ 420 h 430"/>
                  <a:gd name="T8" fmla="*/ 264 w 282"/>
                  <a:gd name="T9" fmla="*/ 414 h 430"/>
                  <a:gd name="T10" fmla="*/ 262 w 282"/>
                  <a:gd name="T11" fmla="*/ 406 h 430"/>
                  <a:gd name="T12" fmla="*/ 258 w 282"/>
                  <a:gd name="T13" fmla="*/ 400 h 430"/>
                  <a:gd name="T14" fmla="*/ 254 w 282"/>
                  <a:gd name="T15" fmla="*/ 396 h 430"/>
                  <a:gd name="T16" fmla="*/ 250 w 282"/>
                  <a:gd name="T17" fmla="*/ 392 h 430"/>
                  <a:gd name="T18" fmla="*/ 244 w 282"/>
                  <a:gd name="T19" fmla="*/ 388 h 430"/>
                  <a:gd name="T20" fmla="*/ 236 w 282"/>
                  <a:gd name="T21" fmla="*/ 386 h 430"/>
                  <a:gd name="T22" fmla="*/ 230 w 282"/>
                  <a:gd name="T23" fmla="*/ 386 h 430"/>
                  <a:gd name="T24" fmla="*/ 0 w 282"/>
                  <a:gd name="T25" fmla="*/ 386 h 430"/>
                  <a:gd name="T26" fmla="*/ 0 w 282"/>
                  <a:gd name="T27" fmla="*/ 0 h 430"/>
                  <a:gd name="T28" fmla="*/ 230 w 282"/>
                  <a:gd name="T29" fmla="*/ 0 h 430"/>
                  <a:gd name="T30" fmla="*/ 230 w 282"/>
                  <a:gd name="T31" fmla="*/ 0 h 430"/>
                  <a:gd name="T32" fmla="*/ 240 w 282"/>
                  <a:gd name="T33" fmla="*/ 0 h 430"/>
                  <a:gd name="T34" fmla="*/ 250 w 282"/>
                  <a:gd name="T35" fmla="*/ 4 h 430"/>
                  <a:gd name="T36" fmla="*/ 260 w 282"/>
                  <a:gd name="T37" fmla="*/ 8 h 430"/>
                  <a:gd name="T38" fmla="*/ 268 w 282"/>
                  <a:gd name="T39" fmla="*/ 14 h 430"/>
                  <a:gd name="T40" fmla="*/ 274 w 282"/>
                  <a:gd name="T41" fmla="*/ 22 h 430"/>
                  <a:gd name="T42" fmla="*/ 278 w 282"/>
                  <a:gd name="T43" fmla="*/ 32 h 430"/>
                  <a:gd name="T44" fmla="*/ 282 w 282"/>
                  <a:gd name="T45" fmla="*/ 42 h 430"/>
                  <a:gd name="T46" fmla="*/ 282 w 282"/>
                  <a:gd name="T47" fmla="*/ 52 h 430"/>
                  <a:gd name="T48" fmla="*/ 282 w 282"/>
                  <a:gd name="T49" fmla="*/ 386 h 430"/>
                  <a:gd name="T50" fmla="*/ 270 w 282"/>
                  <a:gd name="T51" fmla="*/ 386 h 430"/>
                  <a:gd name="T52" fmla="*/ 270 w 282"/>
                  <a:gd name="T53" fmla="*/ 386 h 430"/>
                  <a:gd name="T54" fmla="*/ 276 w 282"/>
                  <a:gd name="T55" fmla="*/ 392 h 430"/>
                  <a:gd name="T56" fmla="*/ 280 w 282"/>
                  <a:gd name="T57" fmla="*/ 402 h 430"/>
                  <a:gd name="T58" fmla="*/ 282 w 282"/>
                  <a:gd name="T59" fmla="*/ 410 h 430"/>
                  <a:gd name="T60" fmla="*/ 282 w 282"/>
                  <a:gd name="T61" fmla="*/ 420 h 430"/>
                  <a:gd name="T62" fmla="*/ 282 w 282"/>
                  <a:gd name="T63" fmla="*/ 430 h 430"/>
                  <a:gd name="T64" fmla="*/ 18 w 282"/>
                  <a:gd name="T65" fmla="*/ 368 h 430"/>
                  <a:gd name="T66" fmla="*/ 230 w 282"/>
                  <a:gd name="T67" fmla="*/ 368 h 430"/>
                  <a:gd name="T68" fmla="*/ 230 w 282"/>
                  <a:gd name="T69" fmla="*/ 368 h 430"/>
                  <a:gd name="T70" fmla="*/ 240 w 282"/>
                  <a:gd name="T71" fmla="*/ 368 h 430"/>
                  <a:gd name="T72" fmla="*/ 248 w 282"/>
                  <a:gd name="T73" fmla="*/ 370 h 430"/>
                  <a:gd name="T74" fmla="*/ 258 w 282"/>
                  <a:gd name="T75" fmla="*/ 374 h 430"/>
                  <a:gd name="T76" fmla="*/ 264 w 282"/>
                  <a:gd name="T77" fmla="*/ 380 h 430"/>
                  <a:gd name="T78" fmla="*/ 264 w 282"/>
                  <a:gd name="T79" fmla="*/ 52 h 430"/>
                  <a:gd name="T80" fmla="*/ 264 w 282"/>
                  <a:gd name="T81" fmla="*/ 52 h 430"/>
                  <a:gd name="T82" fmla="*/ 264 w 282"/>
                  <a:gd name="T83" fmla="*/ 46 h 430"/>
                  <a:gd name="T84" fmla="*/ 262 w 282"/>
                  <a:gd name="T85" fmla="*/ 38 h 430"/>
                  <a:gd name="T86" fmla="*/ 258 w 282"/>
                  <a:gd name="T87" fmla="*/ 32 h 430"/>
                  <a:gd name="T88" fmla="*/ 254 w 282"/>
                  <a:gd name="T89" fmla="*/ 28 h 430"/>
                  <a:gd name="T90" fmla="*/ 250 w 282"/>
                  <a:gd name="T91" fmla="*/ 24 h 430"/>
                  <a:gd name="T92" fmla="*/ 244 w 282"/>
                  <a:gd name="T93" fmla="*/ 20 h 430"/>
                  <a:gd name="T94" fmla="*/ 236 w 282"/>
                  <a:gd name="T95" fmla="*/ 18 h 430"/>
                  <a:gd name="T96" fmla="*/ 230 w 282"/>
                  <a:gd name="T97" fmla="*/ 18 h 430"/>
                  <a:gd name="T98" fmla="*/ 18 w 282"/>
                  <a:gd name="T99" fmla="*/ 18 h 430"/>
                  <a:gd name="T100" fmla="*/ 18 w 282"/>
                  <a:gd name="T101" fmla="*/ 36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30">
                    <a:moveTo>
                      <a:pt x="282" y="430"/>
                    </a:moveTo>
                    <a:lnTo>
                      <a:pt x="264" y="430"/>
                    </a:lnTo>
                    <a:lnTo>
                      <a:pt x="264" y="420"/>
                    </a:lnTo>
                    <a:lnTo>
                      <a:pt x="264" y="420"/>
                    </a:lnTo>
                    <a:lnTo>
                      <a:pt x="264" y="414"/>
                    </a:lnTo>
                    <a:lnTo>
                      <a:pt x="262" y="406"/>
                    </a:lnTo>
                    <a:lnTo>
                      <a:pt x="258" y="400"/>
                    </a:lnTo>
                    <a:lnTo>
                      <a:pt x="254" y="396"/>
                    </a:lnTo>
                    <a:lnTo>
                      <a:pt x="250" y="392"/>
                    </a:lnTo>
                    <a:lnTo>
                      <a:pt x="244" y="388"/>
                    </a:lnTo>
                    <a:lnTo>
                      <a:pt x="236" y="386"/>
                    </a:lnTo>
                    <a:lnTo>
                      <a:pt x="230" y="386"/>
                    </a:lnTo>
                    <a:lnTo>
                      <a:pt x="0" y="386"/>
                    </a:lnTo>
                    <a:lnTo>
                      <a:pt x="0" y="0"/>
                    </a:lnTo>
                    <a:lnTo>
                      <a:pt x="230" y="0"/>
                    </a:lnTo>
                    <a:lnTo>
                      <a:pt x="230" y="0"/>
                    </a:lnTo>
                    <a:lnTo>
                      <a:pt x="240" y="0"/>
                    </a:lnTo>
                    <a:lnTo>
                      <a:pt x="250" y="4"/>
                    </a:lnTo>
                    <a:lnTo>
                      <a:pt x="260" y="8"/>
                    </a:lnTo>
                    <a:lnTo>
                      <a:pt x="268" y="14"/>
                    </a:lnTo>
                    <a:lnTo>
                      <a:pt x="274" y="22"/>
                    </a:lnTo>
                    <a:lnTo>
                      <a:pt x="278" y="32"/>
                    </a:lnTo>
                    <a:lnTo>
                      <a:pt x="282" y="42"/>
                    </a:lnTo>
                    <a:lnTo>
                      <a:pt x="282" y="52"/>
                    </a:lnTo>
                    <a:lnTo>
                      <a:pt x="282" y="386"/>
                    </a:lnTo>
                    <a:lnTo>
                      <a:pt x="270" y="386"/>
                    </a:lnTo>
                    <a:lnTo>
                      <a:pt x="270" y="386"/>
                    </a:lnTo>
                    <a:lnTo>
                      <a:pt x="276" y="392"/>
                    </a:lnTo>
                    <a:lnTo>
                      <a:pt x="280" y="402"/>
                    </a:lnTo>
                    <a:lnTo>
                      <a:pt x="282" y="410"/>
                    </a:lnTo>
                    <a:lnTo>
                      <a:pt x="282" y="420"/>
                    </a:lnTo>
                    <a:lnTo>
                      <a:pt x="282" y="430"/>
                    </a:lnTo>
                    <a:close/>
                    <a:moveTo>
                      <a:pt x="18" y="368"/>
                    </a:moveTo>
                    <a:lnTo>
                      <a:pt x="230" y="368"/>
                    </a:lnTo>
                    <a:lnTo>
                      <a:pt x="230" y="368"/>
                    </a:lnTo>
                    <a:lnTo>
                      <a:pt x="240" y="368"/>
                    </a:lnTo>
                    <a:lnTo>
                      <a:pt x="248" y="370"/>
                    </a:lnTo>
                    <a:lnTo>
                      <a:pt x="258" y="374"/>
                    </a:lnTo>
                    <a:lnTo>
                      <a:pt x="264" y="380"/>
                    </a:lnTo>
                    <a:lnTo>
                      <a:pt x="264" y="52"/>
                    </a:lnTo>
                    <a:lnTo>
                      <a:pt x="264" y="52"/>
                    </a:lnTo>
                    <a:lnTo>
                      <a:pt x="264" y="46"/>
                    </a:lnTo>
                    <a:lnTo>
                      <a:pt x="262" y="38"/>
                    </a:lnTo>
                    <a:lnTo>
                      <a:pt x="258" y="32"/>
                    </a:lnTo>
                    <a:lnTo>
                      <a:pt x="254" y="28"/>
                    </a:lnTo>
                    <a:lnTo>
                      <a:pt x="250" y="24"/>
                    </a:lnTo>
                    <a:lnTo>
                      <a:pt x="244" y="20"/>
                    </a:lnTo>
                    <a:lnTo>
                      <a:pt x="236" y="18"/>
                    </a:lnTo>
                    <a:lnTo>
                      <a:pt x="230" y="18"/>
                    </a:lnTo>
                    <a:lnTo>
                      <a:pt x="18" y="18"/>
                    </a:lnTo>
                    <a:lnTo>
                      <a:pt x="18" y="36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6" name="Freeform 27">
                <a:extLst>
                  <a:ext uri="{FF2B5EF4-FFF2-40B4-BE49-F238E27FC236}">
                    <a16:creationId xmlns:a16="http://schemas.microsoft.com/office/drawing/2014/main" id="{887A5002-6E4E-4AC4-9AAD-2D18B8490AA7}"/>
                  </a:ext>
                </a:extLst>
              </p:cNvPr>
              <p:cNvSpPr>
                <a:spLocks noEditPoints="1"/>
              </p:cNvSpPr>
              <p:nvPr/>
            </p:nvSpPr>
            <p:spPr bwMode="auto">
              <a:xfrm>
                <a:off x="3473450" y="3098800"/>
                <a:ext cx="450850" cy="666750"/>
              </a:xfrm>
              <a:custGeom>
                <a:avLst/>
                <a:gdLst>
                  <a:gd name="T0" fmla="*/ 18 w 284"/>
                  <a:gd name="T1" fmla="*/ 420 h 420"/>
                  <a:gd name="T2" fmla="*/ 0 w 284"/>
                  <a:gd name="T3" fmla="*/ 420 h 420"/>
                  <a:gd name="T4" fmla="*/ 0 w 284"/>
                  <a:gd name="T5" fmla="*/ 52 h 420"/>
                  <a:gd name="T6" fmla="*/ 0 w 284"/>
                  <a:gd name="T7" fmla="*/ 52 h 420"/>
                  <a:gd name="T8" fmla="*/ 2 w 284"/>
                  <a:gd name="T9" fmla="*/ 42 h 420"/>
                  <a:gd name="T10" fmla="*/ 6 w 284"/>
                  <a:gd name="T11" fmla="*/ 32 h 420"/>
                  <a:gd name="T12" fmla="*/ 10 w 284"/>
                  <a:gd name="T13" fmla="*/ 22 h 420"/>
                  <a:gd name="T14" fmla="*/ 16 w 284"/>
                  <a:gd name="T15" fmla="*/ 14 h 420"/>
                  <a:gd name="T16" fmla="*/ 24 w 284"/>
                  <a:gd name="T17" fmla="*/ 8 h 420"/>
                  <a:gd name="T18" fmla="*/ 34 w 284"/>
                  <a:gd name="T19" fmla="*/ 4 h 420"/>
                  <a:gd name="T20" fmla="*/ 44 w 284"/>
                  <a:gd name="T21" fmla="*/ 0 h 420"/>
                  <a:gd name="T22" fmla="*/ 54 w 284"/>
                  <a:gd name="T23" fmla="*/ 0 h 420"/>
                  <a:gd name="T24" fmla="*/ 284 w 284"/>
                  <a:gd name="T25" fmla="*/ 0 h 420"/>
                  <a:gd name="T26" fmla="*/ 284 w 284"/>
                  <a:gd name="T27" fmla="*/ 386 h 420"/>
                  <a:gd name="T28" fmla="*/ 54 w 284"/>
                  <a:gd name="T29" fmla="*/ 386 h 420"/>
                  <a:gd name="T30" fmla="*/ 54 w 284"/>
                  <a:gd name="T31" fmla="*/ 386 h 420"/>
                  <a:gd name="T32" fmla="*/ 48 w 284"/>
                  <a:gd name="T33" fmla="*/ 386 h 420"/>
                  <a:gd name="T34" fmla="*/ 40 w 284"/>
                  <a:gd name="T35" fmla="*/ 388 h 420"/>
                  <a:gd name="T36" fmla="*/ 34 w 284"/>
                  <a:gd name="T37" fmla="*/ 392 h 420"/>
                  <a:gd name="T38" fmla="*/ 30 w 284"/>
                  <a:gd name="T39" fmla="*/ 396 h 420"/>
                  <a:gd name="T40" fmla="*/ 24 w 284"/>
                  <a:gd name="T41" fmla="*/ 400 h 420"/>
                  <a:gd name="T42" fmla="*/ 22 w 284"/>
                  <a:gd name="T43" fmla="*/ 406 h 420"/>
                  <a:gd name="T44" fmla="*/ 20 w 284"/>
                  <a:gd name="T45" fmla="*/ 414 h 420"/>
                  <a:gd name="T46" fmla="*/ 18 w 284"/>
                  <a:gd name="T47" fmla="*/ 420 h 420"/>
                  <a:gd name="T48" fmla="*/ 18 w 284"/>
                  <a:gd name="T49" fmla="*/ 420 h 420"/>
                  <a:gd name="T50" fmla="*/ 54 w 284"/>
                  <a:gd name="T51" fmla="*/ 18 h 420"/>
                  <a:gd name="T52" fmla="*/ 54 w 284"/>
                  <a:gd name="T53" fmla="*/ 18 h 420"/>
                  <a:gd name="T54" fmla="*/ 48 w 284"/>
                  <a:gd name="T55" fmla="*/ 18 h 420"/>
                  <a:gd name="T56" fmla="*/ 40 w 284"/>
                  <a:gd name="T57" fmla="*/ 20 h 420"/>
                  <a:gd name="T58" fmla="*/ 34 w 284"/>
                  <a:gd name="T59" fmla="*/ 24 h 420"/>
                  <a:gd name="T60" fmla="*/ 30 w 284"/>
                  <a:gd name="T61" fmla="*/ 28 h 420"/>
                  <a:gd name="T62" fmla="*/ 24 w 284"/>
                  <a:gd name="T63" fmla="*/ 32 h 420"/>
                  <a:gd name="T64" fmla="*/ 22 w 284"/>
                  <a:gd name="T65" fmla="*/ 38 h 420"/>
                  <a:gd name="T66" fmla="*/ 20 w 284"/>
                  <a:gd name="T67" fmla="*/ 46 h 420"/>
                  <a:gd name="T68" fmla="*/ 18 w 284"/>
                  <a:gd name="T69" fmla="*/ 52 h 420"/>
                  <a:gd name="T70" fmla="*/ 18 w 284"/>
                  <a:gd name="T71" fmla="*/ 380 h 420"/>
                  <a:gd name="T72" fmla="*/ 18 w 284"/>
                  <a:gd name="T73" fmla="*/ 380 h 420"/>
                  <a:gd name="T74" fmla="*/ 26 w 284"/>
                  <a:gd name="T75" fmla="*/ 374 h 420"/>
                  <a:gd name="T76" fmla="*/ 34 w 284"/>
                  <a:gd name="T77" fmla="*/ 370 h 420"/>
                  <a:gd name="T78" fmla="*/ 44 w 284"/>
                  <a:gd name="T79" fmla="*/ 368 h 420"/>
                  <a:gd name="T80" fmla="*/ 54 w 284"/>
                  <a:gd name="T81" fmla="*/ 368 h 420"/>
                  <a:gd name="T82" fmla="*/ 266 w 284"/>
                  <a:gd name="T83" fmla="*/ 368 h 420"/>
                  <a:gd name="T84" fmla="*/ 266 w 284"/>
                  <a:gd name="T85" fmla="*/ 18 h 420"/>
                  <a:gd name="T86" fmla="*/ 54 w 284"/>
                  <a:gd name="T87" fmla="*/ 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420">
                    <a:moveTo>
                      <a:pt x="18" y="420"/>
                    </a:moveTo>
                    <a:lnTo>
                      <a:pt x="0" y="420"/>
                    </a:lnTo>
                    <a:lnTo>
                      <a:pt x="0" y="52"/>
                    </a:lnTo>
                    <a:lnTo>
                      <a:pt x="0" y="52"/>
                    </a:lnTo>
                    <a:lnTo>
                      <a:pt x="2" y="42"/>
                    </a:lnTo>
                    <a:lnTo>
                      <a:pt x="6" y="32"/>
                    </a:lnTo>
                    <a:lnTo>
                      <a:pt x="10" y="22"/>
                    </a:lnTo>
                    <a:lnTo>
                      <a:pt x="16" y="14"/>
                    </a:lnTo>
                    <a:lnTo>
                      <a:pt x="24" y="8"/>
                    </a:lnTo>
                    <a:lnTo>
                      <a:pt x="34" y="4"/>
                    </a:lnTo>
                    <a:lnTo>
                      <a:pt x="44" y="0"/>
                    </a:lnTo>
                    <a:lnTo>
                      <a:pt x="54" y="0"/>
                    </a:lnTo>
                    <a:lnTo>
                      <a:pt x="284" y="0"/>
                    </a:lnTo>
                    <a:lnTo>
                      <a:pt x="284" y="386"/>
                    </a:lnTo>
                    <a:lnTo>
                      <a:pt x="54" y="386"/>
                    </a:lnTo>
                    <a:lnTo>
                      <a:pt x="54" y="386"/>
                    </a:lnTo>
                    <a:lnTo>
                      <a:pt x="48" y="386"/>
                    </a:lnTo>
                    <a:lnTo>
                      <a:pt x="40" y="388"/>
                    </a:lnTo>
                    <a:lnTo>
                      <a:pt x="34" y="392"/>
                    </a:lnTo>
                    <a:lnTo>
                      <a:pt x="30" y="396"/>
                    </a:lnTo>
                    <a:lnTo>
                      <a:pt x="24" y="400"/>
                    </a:lnTo>
                    <a:lnTo>
                      <a:pt x="22" y="406"/>
                    </a:lnTo>
                    <a:lnTo>
                      <a:pt x="20" y="414"/>
                    </a:lnTo>
                    <a:lnTo>
                      <a:pt x="18" y="420"/>
                    </a:lnTo>
                    <a:lnTo>
                      <a:pt x="18" y="420"/>
                    </a:lnTo>
                    <a:close/>
                    <a:moveTo>
                      <a:pt x="54" y="18"/>
                    </a:moveTo>
                    <a:lnTo>
                      <a:pt x="54" y="18"/>
                    </a:lnTo>
                    <a:lnTo>
                      <a:pt x="48" y="18"/>
                    </a:lnTo>
                    <a:lnTo>
                      <a:pt x="40" y="20"/>
                    </a:lnTo>
                    <a:lnTo>
                      <a:pt x="34" y="24"/>
                    </a:lnTo>
                    <a:lnTo>
                      <a:pt x="30" y="28"/>
                    </a:lnTo>
                    <a:lnTo>
                      <a:pt x="24" y="32"/>
                    </a:lnTo>
                    <a:lnTo>
                      <a:pt x="22" y="38"/>
                    </a:lnTo>
                    <a:lnTo>
                      <a:pt x="20" y="46"/>
                    </a:lnTo>
                    <a:lnTo>
                      <a:pt x="18" y="52"/>
                    </a:lnTo>
                    <a:lnTo>
                      <a:pt x="18" y="380"/>
                    </a:lnTo>
                    <a:lnTo>
                      <a:pt x="18" y="380"/>
                    </a:lnTo>
                    <a:lnTo>
                      <a:pt x="26" y="374"/>
                    </a:lnTo>
                    <a:lnTo>
                      <a:pt x="34" y="370"/>
                    </a:lnTo>
                    <a:lnTo>
                      <a:pt x="44" y="368"/>
                    </a:lnTo>
                    <a:lnTo>
                      <a:pt x="54" y="368"/>
                    </a:lnTo>
                    <a:lnTo>
                      <a:pt x="266" y="368"/>
                    </a:lnTo>
                    <a:lnTo>
                      <a:pt x="266" y="18"/>
                    </a:lnTo>
                    <a:lnTo>
                      <a:pt x="5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7" name="Rectangle 28">
                <a:extLst>
                  <a:ext uri="{FF2B5EF4-FFF2-40B4-BE49-F238E27FC236}">
                    <a16:creationId xmlns:a16="http://schemas.microsoft.com/office/drawing/2014/main" id="{E2EEF2A7-3EEB-4757-93B9-5C814ACA79D2}"/>
                  </a:ext>
                </a:extLst>
              </p:cNvPr>
              <p:cNvSpPr>
                <a:spLocks noChangeArrowheads="1"/>
              </p:cNvSpPr>
              <p:nvPr/>
            </p:nvSpPr>
            <p:spPr bwMode="auto">
              <a:xfrm>
                <a:off x="3279775" y="327660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8" name="Rectangle 29">
                <a:extLst>
                  <a:ext uri="{FF2B5EF4-FFF2-40B4-BE49-F238E27FC236}">
                    <a16:creationId xmlns:a16="http://schemas.microsoft.com/office/drawing/2014/main" id="{57F981AD-4CEA-4F0B-BDB4-AEC5FF4C7198}"/>
                  </a:ext>
                </a:extLst>
              </p:cNvPr>
              <p:cNvSpPr>
                <a:spLocks noChangeArrowheads="1"/>
              </p:cNvSpPr>
              <p:nvPr/>
            </p:nvSpPr>
            <p:spPr bwMode="auto">
              <a:xfrm>
                <a:off x="3279775" y="3346450"/>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299" name="Rectangle 30">
                <a:extLst>
                  <a:ext uri="{FF2B5EF4-FFF2-40B4-BE49-F238E27FC236}">
                    <a16:creationId xmlns:a16="http://schemas.microsoft.com/office/drawing/2014/main" id="{92D47D44-6F86-49D1-8EE4-A86E4B11D73D}"/>
                  </a:ext>
                </a:extLst>
              </p:cNvPr>
              <p:cNvSpPr>
                <a:spLocks noChangeArrowheads="1"/>
              </p:cNvSpPr>
              <p:nvPr/>
            </p:nvSpPr>
            <p:spPr bwMode="auto">
              <a:xfrm>
                <a:off x="31337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0" name="Rectangle 31">
                <a:extLst>
                  <a:ext uri="{FF2B5EF4-FFF2-40B4-BE49-F238E27FC236}">
                    <a16:creationId xmlns:a16="http://schemas.microsoft.com/office/drawing/2014/main" id="{0B675156-66B2-42EA-BB9B-460584CC0204}"/>
                  </a:ext>
                </a:extLst>
              </p:cNvPr>
              <p:cNvSpPr>
                <a:spLocks noChangeArrowheads="1"/>
              </p:cNvSpPr>
              <p:nvPr/>
            </p:nvSpPr>
            <p:spPr bwMode="auto">
              <a:xfrm>
                <a:off x="31337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1" name="Rectangle 32">
                <a:extLst>
                  <a:ext uri="{FF2B5EF4-FFF2-40B4-BE49-F238E27FC236}">
                    <a16:creationId xmlns:a16="http://schemas.microsoft.com/office/drawing/2014/main" id="{2691159C-1D03-4D4F-96D9-DDE0ABF4D650}"/>
                  </a:ext>
                </a:extLst>
              </p:cNvPr>
              <p:cNvSpPr>
                <a:spLocks noChangeArrowheads="1"/>
              </p:cNvSpPr>
              <p:nvPr/>
            </p:nvSpPr>
            <p:spPr bwMode="auto">
              <a:xfrm>
                <a:off x="31337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2" name="Rectangle 33">
                <a:extLst>
                  <a:ext uri="{FF2B5EF4-FFF2-40B4-BE49-F238E27FC236}">
                    <a16:creationId xmlns:a16="http://schemas.microsoft.com/office/drawing/2014/main" id="{BD37B748-4AE8-43BA-BD91-AE555E6FFE26}"/>
                  </a:ext>
                </a:extLst>
              </p:cNvPr>
              <p:cNvSpPr>
                <a:spLocks noChangeArrowheads="1"/>
              </p:cNvSpPr>
              <p:nvPr/>
            </p:nvSpPr>
            <p:spPr bwMode="auto">
              <a:xfrm>
                <a:off x="3552825" y="32766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3" name="Rectangle 34">
                <a:extLst>
                  <a:ext uri="{FF2B5EF4-FFF2-40B4-BE49-F238E27FC236}">
                    <a16:creationId xmlns:a16="http://schemas.microsoft.com/office/drawing/2014/main" id="{BA30E3F5-4006-47D3-A8EC-4FD54A1CDC55}"/>
                  </a:ext>
                </a:extLst>
              </p:cNvPr>
              <p:cNvSpPr>
                <a:spLocks noChangeArrowheads="1"/>
              </p:cNvSpPr>
              <p:nvPr/>
            </p:nvSpPr>
            <p:spPr bwMode="auto">
              <a:xfrm>
                <a:off x="3552825" y="334645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4" name="Rectangle 35">
                <a:extLst>
                  <a:ext uri="{FF2B5EF4-FFF2-40B4-BE49-F238E27FC236}">
                    <a16:creationId xmlns:a16="http://schemas.microsoft.com/office/drawing/2014/main" id="{E41A9C76-830C-43F1-B5E5-2C17771A0DC8}"/>
                  </a:ext>
                </a:extLst>
              </p:cNvPr>
              <p:cNvSpPr>
                <a:spLocks noChangeArrowheads="1"/>
              </p:cNvSpPr>
              <p:nvPr/>
            </p:nvSpPr>
            <p:spPr bwMode="auto">
              <a:xfrm>
                <a:off x="3552825" y="3416300"/>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5" name="Rectangle 36">
                <a:extLst>
                  <a:ext uri="{FF2B5EF4-FFF2-40B4-BE49-F238E27FC236}">
                    <a16:creationId xmlns:a16="http://schemas.microsoft.com/office/drawing/2014/main" id="{408E6DAB-CEC8-42D4-9D88-C72FFCDBF29A}"/>
                  </a:ext>
                </a:extLst>
              </p:cNvPr>
              <p:cNvSpPr>
                <a:spLocks noChangeArrowheads="1"/>
              </p:cNvSpPr>
              <p:nvPr/>
            </p:nvSpPr>
            <p:spPr bwMode="auto">
              <a:xfrm>
                <a:off x="3552825" y="348297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6" name="Rectangle 37">
                <a:extLst>
                  <a:ext uri="{FF2B5EF4-FFF2-40B4-BE49-F238E27FC236}">
                    <a16:creationId xmlns:a16="http://schemas.microsoft.com/office/drawing/2014/main" id="{3BF6F852-D46D-40D6-A9D4-FB0369E031BC}"/>
                  </a:ext>
                </a:extLst>
              </p:cNvPr>
              <p:cNvSpPr>
                <a:spLocks noChangeArrowheads="1"/>
              </p:cNvSpPr>
              <p:nvPr/>
            </p:nvSpPr>
            <p:spPr bwMode="auto">
              <a:xfrm>
                <a:off x="3552825" y="3552825"/>
                <a:ext cx="2921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sp>
            <p:nvSpPr>
              <p:cNvPr id="307" name="Freeform 38">
                <a:extLst>
                  <a:ext uri="{FF2B5EF4-FFF2-40B4-BE49-F238E27FC236}">
                    <a16:creationId xmlns:a16="http://schemas.microsoft.com/office/drawing/2014/main" id="{BC80FB6A-0C9F-4E3B-92F2-C855A8870B3E}"/>
                  </a:ext>
                </a:extLst>
              </p:cNvPr>
              <p:cNvSpPr>
                <a:spLocks noEditPoints="1"/>
              </p:cNvSpPr>
              <p:nvPr/>
            </p:nvSpPr>
            <p:spPr bwMode="auto">
              <a:xfrm>
                <a:off x="3133725" y="3276600"/>
                <a:ext cx="120650" cy="98425"/>
              </a:xfrm>
              <a:custGeom>
                <a:avLst/>
                <a:gdLst>
                  <a:gd name="T0" fmla="*/ 76 w 76"/>
                  <a:gd name="T1" fmla="*/ 62 h 62"/>
                  <a:gd name="T2" fmla="*/ 0 w 76"/>
                  <a:gd name="T3" fmla="*/ 62 h 62"/>
                  <a:gd name="T4" fmla="*/ 0 w 76"/>
                  <a:gd name="T5" fmla="*/ 0 h 62"/>
                  <a:gd name="T6" fmla="*/ 76 w 76"/>
                  <a:gd name="T7" fmla="*/ 0 h 62"/>
                  <a:gd name="T8" fmla="*/ 76 w 76"/>
                  <a:gd name="T9" fmla="*/ 62 h 62"/>
                  <a:gd name="T10" fmla="*/ 18 w 76"/>
                  <a:gd name="T11" fmla="*/ 44 h 62"/>
                  <a:gd name="T12" fmla="*/ 58 w 76"/>
                  <a:gd name="T13" fmla="*/ 44 h 62"/>
                  <a:gd name="T14" fmla="*/ 58 w 76"/>
                  <a:gd name="T15" fmla="*/ 18 h 62"/>
                  <a:gd name="T16" fmla="*/ 18 w 76"/>
                  <a:gd name="T17" fmla="*/ 18 h 62"/>
                  <a:gd name="T18" fmla="*/ 18 w 76"/>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62">
                    <a:moveTo>
                      <a:pt x="76" y="62"/>
                    </a:moveTo>
                    <a:lnTo>
                      <a:pt x="0" y="62"/>
                    </a:lnTo>
                    <a:lnTo>
                      <a:pt x="0" y="0"/>
                    </a:lnTo>
                    <a:lnTo>
                      <a:pt x="76" y="0"/>
                    </a:lnTo>
                    <a:lnTo>
                      <a:pt x="76" y="62"/>
                    </a:lnTo>
                    <a:close/>
                    <a:moveTo>
                      <a:pt x="18" y="44"/>
                    </a:moveTo>
                    <a:lnTo>
                      <a:pt x="58" y="44"/>
                    </a:lnTo>
                    <a:lnTo>
                      <a:pt x="58" y="18"/>
                    </a:lnTo>
                    <a:lnTo>
                      <a:pt x="18" y="18"/>
                    </a:lnTo>
                    <a:lnTo>
                      <a:pt x="1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sz="1000">
                  <a:solidFill>
                    <a:srgbClr val="FFE600"/>
                  </a:solidFill>
                </a:endParaRPr>
              </a:p>
            </p:txBody>
          </p:sp>
        </p:grpSp>
        <p:sp>
          <p:nvSpPr>
            <p:cNvPr id="290" name="TextBox 289">
              <a:extLst>
                <a:ext uri="{FF2B5EF4-FFF2-40B4-BE49-F238E27FC236}">
                  <a16:creationId xmlns:a16="http://schemas.microsoft.com/office/drawing/2014/main" id="{26903884-EFF6-41D1-B4CD-7CF6EE013128}"/>
                </a:ext>
              </a:extLst>
            </p:cNvPr>
            <p:cNvSpPr txBox="1"/>
            <p:nvPr/>
          </p:nvSpPr>
          <p:spPr>
            <a:xfrm>
              <a:off x="7655928" y="3817233"/>
              <a:ext cx="1045143" cy="186043"/>
            </a:xfrm>
            <a:prstGeom prst="rect">
              <a:avLst/>
            </a:prstGeom>
            <a:noFill/>
            <a:ln w="12700" cap="sq">
              <a:noFill/>
              <a:miter lim="800000"/>
            </a:ln>
          </p:spPr>
          <p:txBody>
            <a:bodyPr wrap="square" lIns="0" tIns="0" rIns="0" bIns="0"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lang="de-AT" sz="1000" b="1" kern="0" dirty="0">
                  <a:solidFill>
                    <a:srgbClr val="FFE600"/>
                  </a:solidFill>
                </a:rPr>
                <a:t>Off</a:t>
              </a:r>
              <a:r>
                <a:rPr kumimoji="0" lang="de-AT" sz="1000" b="1" i="0" u="none" strike="noStrike" kern="0" cap="none" spc="0" normalizeH="0" baseline="0" noProof="0" dirty="0">
                  <a:ln>
                    <a:noFill/>
                  </a:ln>
                  <a:solidFill>
                    <a:srgbClr val="FFE600"/>
                  </a:solidFill>
                  <a:effectLst/>
                  <a:uLnTx/>
                  <a:uFillTx/>
                </a:rPr>
                <a:t>-</a:t>
              </a:r>
              <a:r>
                <a:rPr kumimoji="0" lang="de-AT" sz="1000" i="0" u="none" strike="noStrike" kern="0" cap="none" spc="0" normalizeH="0" baseline="0" noProof="0" dirty="0" err="1">
                  <a:ln>
                    <a:noFill/>
                  </a:ln>
                  <a:solidFill>
                    <a:srgbClr val="FFE600"/>
                  </a:solidFill>
                  <a:effectLst/>
                  <a:uLnTx/>
                  <a:uFillTx/>
                </a:rPr>
                <a:t>chain</a:t>
              </a:r>
              <a:endParaRPr kumimoji="0" lang="de-AT" sz="1000" i="0" u="none" strike="noStrike" kern="0" cap="none" spc="0" normalizeH="0" baseline="0" noProof="0" dirty="0">
                <a:ln>
                  <a:noFill/>
                </a:ln>
                <a:solidFill>
                  <a:srgbClr val="FFE600"/>
                </a:solidFill>
                <a:effectLst/>
                <a:uLnTx/>
                <a:uFillTx/>
              </a:endParaRPr>
            </a:p>
          </p:txBody>
        </p:sp>
        <p:sp>
          <p:nvSpPr>
            <p:cNvPr id="291" name="TextBox 290">
              <a:extLst>
                <a:ext uri="{FF2B5EF4-FFF2-40B4-BE49-F238E27FC236}">
                  <a16:creationId xmlns:a16="http://schemas.microsoft.com/office/drawing/2014/main" id="{2D2B35F4-8FA8-4D55-B969-E86152365C50}"/>
                </a:ext>
              </a:extLst>
            </p:cNvPr>
            <p:cNvSpPr txBox="1"/>
            <p:nvPr/>
          </p:nvSpPr>
          <p:spPr>
            <a:xfrm>
              <a:off x="8671491" y="3832185"/>
              <a:ext cx="563412" cy="186043"/>
            </a:xfrm>
            <a:prstGeom prst="rect">
              <a:avLst/>
            </a:prstGeom>
            <a:noFill/>
            <a:ln w="12700" cap="sq">
              <a:noFill/>
              <a:miter lim="800000"/>
            </a:ln>
          </p:spPr>
          <p:txBody>
            <a:bodyPr wrap="square" lIns="0" tIns="0" rIns="0" bIns="0" rtlCol="0">
              <a:noAutofit/>
            </a:bodyPr>
            <a:lstStyle/>
            <a:p>
              <a:pPr defTabSz="685434">
                <a:spcBef>
                  <a:spcPct val="20000"/>
                </a:spcBef>
                <a:buClr>
                  <a:srgbClr val="FFE600"/>
                </a:buClr>
                <a:buSzPct val="80000"/>
              </a:pPr>
              <a:r>
                <a:rPr lang="de-AT" sz="1000" b="1" kern="0" dirty="0">
                  <a:solidFill>
                    <a:srgbClr val="FFE600"/>
                  </a:solidFill>
                </a:rPr>
                <a:t>On-</a:t>
              </a:r>
              <a:r>
                <a:rPr lang="de-AT" sz="1000" kern="0" dirty="0">
                  <a:solidFill>
                    <a:srgbClr val="FFE600"/>
                  </a:solidFill>
                </a:rPr>
                <a:t>chain</a:t>
              </a:r>
            </a:p>
          </p:txBody>
        </p:sp>
      </p:grpSp>
    </p:spTree>
    <p:extLst>
      <p:ext uri="{BB962C8B-B14F-4D97-AF65-F5344CB8AC3E}">
        <p14:creationId xmlns:p14="http://schemas.microsoft.com/office/powerpoint/2010/main" val="25394187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114123-0164-4064-A1C1-3F1A1E5DFE2F}"/>
              </a:ext>
            </a:extLst>
          </p:cNvPr>
          <p:cNvSpPr>
            <a:spLocks/>
          </p:cNvSpPr>
          <p:nvPr/>
        </p:nvSpPr>
        <p:spPr>
          <a:xfrm>
            <a:off x="554559" y="692696"/>
            <a:ext cx="3193799" cy="3344505"/>
          </a:xfrm>
          <a:prstGeom prst="rect">
            <a:avLst/>
          </a:prstGeom>
        </p:spPr>
        <p:txBody>
          <a:bodyPr wrap="square" lIns="0" tIns="0" rIns="0" bIns="0">
            <a:spAutoFit/>
          </a:bodyPr>
          <a:lstStyle/>
          <a:p>
            <a:pPr>
              <a:spcAft>
                <a:spcPts val="404"/>
              </a:spcAft>
              <a:buClr>
                <a:srgbClr val="FFE600"/>
              </a:buClr>
              <a:buSzPct val="70000"/>
            </a:pPr>
            <a:r>
              <a:rPr lang="en-US" sz="1200" dirty="0">
                <a:solidFill>
                  <a:schemeClr val="tx2"/>
                </a:solidFill>
                <a:cs typeface="Arial" panose="020B0604020202020204" pitchFamily="34" charset="0"/>
              </a:rPr>
              <a:t>Notes on this presentation</a:t>
            </a:r>
          </a:p>
          <a:p>
            <a:pPr>
              <a:spcAft>
                <a:spcPts val="404"/>
              </a:spcAft>
              <a:buClr>
                <a:srgbClr val="FFE600"/>
              </a:buClr>
              <a:buSzPct val="70000"/>
            </a:pPr>
            <a:endParaRPr lang="en-US" sz="1200" dirty="0">
              <a:solidFill>
                <a:schemeClr val="bg1"/>
              </a:solidFill>
              <a:cs typeface="Arial" panose="020B0604020202020204" pitchFamily="34" charset="0"/>
            </a:endParaRPr>
          </a:p>
          <a:p>
            <a:pPr>
              <a:spcAft>
                <a:spcPts val="404"/>
              </a:spcAft>
              <a:buClr>
                <a:srgbClr val="FFE600"/>
              </a:buClr>
              <a:buSzPct val="70000"/>
            </a:pPr>
            <a:r>
              <a:rPr lang="en-US" sz="1200" dirty="0">
                <a:solidFill>
                  <a:schemeClr val="bg1"/>
                </a:solidFill>
                <a:cs typeface="Arial" panose="020B0604020202020204" pitchFamily="34" charset="0"/>
              </a:rPr>
              <a:t>This presentation is intended only as general, non-binding information and can therefore not serve as a substitute for detailed research or expert advice or information. </a:t>
            </a:r>
          </a:p>
          <a:p>
            <a:pPr>
              <a:spcAft>
                <a:spcPts val="404"/>
              </a:spcAft>
              <a:buClr>
                <a:srgbClr val="FFE600"/>
              </a:buClr>
              <a:buSzPct val="70000"/>
            </a:pPr>
            <a:r>
              <a:rPr lang="en-US" sz="1200" dirty="0">
                <a:solidFill>
                  <a:schemeClr val="bg1"/>
                </a:solidFill>
                <a:cs typeface="Arial" panose="020B0604020202020204" pitchFamily="34" charset="0"/>
              </a:rPr>
              <a:t>Although it has been prepared with the greatest possible care, there is no claim to factual accuracy, completeness and/or up-to-</a:t>
            </a:r>
            <a:r>
              <a:rPr lang="en-US" sz="1200" dirty="0" err="1">
                <a:solidFill>
                  <a:schemeClr val="bg1"/>
                </a:solidFill>
                <a:cs typeface="Arial" panose="020B0604020202020204" pitchFamily="34" charset="0"/>
              </a:rPr>
              <a:t>dateness</a:t>
            </a:r>
            <a:r>
              <a:rPr lang="en-US" sz="1200" dirty="0">
                <a:solidFill>
                  <a:schemeClr val="bg1"/>
                </a:solidFill>
                <a:cs typeface="Arial" panose="020B0604020202020204" pitchFamily="34" charset="0"/>
              </a:rPr>
              <a:t>; in particular, this presentation cannot take into account the specific circumstances of individual cases. Any use thereof is therefore the sole responsibility of the reader. </a:t>
            </a:r>
          </a:p>
          <a:p>
            <a:pPr>
              <a:spcAft>
                <a:spcPts val="404"/>
              </a:spcAft>
              <a:buClr>
                <a:srgbClr val="FFE600"/>
              </a:buClr>
              <a:buSzPct val="70000"/>
            </a:pPr>
            <a:r>
              <a:rPr lang="en-US" sz="1200" dirty="0">
                <a:solidFill>
                  <a:schemeClr val="bg1"/>
                </a:solidFill>
                <a:cs typeface="Arial" panose="020B0604020202020204" pitchFamily="34" charset="0"/>
              </a:rPr>
              <a:t>Any liability on the part of any presenters is excluded. Appropriate counsel should be consulted for any specific concern.</a:t>
            </a:r>
          </a:p>
        </p:txBody>
      </p:sp>
    </p:spTree>
    <p:custDataLst>
      <p:custData r:id="rId1"/>
    </p:custDataLst>
    <p:extLst>
      <p:ext uri="{BB962C8B-B14F-4D97-AF65-F5344CB8AC3E}">
        <p14:creationId xmlns:p14="http://schemas.microsoft.com/office/powerpoint/2010/main" val="39000622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1EF42D9C-3177-43EF-ACE3-BB0393215BE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1197" y="2639659"/>
            <a:ext cx="12187154" cy="4301647"/>
          </a:xfrm>
          <a:custGeom>
            <a:avLst/>
            <a:gdLst>
              <a:gd name="connsiteX0" fmla="*/ 10158841 w 12187154"/>
              <a:gd name="connsiteY0" fmla="*/ 1379 h 4301647"/>
              <a:gd name="connsiteX1" fmla="*/ 12100831 w 12187154"/>
              <a:gd name="connsiteY1" fmla="*/ 941659 h 4301647"/>
              <a:gd name="connsiteX2" fmla="*/ 12187154 w 12187154"/>
              <a:gd name="connsiteY2" fmla="*/ 1024214 h 4301647"/>
              <a:gd name="connsiteX3" fmla="*/ 12187154 w 12187154"/>
              <a:gd name="connsiteY3" fmla="*/ 4301647 h 4301647"/>
              <a:gd name="connsiteX4" fmla="*/ 0 w 12187154"/>
              <a:gd name="connsiteY4" fmla="*/ 4301647 h 4301647"/>
              <a:gd name="connsiteX5" fmla="*/ 0 w 12187154"/>
              <a:gd name="connsiteY5" fmla="*/ 1028071 h 4301647"/>
              <a:gd name="connsiteX6" fmla="*/ 64856 w 12187154"/>
              <a:gd name="connsiteY6" fmla="*/ 1084086 h 4301647"/>
              <a:gd name="connsiteX7" fmla="*/ 6611550 w 12187154"/>
              <a:gd name="connsiteY7" fmla="*/ 1028951 h 4301647"/>
              <a:gd name="connsiteX8" fmla="*/ 10158841 w 12187154"/>
              <a:gd name="connsiteY8" fmla="*/ 1379 h 430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7154" h="4301647">
                <a:moveTo>
                  <a:pt x="10158841" y="1379"/>
                </a:moveTo>
                <a:cubicBezTo>
                  <a:pt x="11218425" y="31656"/>
                  <a:pt x="11707430" y="554313"/>
                  <a:pt x="12100831" y="941659"/>
                </a:cubicBezTo>
                <a:lnTo>
                  <a:pt x="12187154" y="1024214"/>
                </a:lnTo>
                <a:lnTo>
                  <a:pt x="12187154" y="4301647"/>
                </a:lnTo>
                <a:lnTo>
                  <a:pt x="0" y="4301647"/>
                </a:lnTo>
                <a:lnTo>
                  <a:pt x="0" y="1028071"/>
                </a:lnTo>
                <a:lnTo>
                  <a:pt x="64856" y="1084086"/>
                </a:lnTo>
                <a:cubicBezTo>
                  <a:pt x="2228920" y="2864221"/>
                  <a:pt x="4565416" y="2065975"/>
                  <a:pt x="6611550" y="1028951"/>
                </a:cubicBezTo>
                <a:cubicBezTo>
                  <a:pt x="8248516" y="232927"/>
                  <a:pt x="9364154" y="-21329"/>
                  <a:pt x="10158841" y="1379"/>
                </a:cubicBezTo>
                <a:close/>
              </a:path>
            </a:pathLst>
          </a:custGeom>
        </p:spPr>
      </p:pic>
      <p:sp>
        <p:nvSpPr>
          <p:cNvPr id="20" name="Rectangle 19">
            <a:extLst>
              <a:ext uri="{FF2B5EF4-FFF2-40B4-BE49-F238E27FC236}">
                <a16:creationId xmlns:a16="http://schemas.microsoft.com/office/drawing/2014/main" id="{549ADD0C-8CFE-420F-B559-7CCD52A10FF0}"/>
              </a:ext>
            </a:extLst>
          </p:cNvPr>
          <p:cNvSpPr/>
          <p:nvPr/>
        </p:nvSpPr>
        <p:spPr>
          <a:xfrm>
            <a:off x="-118319" y="2589307"/>
            <a:ext cx="12316669" cy="4440093"/>
          </a:xfrm>
          <a:prstGeom prst="rect">
            <a:avLst/>
          </a:prstGeom>
          <a:solidFill>
            <a:schemeClr val="tx1">
              <a:alpha val="22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dirty="0">
              <a:ln>
                <a:noFill/>
              </a:ln>
              <a:solidFill>
                <a:srgbClr val="2E2E38"/>
              </a:solidFill>
              <a:effectLst/>
              <a:uLnTx/>
              <a:uFillTx/>
            </a:endParaRPr>
          </a:p>
        </p:txBody>
      </p:sp>
      <p:sp>
        <p:nvSpPr>
          <p:cNvPr id="11" name="Freeform: Shape 10">
            <a:extLst>
              <a:ext uri="{FF2B5EF4-FFF2-40B4-BE49-F238E27FC236}">
                <a16:creationId xmlns:a16="http://schemas.microsoft.com/office/drawing/2014/main" id="{352B8486-F433-433C-8FB1-07D55D8D13DD}"/>
              </a:ext>
            </a:extLst>
          </p:cNvPr>
          <p:cNvSpPr/>
          <p:nvPr/>
        </p:nvSpPr>
        <p:spPr>
          <a:xfrm rot="3353177">
            <a:off x="2483804" y="-1360610"/>
            <a:ext cx="7230741" cy="10148388"/>
          </a:xfrm>
          <a:custGeom>
            <a:avLst/>
            <a:gdLst>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2984" h="6865034">
                <a:moveTo>
                  <a:pt x="0" y="6865034"/>
                </a:moveTo>
                <a:cubicBezTo>
                  <a:pt x="2246142" y="6339840"/>
                  <a:pt x="3736706" y="5733371"/>
                  <a:pt x="4487594" y="3038622"/>
                </a:cubicBezTo>
                <a:cubicBezTo>
                  <a:pt x="5319312" y="-18314"/>
                  <a:pt x="7976382" y="32824"/>
                  <a:pt x="8932984" y="0"/>
                </a:cubicBezTo>
                <a:cubicBezTo>
                  <a:pt x="7845083" y="206327"/>
                  <a:pt x="5631766" y="-79718"/>
                  <a:pt x="4783015" y="3151163"/>
                </a:cubicBezTo>
                <a:cubicBezTo>
                  <a:pt x="4416480" y="4730798"/>
                  <a:pt x="3577883" y="6386732"/>
                  <a:pt x="0" y="6865034"/>
                </a:cubicBezTo>
                <a:close/>
              </a:path>
            </a:pathLst>
          </a:cu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7" name="Rectangle 16">
            <a:extLst>
              <a:ext uri="{FF2B5EF4-FFF2-40B4-BE49-F238E27FC236}">
                <a16:creationId xmlns:a16="http://schemas.microsoft.com/office/drawing/2014/main" id="{D0E8016C-AF70-446C-BFCB-27A137F27264}"/>
              </a:ext>
            </a:extLst>
          </p:cNvPr>
          <p:cNvSpPr>
            <a:spLocks/>
          </p:cNvSpPr>
          <p:nvPr/>
        </p:nvSpPr>
        <p:spPr>
          <a:xfrm>
            <a:off x="609600" y="5282090"/>
            <a:ext cx="3672407" cy="947192"/>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kumimoji="0" lang="en-US" sz="72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rPr>
              <a:t>Agenda</a:t>
            </a:r>
            <a:endParaRPr kumimoji="0" lang="en-US" sz="4400" b="1" i="0" u="none" strike="noStrike" kern="0" cap="none" spc="0" normalizeH="0" baseline="0" noProof="0" dirty="0">
              <a:ln>
                <a:noFill/>
              </a:ln>
              <a:solidFill>
                <a:schemeClr val="bg1"/>
              </a:solidFill>
              <a:effectLst/>
              <a:uLnTx/>
              <a:uFillTx/>
              <a:latin typeface="EYInterstate Light" panose="02000506000000020004" pitchFamily="2" charset="0"/>
              <a:cs typeface="Arial" panose="020B0604020202020204" pitchFamily="34" charset="0"/>
            </a:endParaRPr>
          </a:p>
        </p:txBody>
      </p:sp>
      <p:sp>
        <p:nvSpPr>
          <p:cNvPr id="6" name="Rectangle 5">
            <a:extLst>
              <a:ext uri="{FF2B5EF4-FFF2-40B4-BE49-F238E27FC236}">
                <a16:creationId xmlns:a16="http://schemas.microsoft.com/office/drawing/2014/main" id="{672FA77D-B502-4300-94BB-1F59DFCABB7E}"/>
              </a:ext>
            </a:extLst>
          </p:cNvPr>
          <p:cNvSpPr>
            <a:spLocks/>
          </p:cNvSpPr>
          <p:nvPr/>
        </p:nvSpPr>
        <p:spPr>
          <a:xfrm>
            <a:off x="1224412" y="660974"/>
            <a:ext cx="2252924" cy="400110"/>
          </a:xfrm>
          <a:prstGeom prst="rect">
            <a:avLst/>
          </a:prstGeom>
        </p:spPr>
        <p:txBody>
          <a:bodyPr wrap="square" anchor="ctr">
            <a:noAutofit/>
          </a:bodyPr>
          <a:lstStyle/>
          <a:p>
            <a:pPr>
              <a:spcBef>
                <a:spcPts val="600"/>
              </a:spcBef>
            </a:pPr>
            <a:endParaRPr lang="en-US" sz="2000" dirty="0">
              <a:solidFill>
                <a:schemeClr val="bg1"/>
              </a:solidFill>
              <a:cs typeface="Arial" panose="020B0604020202020204" pitchFamily="34" charset="0"/>
            </a:endParaRPr>
          </a:p>
        </p:txBody>
      </p:sp>
      <p:sp>
        <p:nvSpPr>
          <p:cNvPr id="7" name="Rectangle 6">
            <a:extLst>
              <a:ext uri="{FF2B5EF4-FFF2-40B4-BE49-F238E27FC236}">
                <a16:creationId xmlns:a16="http://schemas.microsoft.com/office/drawing/2014/main" id="{9E2B8BFF-4A13-4843-B2E4-E7EFA0D26739}"/>
              </a:ext>
            </a:extLst>
          </p:cNvPr>
          <p:cNvSpPr>
            <a:spLocks/>
          </p:cNvSpPr>
          <p:nvPr/>
        </p:nvSpPr>
        <p:spPr>
          <a:xfrm>
            <a:off x="1334847" y="593259"/>
            <a:ext cx="5894320" cy="751439"/>
          </a:xfrm>
          <a:prstGeom prst="rect">
            <a:avLst/>
          </a:prstGeom>
        </p:spPr>
        <p:txBody>
          <a:bodyPr wrap="square" anchor="ctr">
            <a:noAutofit/>
          </a:bodyPr>
          <a:lstStyle/>
          <a:p>
            <a:pPr>
              <a:spcBef>
                <a:spcPts val="600"/>
              </a:spcBef>
            </a:pPr>
            <a:r>
              <a:rPr lang="en-US" sz="2000" dirty="0">
                <a:solidFill>
                  <a:schemeClr val="bg1"/>
                </a:solidFill>
                <a:cs typeface="Arial" panose="020B0604020202020204" pitchFamily="34" charset="0"/>
              </a:rPr>
              <a:t>Aim of this project</a:t>
            </a:r>
          </a:p>
        </p:txBody>
      </p:sp>
      <p:sp>
        <p:nvSpPr>
          <p:cNvPr id="25" name="Rectangle 24">
            <a:extLst>
              <a:ext uri="{FF2B5EF4-FFF2-40B4-BE49-F238E27FC236}">
                <a16:creationId xmlns:a16="http://schemas.microsoft.com/office/drawing/2014/main" id="{20BE59A4-4A69-4657-922A-7F1D340B66E9}"/>
              </a:ext>
            </a:extLst>
          </p:cNvPr>
          <p:cNvSpPr>
            <a:spLocks/>
          </p:cNvSpPr>
          <p:nvPr/>
        </p:nvSpPr>
        <p:spPr>
          <a:xfrm>
            <a:off x="646185" y="659400"/>
            <a:ext cx="576064" cy="576064"/>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4400" b="1" i="0" u="none" strike="noStrike" kern="0" cap="none" spc="0" normalizeH="0" baseline="0" noProof="0" dirty="0">
                <a:ln>
                  <a:noFill/>
                </a:ln>
                <a:solidFill>
                  <a:schemeClr val="bg1"/>
                </a:solidFill>
                <a:effectLst/>
                <a:uLnTx/>
                <a:uFillTx/>
              </a:rPr>
              <a:t>1</a:t>
            </a:r>
          </a:p>
        </p:txBody>
      </p:sp>
      <p:sp>
        <p:nvSpPr>
          <p:cNvPr id="8" name="Rectangle 7">
            <a:extLst>
              <a:ext uri="{FF2B5EF4-FFF2-40B4-BE49-F238E27FC236}">
                <a16:creationId xmlns:a16="http://schemas.microsoft.com/office/drawing/2014/main" id="{C2522EAC-85F8-401B-B489-CD1640638076}"/>
              </a:ext>
            </a:extLst>
          </p:cNvPr>
          <p:cNvSpPr>
            <a:spLocks/>
          </p:cNvSpPr>
          <p:nvPr/>
        </p:nvSpPr>
        <p:spPr>
          <a:xfrm>
            <a:off x="1364552" y="1372604"/>
            <a:ext cx="5894320" cy="751439"/>
          </a:xfrm>
          <a:prstGeom prst="rect">
            <a:avLst/>
          </a:prstGeom>
        </p:spPr>
        <p:txBody>
          <a:bodyPr wrap="square" anchor="ctr">
            <a:noAutofit/>
          </a:bodyPr>
          <a:lstStyle/>
          <a:p>
            <a:pPr>
              <a:spcBef>
                <a:spcPts val="600"/>
              </a:spcBef>
            </a:pPr>
            <a:r>
              <a:rPr lang="de-DE" sz="2000" dirty="0">
                <a:solidFill>
                  <a:schemeClr val="bg1"/>
                </a:solidFill>
                <a:cs typeface="Arial" panose="020B0604020202020204" pitchFamily="34" charset="0"/>
              </a:rPr>
              <a:t>Selected </a:t>
            </a:r>
            <a:r>
              <a:rPr lang="de-DE" sz="2000" dirty="0" err="1">
                <a:solidFill>
                  <a:schemeClr val="bg1"/>
                </a:solidFill>
                <a:cs typeface="Arial" panose="020B0604020202020204" pitchFamily="34" charset="0"/>
              </a:rPr>
              <a:t>Principles</a:t>
            </a:r>
            <a:r>
              <a:rPr lang="de-DE" sz="2000" dirty="0">
                <a:solidFill>
                  <a:schemeClr val="bg1"/>
                </a:solidFill>
                <a:cs typeface="Arial" panose="020B0604020202020204" pitchFamily="34" charset="0"/>
              </a:rPr>
              <a:t> </a:t>
            </a:r>
          </a:p>
        </p:txBody>
      </p:sp>
      <p:sp>
        <p:nvSpPr>
          <p:cNvPr id="26" name="Rectangle 25">
            <a:extLst>
              <a:ext uri="{FF2B5EF4-FFF2-40B4-BE49-F238E27FC236}">
                <a16:creationId xmlns:a16="http://schemas.microsoft.com/office/drawing/2014/main" id="{B91213E4-65F0-4B7B-94B5-427C5F723515}"/>
              </a:ext>
            </a:extLst>
          </p:cNvPr>
          <p:cNvSpPr>
            <a:spLocks/>
          </p:cNvSpPr>
          <p:nvPr/>
        </p:nvSpPr>
        <p:spPr>
          <a:xfrm>
            <a:off x="628964" y="1425223"/>
            <a:ext cx="576064" cy="576064"/>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4400" b="1" i="0" u="none" strike="noStrike" kern="0" cap="none" spc="0" normalizeH="0" baseline="0" noProof="0" dirty="0">
                <a:ln>
                  <a:noFill/>
                </a:ln>
                <a:solidFill>
                  <a:schemeClr val="bg1"/>
                </a:solidFill>
                <a:effectLst/>
                <a:uLnTx/>
                <a:uFillTx/>
              </a:rPr>
              <a:t>2</a:t>
            </a:r>
          </a:p>
        </p:txBody>
      </p:sp>
      <p:sp>
        <p:nvSpPr>
          <p:cNvPr id="27" name="Rectangle 26">
            <a:extLst>
              <a:ext uri="{FF2B5EF4-FFF2-40B4-BE49-F238E27FC236}">
                <a16:creationId xmlns:a16="http://schemas.microsoft.com/office/drawing/2014/main" id="{A5F07124-1643-4C9B-BAF7-4440F79511A7}"/>
              </a:ext>
            </a:extLst>
          </p:cNvPr>
          <p:cNvSpPr/>
          <p:nvPr/>
        </p:nvSpPr>
        <p:spPr>
          <a:xfrm>
            <a:off x="0" y="0"/>
            <a:ext cx="12198350" cy="100090"/>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rgbClr val="2E2E38"/>
              </a:solidFill>
              <a:effectLst/>
              <a:uLnTx/>
              <a:uFillTx/>
            </a:endParaRPr>
          </a:p>
        </p:txBody>
      </p:sp>
      <p:sp>
        <p:nvSpPr>
          <p:cNvPr id="37" name="Rectangle 36">
            <a:extLst>
              <a:ext uri="{FF2B5EF4-FFF2-40B4-BE49-F238E27FC236}">
                <a16:creationId xmlns:a16="http://schemas.microsoft.com/office/drawing/2014/main" id="{71180649-3301-42B6-99CD-0140AD2A2C33}"/>
              </a:ext>
            </a:extLst>
          </p:cNvPr>
          <p:cNvSpPr>
            <a:spLocks/>
          </p:cNvSpPr>
          <p:nvPr/>
        </p:nvSpPr>
        <p:spPr>
          <a:xfrm>
            <a:off x="609600" y="2410218"/>
            <a:ext cx="576064" cy="576064"/>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4400" b="1" i="0" u="none" strike="noStrike" kern="0" cap="none" spc="0" normalizeH="0" baseline="0" noProof="0" dirty="0">
                <a:ln>
                  <a:noFill/>
                </a:ln>
                <a:solidFill>
                  <a:schemeClr val="bg1"/>
                </a:solidFill>
                <a:effectLst/>
                <a:uLnTx/>
                <a:uFillTx/>
              </a:rPr>
              <a:t>3</a:t>
            </a:r>
          </a:p>
        </p:txBody>
      </p:sp>
      <p:pic>
        <p:nvPicPr>
          <p:cNvPr id="53" name="Picture 52">
            <a:extLst>
              <a:ext uri="{FF2B5EF4-FFF2-40B4-BE49-F238E27FC236}">
                <a16:creationId xmlns:a16="http://schemas.microsoft.com/office/drawing/2014/main" id="{C7EE9F4B-3816-4E3E-A1E7-BC709D21DE3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946233" y="5528305"/>
            <a:ext cx="737486" cy="17565"/>
          </a:xfrm>
          <a:custGeom>
            <a:avLst/>
            <a:gdLst>
              <a:gd name="connsiteX0" fmla="*/ 457462 w 737486"/>
              <a:gd name="connsiteY0" fmla="*/ 665 h 17565"/>
              <a:gd name="connsiteX1" fmla="*/ 672301 w 737486"/>
              <a:gd name="connsiteY1" fmla="*/ 10689 h 17565"/>
              <a:gd name="connsiteX2" fmla="*/ 737486 w 737486"/>
              <a:gd name="connsiteY2" fmla="*/ 17565 h 17565"/>
              <a:gd name="connsiteX3" fmla="*/ 0 w 737486"/>
              <a:gd name="connsiteY3" fmla="*/ 17565 h 17565"/>
              <a:gd name="connsiteX4" fmla="*/ 229756 w 737486"/>
              <a:gd name="connsiteY4" fmla="*/ 2889 h 17565"/>
              <a:gd name="connsiteX5" fmla="*/ 457462 w 737486"/>
              <a:gd name="connsiteY5" fmla="*/ 665 h 1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7486" h="17565">
                <a:moveTo>
                  <a:pt x="457462" y="665"/>
                </a:moveTo>
                <a:cubicBezTo>
                  <a:pt x="531196" y="2016"/>
                  <a:pt x="602785" y="5409"/>
                  <a:pt x="672301" y="10689"/>
                </a:cubicBezTo>
                <a:lnTo>
                  <a:pt x="737486" y="17565"/>
                </a:lnTo>
                <a:lnTo>
                  <a:pt x="0" y="17565"/>
                </a:lnTo>
                <a:lnTo>
                  <a:pt x="229756" y="2889"/>
                </a:lnTo>
                <a:cubicBezTo>
                  <a:pt x="307850" y="4"/>
                  <a:pt x="383728" y="-686"/>
                  <a:pt x="457462" y="665"/>
                </a:cubicBezTo>
                <a:close/>
              </a:path>
            </a:pathLst>
          </a:custGeom>
        </p:spPr>
      </p:pic>
      <p:pic>
        <p:nvPicPr>
          <p:cNvPr id="49" name="Picture 48">
            <a:extLst>
              <a:ext uri="{FF2B5EF4-FFF2-40B4-BE49-F238E27FC236}">
                <a16:creationId xmlns:a16="http://schemas.microsoft.com/office/drawing/2014/main" id="{FBE4263C-FBBE-492B-A34C-04E244C3E945}"/>
              </a:ext>
            </a:extLst>
          </p:cNvPr>
          <p:cNvPicPr>
            <a:picLocks noChangeAspect="1"/>
          </p:cNvPicPr>
          <p:nvPr/>
        </p:nvPicPr>
        <p:blipFill>
          <a:blip r:embed="rId4"/>
          <a:srcRect/>
          <a:stretch/>
        </p:blipFill>
        <p:spPr>
          <a:xfrm>
            <a:off x="338535" y="6597651"/>
            <a:ext cx="144016" cy="124384"/>
          </a:xfrm>
          <a:custGeom>
            <a:avLst/>
            <a:gdLst>
              <a:gd name="connsiteX0" fmla="*/ 0 w 144016"/>
              <a:gd name="connsiteY0" fmla="*/ 0 h 124384"/>
              <a:gd name="connsiteX1" fmla="*/ 144016 w 144016"/>
              <a:gd name="connsiteY1" fmla="*/ 89996 h 124384"/>
              <a:gd name="connsiteX2" fmla="*/ 144016 w 144016"/>
              <a:gd name="connsiteY2" fmla="*/ 124384 h 124384"/>
              <a:gd name="connsiteX3" fmla="*/ 0 w 144016"/>
              <a:gd name="connsiteY3" fmla="*/ 0 h 124384"/>
            </a:gdLst>
            <a:ahLst/>
            <a:cxnLst>
              <a:cxn ang="0">
                <a:pos x="connsiteX0" y="connsiteY0"/>
              </a:cxn>
              <a:cxn ang="0">
                <a:pos x="connsiteX1" y="connsiteY1"/>
              </a:cxn>
              <a:cxn ang="0">
                <a:pos x="connsiteX2" y="connsiteY2"/>
              </a:cxn>
              <a:cxn ang="0">
                <a:pos x="connsiteX3" y="connsiteY3"/>
              </a:cxn>
            </a:cxnLst>
            <a:rect l="l" t="t" r="r" b="b"/>
            <a:pathLst>
              <a:path w="144016" h="124384">
                <a:moveTo>
                  <a:pt x="0" y="0"/>
                </a:moveTo>
                <a:lnTo>
                  <a:pt x="144016" y="89996"/>
                </a:lnTo>
                <a:lnTo>
                  <a:pt x="144016" y="124384"/>
                </a:lnTo>
                <a:lnTo>
                  <a:pt x="0" y="0"/>
                </a:lnTo>
                <a:close/>
              </a:path>
            </a:pathLst>
          </a:custGeom>
        </p:spPr>
      </p:pic>
      <p:pic>
        <p:nvPicPr>
          <p:cNvPr id="48" name="Picture 47">
            <a:extLst>
              <a:ext uri="{FF2B5EF4-FFF2-40B4-BE49-F238E27FC236}">
                <a16:creationId xmlns:a16="http://schemas.microsoft.com/office/drawing/2014/main" id="{FDB67ED2-E353-4390-83DA-AB1FA7B81D88}"/>
              </a:ext>
            </a:extLst>
          </p:cNvPr>
          <p:cNvPicPr>
            <a:picLocks noChangeAspect="1"/>
          </p:cNvPicPr>
          <p:nvPr/>
        </p:nvPicPr>
        <p:blipFill>
          <a:blip r:embed="rId4"/>
          <a:srcRect/>
          <a:stretch/>
        </p:blipFill>
        <p:spPr>
          <a:xfrm>
            <a:off x="12669705" y="6633785"/>
            <a:ext cx="198222" cy="257170"/>
          </a:xfrm>
          <a:custGeom>
            <a:avLst/>
            <a:gdLst>
              <a:gd name="connsiteX0" fmla="*/ 0 w 198222"/>
              <a:gd name="connsiteY0" fmla="*/ 0 h 257170"/>
              <a:gd name="connsiteX1" fmla="*/ 100330 w 198222"/>
              <a:gd name="connsiteY1" fmla="*/ 128435 h 257170"/>
              <a:gd name="connsiteX2" fmla="*/ 198222 w 198222"/>
              <a:gd name="connsiteY2" fmla="*/ 257170 h 257170"/>
              <a:gd name="connsiteX3" fmla="*/ 57648 w 198222"/>
              <a:gd name="connsiteY3" fmla="*/ 139525 h 257170"/>
              <a:gd name="connsiteX4" fmla="*/ 0 w 198222"/>
              <a:gd name="connsiteY4" fmla="*/ 84393 h 257170"/>
              <a:gd name="connsiteX5" fmla="*/ 0 w 198222"/>
              <a:gd name="connsiteY5" fmla="*/ 0 h 25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222" h="257170">
                <a:moveTo>
                  <a:pt x="0" y="0"/>
                </a:moveTo>
                <a:lnTo>
                  <a:pt x="100330" y="128435"/>
                </a:lnTo>
                <a:cubicBezTo>
                  <a:pt x="135966" y="175276"/>
                  <a:pt x="168408" y="218598"/>
                  <a:pt x="198222" y="257170"/>
                </a:cubicBezTo>
                <a:cubicBezTo>
                  <a:pt x="151312" y="222113"/>
                  <a:pt x="104763" y="182489"/>
                  <a:pt x="57648" y="139525"/>
                </a:cubicBezTo>
                <a:lnTo>
                  <a:pt x="0" y="84393"/>
                </a:lnTo>
                <a:lnTo>
                  <a:pt x="0" y="0"/>
                </a:lnTo>
                <a:close/>
              </a:path>
            </a:pathLst>
          </a:custGeom>
        </p:spPr>
      </p:pic>
      <p:sp>
        <p:nvSpPr>
          <p:cNvPr id="18" name="Rectangle 17">
            <a:extLst>
              <a:ext uri="{FF2B5EF4-FFF2-40B4-BE49-F238E27FC236}">
                <a16:creationId xmlns:a16="http://schemas.microsoft.com/office/drawing/2014/main" id="{2A2097FB-6A13-4A66-A6BD-58868345E1CC}"/>
              </a:ext>
            </a:extLst>
          </p:cNvPr>
          <p:cNvSpPr>
            <a:spLocks/>
          </p:cNvSpPr>
          <p:nvPr/>
        </p:nvSpPr>
        <p:spPr>
          <a:xfrm>
            <a:off x="1364552" y="2244941"/>
            <a:ext cx="5894320" cy="751439"/>
          </a:xfrm>
          <a:prstGeom prst="rect">
            <a:avLst/>
          </a:prstGeom>
        </p:spPr>
        <p:txBody>
          <a:bodyPr wrap="square" anchor="ctr">
            <a:noAutofit/>
          </a:bodyPr>
          <a:lstStyle/>
          <a:p>
            <a:pPr>
              <a:spcBef>
                <a:spcPts val="600"/>
              </a:spcBef>
            </a:pPr>
            <a:r>
              <a:rPr lang="de-DE" sz="2000" dirty="0" err="1">
                <a:solidFill>
                  <a:schemeClr val="bg1"/>
                </a:solidFill>
                <a:cs typeface="Arial" panose="020B0604020202020204" pitchFamily="34" charset="0"/>
              </a:rPr>
              <a:t>Discussion</a:t>
            </a:r>
            <a:r>
              <a:rPr lang="de-DE" sz="2000" dirty="0">
                <a:solidFill>
                  <a:schemeClr val="bg1"/>
                </a:solidFill>
                <a:cs typeface="Arial" panose="020B0604020202020204" pitchFamily="34" charset="0"/>
              </a:rPr>
              <a:t> / Feedback </a:t>
            </a:r>
            <a:r>
              <a:rPr lang="de-DE" sz="2000" dirty="0" err="1">
                <a:solidFill>
                  <a:schemeClr val="bg1"/>
                </a:solidFill>
                <a:cs typeface="Arial" panose="020B0604020202020204" pitchFamily="34" charset="0"/>
              </a:rPr>
              <a:t>from</a:t>
            </a:r>
            <a:r>
              <a:rPr lang="de-DE" sz="2000" dirty="0">
                <a:solidFill>
                  <a:schemeClr val="bg1"/>
                </a:solidFill>
                <a:cs typeface="Arial" panose="020B0604020202020204" pitchFamily="34" charset="0"/>
              </a:rPr>
              <a:t> </a:t>
            </a:r>
            <a:r>
              <a:rPr lang="de-DE" sz="2000" dirty="0" err="1">
                <a:solidFill>
                  <a:schemeClr val="bg1"/>
                </a:solidFill>
                <a:cs typeface="Arial" panose="020B0604020202020204" pitchFamily="34" charset="0"/>
              </a:rPr>
              <a:t>Panelists</a:t>
            </a:r>
            <a:r>
              <a:rPr lang="de-DE" sz="2000" dirty="0">
                <a:solidFill>
                  <a:schemeClr val="bg1"/>
                </a:solidFill>
                <a:cs typeface="Arial" panose="020B0604020202020204" pitchFamily="34" charset="0"/>
              </a:rPr>
              <a:t> </a:t>
            </a:r>
          </a:p>
        </p:txBody>
      </p:sp>
    </p:spTree>
    <p:extLst>
      <p:ext uri="{BB962C8B-B14F-4D97-AF65-F5344CB8AC3E}">
        <p14:creationId xmlns:p14="http://schemas.microsoft.com/office/powerpoint/2010/main" val="2746360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641CD1A-6463-4E0F-BE0F-BF7109C3BBE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409" b="-160"/>
          <a:stretch/>
        </p:blipFill>
        <p:spPr>
          <a:xfrm>
            <a:off x="1265733" y="0"/>
            <a:ext cx="10932617" cy="6858001"/>
          </a:xfrm>
          <a:prstGeom prst="rect">
            <a:avLst/>
          </a:prstGeom>
        </p:spPr>
      </p:pic>
      <p:sp>
        <p:nvSpPr>
          <p:cNvPr id="16" name="Freeform: Shape 15">
            <a:extLst>
              <a:ext uri="{FF2B5EF4-FFF2-40B4-BE49-F238E27FC236}">
                <a16:creationId xmlns:a16="http://schemas.microsoft.com/office/drawing/2014/main" id="{372085D6-B92B-4054-B177-0E064581EF54}"/>
              </a:ext>
            </a:extLst>
          </p:cNvPr>
          <p:cNvSpPr/>
          <p:nvPr/>
        </p:nvSpPr>
        <p:spPr>
          <a:xfrm>
            <a:off x="13009" y="-6864"/>
            <a:ext cx="9035553" cy="6858000"/>
          </a:xfrm>
          <a:custGeom>
            <a:avLst/>
            <a:gdLst>
              <a:gd name="connsiteX0" fmla="*/ 0 w 9035553"/>
              <a:gd name="connsiteY0" fmla="*/ 0 h 6858000"/>
              <a:gd name="connsiteX1" fmla="*/ 9035553 w 9035553"/>
              <a:gd name="connsiteY1" fmla="*/ 0 h 6858000"/>
              <a:gd name="connsiteX2" fmla="*/ 8121153 w 9035553"/>
              <a:gd name="connsiteY2" fmla="*/ 152400 h 6858000"/>
              <a:gd name="connsiteX3" fmla="*/ 7263903 w 9035553"/>
              <a:gd name="connsiteY3" fmla="*/ 552450 h 6858000"/>
              <a:gd name="connsiteX4" fmla="*/ 6578103 w 9035553"/>
              <a:gd name="connsiteY4" fmla="*/ 1257300 h 6858000"/>
              <a:gd name="connsiteX5" fmla="*/ 6159003 w 9035553"/>
              <a:gd name="connsiteY5" fmla="*/ 2152650 h 6858000"/>
              <a:gd name="connsiteX6" fmla="*/ 5739903 w 9035553"/>
              <a:gd name="connsiteY6" fmla="*/ 3543300 h 6858000"/>
              <a:gd name="connsiteX7" fmla="*/ 5130303 w 9035553"/>
              <a:gd name="connsiteY7" fmla="*/ 5067300 h 6858000"/>
              <a:gd name="connsiteX8" fmla="*/ 4635003 w 9035553"/>
              <a:gd name="connsiteY8" fmla="*/ 5734050 h 6858000"/>
              <a:gd name="connsiteX9" fmla="*/ 3720603 w 9035553"/>
              <a:gd name="connsiteY9" fmla="*/ 6362700 h 6858000"/>
              <a:gd name="connsiteX10" fmla="*/ 3015753 w 9035553"/>
              <a:gd name="connsiteY10" fmla="*/ 6667500 h 6858000"/>
              <a:gd name="connsiteX11" fmla="*/ 2253753 w 9035553"/>
              <a:gd name="connsiteY11" fmla="*/ 6858000 h 6858000"/>
              <a:gd name="connsiteX12" fmla="*/ 0 w 9035553"/>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35553" h="6858000">
                <a:moveTo>
                  <a:pt x="0" y="0"/>
                </a:moveTo>
                <a:lnTo>
                  <a:pt x="9035553" y="0"/>
                </a:lnTo>
                <a:lnTo>
                  <a:pt x="8121153" y="152400"/>
                </a:lnTo>
                <a:lnTo>
                  <a:pt x="7263903" y="552450"/>
                </a:lnTo>
                <a:lnTo>
                  <a:pt x="6578103" y="1257300"/>
                </a:lnTo>
                <a:lnTo>
                  <a:pt x="6159003" y="2152650"/>
                </a:lnTo>
                <a:lnTo>
                  <a:pt x="5739903" y="3543300"/>
                </a:lnTo>
                <a:lnTo>
                  <a:pt x="5130303" y="5067300"/>
                </a:lnTo>
                <a:lnTo>
                  <a:pt x="4635003" y="5734050"/>
                </a:lnTo>
                <a:lnTo>
                  <a:pt x="3720603" y="6362700"/>
                </a:lnTo>
                <a:lnTo>
                  <a:pt x="3015753" y="6667500"/>
                </a:lnTo>
                <a:lnTo>
                  <a:pt x="2253753" y="6858000"/>
                </a:lnTo>
                <a:lnTo>
                  <a:pt x="0" y="685800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3" name="Freeform: Shape 12">
            <a:extLst>
              <a:ext uri="{FF2B5EF4-FFF2-40B4-BE49-F238E27FC236}">
                <a16:creationId xmlns:a16="http://schemas.microsoft.com/office/drawing/2014/main" id="{FBCDE5C5-F203-4889-BA37-93AEC24FB4F1}"/>
              </a:ext>
            </a:extLst>
          </p:cNvPr>
          <p:cNvSpPr/>
          <p:nvPr/>
        </p:nvSpPr>
        <p:spPr>
          <a:xfrm>
            <a:off x="2354759" y="-4143"/>
            <a:ext cx="6858000" cy="6858001"/>
          </a:xfrm>
          <a:custGeom>
            <a:avLst/>
            <a:gdLst>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2984" h="6865034">
                <a:moveTo>
                  <a:pt x="0" y="6865034"/>
                </a:moveTo>
                <a:cubicBezTo>
                  <a:pt x="2246142" y="6339840"/>
                  <a:pt x="3736706" y="5733371"/>
                  <a:pt x="4487594" y="3038622"/>
                </a:cubicBezTo>
                <a:cubicBezTo>
                  <a:pt x="5319312" y="-18314"/>
                  <a:pt x="7976382" y="32824"/>
                  <a:pt x="8932984" y="0"/>
                </a:cubicBezTo>
                <a:cubicBezTo>
                  <a:pt x="7845083" y="206327"/>
                  <a:pt x="5631766" y="-79718"/>
                  <a:pt x="4783015" y="3151163"/>
                </a:cubicBezTo>
                <a:cubicBezTo>
                  <a:pt x="4416480" y="4730798"/>
                  <a:pt x="3577883" y="6386732"/>
                  <a:pt x="0" y="6865034"/>
                </a:cubicBezTo>
                <a:close/>
              </a:path>
            </a:pathLst>
          </a:cu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5" name="Text Placeholder 23">
            <a:extLst>
              <a:ext uri="{FF2B5EF4-FFF2-40B4-BE49-F238E27FC236}">
                <a16:creationId xmlns:a16="http://schemas.microsoft.com/office/drawing/2014/main" id="{F8907D60-2FD5-4870-B302-71F906666EE4}"/>
              </a:ext>
            </a:extLst>
          </p:cNvPr>
          <p:cNvSpPr txBox="1">
            <a:spLocks/>
          </p:cNvSpPr>
          <p:nvPr/>
        </p:nvSpPr>
        <p:spPr>
          <a:xfrm>
            <a:off x="1662388" y="2475802"/>
            <a:ext cx="1200411" cy="1202318"/>
          </a:xfrm>
          <a:prstGeom prst="rect">
            <a:avLst/>
          </a:prstGeom>
        </p:spPr>
        <p:txBody>
          <a:bodyPr vert="horz" lIns="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chemeClr val="bg1"/>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49600" b="0" i="0" u="none" strike="noStrike" kern="1200" cap="none" spc="0" normalizeH="0" baseline="0" noProof="0" dirty="0">
                <a:ln>
                  <a:noFill/>
                </a:ln>
                <a:solidFill>
                  <a:srgbClr val="FFE600"/>
                </a:solidFill>
                <a:effectLst/>
                <a:uLnTx/>
                <a:uFillTx/>
                <a:ea typeface="+mj-ea"/>
                <a:cs typeface="Arial" panose="020B0604020202020204" pitchFamily="34" charset="0"/>
              </a:rPr>
              <a:t>1</a:t>
            </a:r>
          </a:p>
        </p:txBody>
      </p:sp>
      <p:sp>
        <p:nvSpPr>
          <p:cNvPr id="24" name="Text Placeholder 23">
            <a:extLst>
              <a:ext uri="{FF2B5EF4-FFF2-40B4-BE49-F238E27FC236}">
                <a16:creationId xmlns:a16="http://schemas.microsoft.com/office/drawing/2014/main" id="{587658B1-1CDE-4D96-9BA6-66C989AE2837}"/>
              </a:ext>
            </a:extLst>
          </p:cNvPr>
          <p:cNvSpPr>
            <a:spLocks noGrp="1"/>
          </p:cNvSpPr>
          <p:nvPr>
            <p:ph type="body" sz="quarter" idx="10"/>
          </p:nvPr>
        </p:nvSpPr>
        <p:spPr>
          <a:xfrm>
            <a:off x="594099" y="3212976"/>
            <a:ext cx="3936687" cy="1202318"/>
          </a:xfrm>
          <a:solidFill>
            <a:schemeClr val="tx1">
              <a:alpha val="85000"/>
            </a:schemeClr>
          </a:solidFill>
        </p:spPr>
        <p:txBody>
          <a:bodyPr/>
          <a:lstStyle/>
          <a:p>
            <a:pPr algn="ctr">
              <a:spcBef>
                <a:spcPts val="600"/>
              </a:spcBef>
            </a:pPr>
            <a:r>
              <a:rPr lang="en-US" sz="3000" b="1" dirty="0">
                <a:cs typeface="Arial" panose="020B0604020202020204" pitchFamily="34" charset="0"/>
              </a:rPr>
              <a:t>Aim of the project</a:t>
            </a:r>
          </a:p>
        </p:txBody>
      </p:sp>
    </p:spTree>
    <p:extLst>
      <p:ext uri="{BB962C8B-B14F-4D97-AF65-F5344CB8AC3E}">
        <p14:creationId xmlns:p14="http://schemas.microsoft.com/office/powerpoint/2010/main" val="1707580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FA49F0D-6265-4FAA-8E29-89F4E8AA63F1}"/>
              </a:ext>
            </a:extLst>
          </p:cNvPr>
          <p:cNvSpPr/>
          <p:nvPr/>
        </p:nvSpPr>
        <p:spPr>
          <a:xfrm>
            <a:off x="609600" y="1142078"/>
            <a:ext cx="5272236" cy="2220666"/>
          </a:xfrm>
          <a:prstGeom prst="rect">
            <a:avLst/>
          </a:prstGeom>
          <a:solidFill>
            <a:schemeClr val="bg1"/>
          </a:solidFill>
          <a:ln w="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FFFFFF"/>
              </a:solidFill>
              <a:effectLst/>
              <a:uLnTx/>
              <a:uFillTx/>
            </a:endParaRPr>
          </a:p>
        </p:txBody>
      </p:sp>
      <p:sp>
        <p:nvSpPr>
          <p:cNvPr id="2" name="Title 1">
            <a:extLst>
              <a:ext uri="{FF2B5EF4-FFF2-40B4-BE49-F238E27FC236}">
                <a16:creationId xmlns:a16="http://schemas.microsoft.com/office/drawing/2014/main" id="{E4298FC6-0213-49CE-B0D7-E1CC2388E4A8}"/>
              </a:ext>
            </a:extLst>
          </p:cNvPr>
          <p:cNvSpPr>
            <a:spLocks noGrp="1"/>
          </p:cNvSpPr>
          <p:nvPr>
            <p:ph type="title"/>
          </p:nvPr>
        </p:nvSpPr>
        <p:spPr>
          <a:xfrm>
            <a:off x="609919" y="249728"/>
            <a:ext cx="10241783" cy="383378"/>
          </a:xfrm>
        </p:spPr>
        <p:txBody>
          <a:bodyPr/>
          <a:lstStyle/>
          <a:p>
            <a:r>
              <a:rPr lang="de-AT" dirty="0"/>
              <a:t>ELI </a:t>
            </a:r>
            <a:r>
              <a:rPr lang="de-AT" dirty="0" err="1"/>
              <a:t>Principles</a:t>
            </a:r>
            <a:r>
              <a:rPr lang="de-AT" dirty="0"/>
              <a:t> on Blockchain Technology, Smart </a:t>
            </a:r>
            <a:r>
              <a:rPr lang="de-AT" dirty="0" err="1"/>
              <a:t>Contracts</a:t>
            </a:r>
            <a:r>
              <a:rPr lang="de-AT" dirty="0"/>
              <a:t> and Consumer Protection</a:t>
            </a:r>
          </a:p>
        </p:txBody>
      </p:sp>
      <p:sp>
        <p:nvSpPr>
          <p:cNvPr id="4" name="Slide Number Placeholder 3">
            <a:extLst>
              <a:ext uri="{FF2B5EF4-FFF2-40B4-BE49-F238E27FC236}">
                <a16:creationId xmlns:a16="http://schemas.microsoft.com/office/drawing/2014/main" id="{31A23CFD-C9F8-425C-9AF3-7DD7D1F3C943}"/>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4</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DDE7584D-F6F5-43F4-9E40-18EE14C1326D}"/>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sp>
        <p:nvSpPr>
          <p:cNvPr id="22" name="TextBox 21">
            <a:extLst>
              <a:ext uri="{FF2B5EF4-FFF2-40B4-BE49-F238E27FC236}">
                <a16:creationId xmlns:a16="http://schemas.microsoft.com/office/drawing/2014/main" id="{0A18D37E-F65A-4E6F-918C-926C1B4893D4}"/>
              </a:ext>
            </a:extLst>
          </p:cNvPr>
          <p:cNvSpPr txBox="1"/>
          <p:nvPr/>
        </p:nvSpPr>
        <p:spPr>
          <a:xfrm>
            <a:off x="609600" y="3495256"/>
            <a:ext cx="5272236" cy="2597570"/>
          </a:xfrm>
          <a:prstGeom prst="rect">
            <a:avLst/>
          </a:prstGeom>
          <a:solidFill>
            <a:srgbClr val="747480">
              <a:alpha val="21000"/>
            </a:srgbClr>
          </a:solidFill>
          <a:ln w="0" cap="flat">
            <a:noFill/>
            <a:prstDash val="solid"/>
            <a:miter/>
          </a:ln>
        </p:spPr>
        <p:txBody>
          <a:bodyPr lIns="73025" tIns="73025" rIns="73025" bIns="73025" rtlCol="0" anchor="ctr"/>
          <a:lstStyle>
            <a:defPPr>
              <a:defRPr lang="en-US"/>
            </a:defPPr>
            <a:lvl1pPr algn="ctr">
              <a:defRPr sz="1100"/>
            </a:lvl1pPr>
          </a:lstStyle>
          <a:p>
            <a:pPr marL="285750" indent="-285750" algn="l">
              <a:buClr>
                <a:schemeClr val="tx2"/>
              </a:buClr>
              <a:buFont typeface="EYInterstate Light" panose="02000506000000020004" pitchFamily="2" charset="0"/>
              <a:buChar char="•"/>
            </a:pPr>
            <a:r>
              <a:rPr lang="de-AT" sz="1400" b="1" dirty="0">
                <a:solidFill>
                  <a:schemeClr val="bg1"/>
                </a:solidFill>
              </a:rPr>
              <a:t>18 Principle</a:t>
            </a:r>
            <a:r>
              <a:rPr lang="de-AT" sz="1400" dirty="0">
                <a:solidFill>
                  <a:schemeClr val="bg1"/>
                </a:solidFill>
              </a:rPr>
              <a:t>s on legal aspects of blockchains and Smart Contracts</a:t>
            </a:r>
          </a:p>
          <a:p>
            <a:pPr marL="285750" indent="-285750" algn="l">
              <a:buClr>
                <a:schemeClr val="tx2"/>
              </a:buClr>
              <a:buFont typeface="EYInterstate Light" panose="02000506000000020004" pitchFamily="2" charset="0"/>
              <a:buChar char="•"/>
            </a:pPr>
            <a:endParaRPr lang="de-AT" sz="1400" dirty="0">
              <a:solidFill>
                <a:schemeClr val="bg1"/>
              </a:solidFill>
            </a:endParaRPr>
          </a:p>
          <a:p>
            <a:pPr marL="285750" indent="-285750" algn="l">
              <a:buClr>
                <a:schemeClr val="tx2"/>
              </a:buClr>
              <a:buFont typeface="EYInterstate Light" panose="02000506000000020004" pitchFamily="2" charset="0"/>
              <a:buChar char="•"/>
            </a:pPr>
            <a:r>
              <a:rPr lang="de-AT" sz="1400" dirty="0" err="1">
                <a:solidFill>
                  <a:schemeClr val="bg1"/>
                </a:solidFill>
              </a:rPr>
              <a:t>Principles</a:t>
            </a:r>
            <a:r>
              <a:rPr lang="de-AT" sz="1400" dirty="0">
                <a:solidFill>
                  <a:schemeClr val="bg1"/>
                </a:solidFill>
              </a:rPr>
              <a:t> </a:t>
            </a:r>
            <a:r>
              <a:rPr lang="de-AT" sz="1400" dirty="0" err="1">
                <a:solidFill>
                  <a:schemeClr val="bg1"/>
                </a:solidFill>
              </a:rPr>
              <a:t>adopted</a:t>
            </a:r>
            <a:r>
              <a:rPr lang="de-AT" sz="1400" dirty="0">
                <a:solidFill>
                  <a:schemeClr val="bg1"/>
                </a:solidFill>
              </a:rPr>
              <a:t> in September 2022</a:t>
            </a:r>
          </a:p>
          <a:p>
            <a:pPr marL="285750" indent="-285750" algn="l">
              <a:buClr>
                <a:schemeClr val="tx2"/>
              </a:buClr>
              <a:buFont typeface="EYInterstate Light" panose="02000506000000020004" pitchFamily="2" charset="0"/>
              <a:buChar char="•"/>
            </a:pPr>
            <a:endParaRPr lang="de-AT" sz="1400" dirty="0">
              <a:solidFill>
                <a:schemeClr val="bg1"/>
              </a:solidFill>
            </a:endParaRPr>
          </a:p>
          <a:p>
            <a:pPr marL="285750" indent="-285750" algn="l">
              <a:buClr>
                <a:schemeClr val="tx2"/>
              </a:buClr>
              <a:buFont typeface="EYInterstate Light" panose="02000506000000020004" pitchFamily="2" charset="0"/>
              <a:buChar char="•"/>
            </a:pPr>
            <a:r>
              <a:rPr lang="de-AT" sz="1400" dirty="0">
                <a:solidFill>
                  <a:schemeClr val="bg1"/>
                </a:solidFill>
              </a:rPr>
              <a:t>Approach: </a:t>
            </a:r>
            <a:r>
              <a:rPr lang="de-AT" sz="1400" b="1" dirty="0">
                <a:solidFill>
                  <a:schemeClr val="bg1"/>
                </a:solidFill>
              </a:rPr>
              <a:t>functionally equivalent </a:t>
            </a:r>
            <a:r>
              <a:rPr lang="de-AT" sz="1400" dirty="0">
                <a:solidFill>
                  <a:schemeClr val="bg1"/>
                </a:solidFill>
              </a:rPr>
              <a:t>to existing law and </a:t>
            </a:r>
            <a:r>
              <a:rPr lang="de-AT" sz="1400" b="1" dirty="0">
                <a:solidFill>
                  <a:schemeClr val="bg1"/>
                </a:solidFill>
              </a:rPr>
              <a:t>technologically</a:t>
            </a:r>
            <a:r>
              <a:rPr lang="de-AT" sz="1400" dirty="0">
                <a:solidFill>
                  <a:schemeClr val="bg1"/>
                </a:solidFill>
              </a:rPr>
              <a:t> neutral</a:t>
            </a:r>
          </a:p>
          <a:p>
            <a:pPr marL="285750" indent="-285750" algn="l">
              <a:buClr>
                <a:schemeClr val="tx2"/>
              </a:buClr>
              <a:buFont typeface="EYInterstate Light" panose="02000506000000020004" pitchFamily="2" charset="0"/>
              <a:buChar char="•"/>
            </a:pPr>
            <a:endParaRPr lang="de-AT" sz="1400" dirty="0">
              <a:solidFill>
                <a:schemeClr val="bg1"/>
              </a:solidFill>
            </a:endParaRPr>
          </a:p>
        </p:txBody>
      </p:sp>
      <p:sp>
        <p:nvSpPr>
          <p:cNvPr id="41" name="Rectangle 40">
            <a:extLst>
              <a:ext uri="{FF2B5EF4-FFF2-40B4-BE49-F238E27FC236}">
                <a16:creationId xmlns:a16="http://schemas.microsoft.com/office/drawing/2014/main" id="{FB768DBC-BBC3-417E-8E7C-29BDE4AE2C6D}"/>
              </a:ext>
            </a:extLst>
          </p:cNvPr>
          <p:cNvSpPr/>
          <p:nvPr/>
        </p:nvSpPr>
        <p:spPr>
          <a:xfrm>
            <a:off x="6112170" y="3112176"/>
            <a:ext cx="5327990" cy="264465"/>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AT" sz="1600" b="1" i="0" u="none" strike="noStrike" kern="0" cap="none" spc="0" normalizeH="0" baseline="0" noProof="0" dirty="0">
                <a:ln>
                  <a:noFill/>
                </a:ln>
                <a:solidFill>
                  <a:srgbClr val="2E2E38"/>
                </a:solidFill>
                <a:effectLst/>
                <a:uLnTx/>
                <a:uFillTx/>
              </a:rPr>
              <a:t>Project Reporters</a:t>
            </a:r>
          </a:p>
        </p:txBody>
      </p:sp>
      <p:grpSp>
        <p:nvGrpSpPr>
          <p:cNvPr id="20" name="Group 19">
            <a:extLst>
              <a:ext uri="{FF2B5EF4-FFF2-40B4-BE49-F238E27FC236}">
                <a16:creationId xmlns:a16="http://schemas.microsoft.com/office/drawing/2014/main" id="{A0C3B9BE-1AE1-4A3C-B848-81C9EB107E43}"/>
              </a:ext>
            </a:extLst>
          </p:cNvPr>
          <p:cNvGrpSpPr/>
          <p:nvPr/>
        </p:nvGrpSpPr>
        <p:grpSpPr>
          <a:xfrm>
            <a:off x="6112171" y="1142078"/>
            <a:ext cx="5471485" cy="264465"/>
            <a:chOff x="6112171" y="1142078"/>
            <a:chExt cx="5471485" cy="264465"/>
          </a:xfrm>
        </p:grpSpPr>
        <p:grpSp>
          <p:nvGrpSpPr>
            <p:cNvPr id="19" name="Group 18">
              <a:extLst>
                <a:ext uri="{FF2B5EF4-FFF2-40B4-BE49-F238E27FC236}">
                  <a16:creationId xmlns:a16="http://schemas.microsoft.com/office/drawing/2014/main" id="{5A477AE0-124F-4702-996E-38E2ABAF0508}"/>
                </a:ext>
              </a:extLst>
            </p:cNvPr>
            <p:cNvGrpSpPr/>
            <p:nvPr/>
          </p:nvGrpSpPr>
          <p:grpSpPr>
            <a:xfrm>
              <a:off x="11437315" y="1154420"/>
              <a:ext cx="146341" cy="239780"/>
              <a:chOff x="11193475" y="1154420"/>
              <a:chExt cx="146341" cy="239780"/>
            </a:xfrm>
          </p:grpSpPr>
          <p:grpSp>
            <p:nvGrpSpPr>
              <p:cNvPr id="52" name="Group 51">
                <a:extLst>
                  <a:ext uri="{FF2B5EF4-FFF2-40B4-BE49-F238E27FC236}">
                    <a16:creationId xmlns:a16="http://schemas.microsoft.com/office/drawing/2014/main" id="{42CAA28B-275D-4B2B-B8B8-EE439DDAD925}"/>
                  </a:ext>
                </a:extLst>
              </p:cNvPr>
              <p:cNvGrpSpPr/>
              <p:nvPr/>
            </p:nvGrpSpPr>
            <p:grpSpPr>
              <a:xfrm rot="10800000">
                <a:off x="11193475" y="1186122"/>
                <a:ext cx="40849" cy="208078"/>
                <a:chOff x="906170" y="2076504"/>
                <a:chExt cx="79774" cy="406348"/>
              </a:xfrm>
              <a:solidFill>
                <a:srgbClr val="747480"/>
              </a:solidFill>
            </p:grpSpPr>
            <p:sp>
              <p:nvSpPr>
                <p:cNvPr id="63" name="Rectangle 62">
                  <a:extLst>
                    <a:ext uri="{FF2B5EF4-FFF2-40B4-BE49-F238E27FC236}">
                      <a16:creationId xmlns:a16="http://schemas.microsoft.com/office/drawing/2014/main" id="{88656DB4-7110-4073-8529-EEF8D648E1DD}"/>
                    </a:ext>
                  </a:extLst>
                </p:cNvPr>
                <p:cNvSpPr/>
                <p:nvPr/>
              </p:nvSpPr>
              <p:spPr bwMode="gray">
                <a:xfrm>
                  <a:off x="906170" y="2076504"/>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sp>
              <p:nvSpPr>
                <p:cNvPr id="64" name="Rectangle 63">
                  <a:extLst>
                    <a:ext uri="{FF2B5EF4-FFF2-40B4-BE49-F238E27FC236}">
                      <a16:creationId xmlns:a16="http://schemas.microsoft.com/office/drawing/2014/main" id="{3BB8EEE0-07EA-46FC-915C-54F3EFF8552B}"/>
                    </a:ext>
                  </a:extLst>
                </p:cNvPr>
                <p:cNvSpPr/>
                <p:nvPr/>
              </p:nvSpPr>
              <p:spPr bwMode="gray">
                <a:xfrm>
                  <a:off x="906170" y="2242977"/>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sp>
              <p:nvSpPr>
                <p:cNvPr id="65" name="Rectangle 64">
                  <a:extLst>
                    <a:ext uri="{FF2B5EF4-FFF2-40B4-BE49-F238E27FC236}">
                      <a16:creationId xmlns:a16="http://schemas.microsoft.com/office/drawing/2014/main" id="{B7EF1FF1-EAE3-4560-BDBF-765EEBCDC85B}"/>
                    </a:ext>
                  </a:extLst>
                </p:cNvPr>
                <p:cNvSpPr/>
                <p:nvPr/>
              </p:nvSpPr>
              <p:spPr bwMode="gray">
                <a:xfrm>
                  <a:off x="906170" y="2409451"/>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grpSp>
          <p:cxnSp>
            <p:nvCxnSpPr>
              <p:cNvPr id="53" name="Straight Connector 52">
                <a:extLst>
                  <a:ext uri="{FF2B5EF4-FFF2-40B4-BE49-F238E27FC236}">
                    <a16:creationId xmlns:a16="http://schemas.microsoft.com/office/drawing/2014/main" id="{CAF122B7-C26B-4928-B308-3E3666A243A5}"/>
                  </a:ext>
                </a:extLst>
              </p:cNvPr>
              <p:cNvCxnSpPr>
                <a:stCxn id="65" idx="1"/>
              </p:cNvCxnSpPr>
              <p:nvPr/>
            </p:nvCxnSpPr>
            <p:spPr>
              <a:xfrm rot="5400000" flipH="1" flipV="1">
                <a:off x="11255704" y="1182710"/>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F3B5A05-2ECA-4263-8261-F0804D3DC857}"/>
                  </a:ext>
                </a:extLst>
              </p:cNvPr>
              <p:cNvCxnSpPr/>
              <p:nvPr/>
            </p:nvCxnSpPr>
            <p:spPr>
              <a:xfrm rot="5400000" flipH="1" flipV="1">
                <a:off x="11276329" y="1179809"/>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9301F8AD-CE80-4465-8255-80F7F05756D2}"/>
                  </a:ext>
                </a:extLst>
              </p:cNvPr>
              <p:cNvSpPr/>
              <p:nvPr/>
            </p:nvSpPr>
            <p:spPr bwMode="gray">
              <a:xfrm rot="5400000">
                <a:off x="11300608" y="115442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cxnSp>
            <p:nvCxnSpPr>
              <p:cNvPr id="56" name="Straight Connector 55">
                <a:extLst>
                  <a:ext uri="{FF2B5EF4-FFF2-40B4-BE49-F238E27FC236}">
                    <a16:creationId xmlns:a16="http://schemas.microsoft.com/office/drawing/2014/main" id="{15F40B96-B123-48F9-BB2A-6BCD5E0141DF}"/>
                  </a:ext>
                </a:extLst>
              </p:cNvPr>
              <p:cNvCxnSpPr/>
              <p:nvPr/>
            </p:nvCxnSpPr>
            <p:spPr>
              <a:xfrm rot="5400000" flipV="1">
                <a:off x="11248686" y="1278102"/>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64D8D8-391F-4A26-8062-0438C5600A2E}"/>
                  </a:ext>
                </a:extLst>
              </p:cNvPr>
              <p:cNvCxnSpPr/>
              <p:nvPr/>
            </p:nvCxnSpPr>
            <p:spPr>
              <a:xfrm rot="5400000" flipV="1">
                <a:off x="11260728" y="1291744"/>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DABE6DD-E05E-4651-BA7A-4348500A00C4}"/>
                  </a:ext>
                </a:extLst>
              </p:cNvPr>
              <p:cNvCxnSpPr/>
              <p:nvPr/>
            </p:nvCxnSpPr>
            <p:spPr>
              <a:xfrm rot="5400000" flipV="1">
                <a:off x="11312080" y="1289691"/>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F81A5461-A47B-4128-9482-6EDE5FE7E61C}"/>
                  </a:ext>
                </a:extLst>
              </p:cNvPr>
              <p:cNvSpPr/>
              <p:nvPr/>
            </p:nvSpPr>
            <p:spPr bwMode="gray">
              <a:xfrm rot="5400000">
                <a:off x="11312312" y="130309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grpSp>
            <p:nvGrpSpPr>
              <p:cNvPr id="60" name="Group 59">
                <a:extLst>
                  <a:ext uri="{FF2B5EF4-FFF2-40B4-BE49-F238E27FC236}">
                    <a16:creationId xmlns:a16="http://schemas.microsoft.com/office/drawing/2014/main" id="{2DE9C198-4CC4-47DC-A07B-3841F60E72CA}"/>
                  </a:ext>
                </a:extLst>
              </p:cNvPr>
              <p:cNvGrpSpPr/>
              <p:nvPr/>
            </p:nvGrpSpPr>
            <p:grpSpPr>
              <a:xfrm rot="10800000">
                <a:off x="11234325" y="1361994"/>
                <a:ext cx="105491" cy="26825"/>
                <a:chOff x="1476522" y="2083779"/>
                <a:chExt cx="206012" cy="52386"/>
              </a:xfrm>
            </p:grpSpPr>
            <p:cxnSp>
              <p:nvCxnSpPr>
                <p:cNvPr id="61" name="Straight Connector 60">
                  <a:extLst>
                    <a:ext uri="{FF2B5EF4-FFF2-40B4-BE49-F238E27FC236}">
                      <a16:creationId xmlns:a16="http://schemas.microsoft.com/office/drawing/2014/main" id="{6FB4098B-C2B0-4665-A211-0C5CE4AE207E}"/>
                    </a:ext>
                  </a:extLst>
                </p:cNvPr>
                <p:cNvCxnSpPr>
                  <a:stCxn id="63" idx="1"/>
                  <a:endCxn id="62"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0E858A2A-B467-4548-93B1-FA452EF7EC3E}"/>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grpSp>
        </p:grpSp>
        <p:sp>
          <p:nvSpPr>
            <p:cNvPr id="42" name="Rectangle 41">
              <a:extLst>
                <a:ext uri="{FF2B5EF4-FFF2-40B4-BE49-F238E27FC236}">
                  <a16:creationId xmlns:a16="http://schemas.microsoft.com/office/drawing/2014/main" id="{195DBF7E-AB02-4528-A50D-4CF7927FE05E}"/>
                </a:ext>
              </a:extLst>
            </p:cNvPr>
            <p:cNvSpPr/>
            <p:nvPr/>
          </p:nvSpPr>
          <p:spPr>
            <a:xfrm>
              <a:off x="6112171" y="1142078"/>
              <a:ext cx="5327990" cy="264465"/>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AT" sz="1600" b="1" i="0" u="none" strike="noStrike" kern="0" cap="none" spc="0" normalizeH="0" baseline="0" noProof="0" dirty="0">
                  <a:ln>
                    <a:noFill/>
                  </a:ln>
                  <a:solidFill>
                    <a:srgbClr val="2E2E38"/>
                  </a:solidFill>
                  <a:effectLst/>
                  <a:uLnTx/>
                  <a:uFillTx/>
                </a:rPr>
                <a:t>Project Chair and Reporter</a:t>
              </a:r>
            </a:p>
          </p:txBody>
        </p:sp>
      </p:grpSp>
      <p:sp>
        <p:nvSpPr>
          <p:cNvPr id="7" name="Rectangle 6">
            <a:extLst>
              <a:ext uri="{FF2B5EF4-FFF2-40B4-BE49-F238E27FC236}">
                <a16:creationId xmlns:a16="http://schemas.microsoft.com/office/drawing/2014/main" id="{5CDAAE0B-E038-4062-B83F-12933B24894D}"/>
              </a:ext>
            </a:extLst>
          </p:cNvPr>
          <p:cNvSpPr/>
          <p:nvPr/>
        </p:nvSpPr>
        <p:spPr>
          <a:xfrm>
            <a:off x="6210493" y="1594975"/>
            <a:ext cx="984589" cy="1162562"/>
          </a:xfrm>
          <a:prstGeom prst="rect">
            <a:avLst/>
          </a:prstGeom>
          <a:noFill/>
          <a:ln w="12700" cap="sq" cmpd="sng" algn="ctr">
            <a:solidFill>
              <a:srgbClr val="74748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pic>
        <p:nvPicPr>
          <p:cNvPr id="10" name="Picture 9">
            <a:extLst>
              <a:ext uri="{FF2B5EF4-FFF2-40B4-BE49-F238E27FC236}">
                <a16:creationId xmlns:a16="http://schemas.microsoft.com/office/drawing/2014/main" id="{3602BA11-CE93-4580-9F12-411F2CFC1908}"/>
              </a:ext>
            </a:extLst>
          </p:cNvPr>
          <p:cNvPicPr>
            <a:picLocks noChangeAspect="1"/>
          </p:cNvPicPr>
          <p:nvPr/>
        </p:nvPicPr>
        <p:blipFill rotWithShape="1">
          <a:blip r:embed="rId2"/>
          <a:srcRect l="2807" t="8983" r="28005" b="17216"/>
          <a:stretch/>
        </p:blipFill>
        <p:spPr>
          <a:xfrm>
            <a:off x="6161557" y="1644194"/>
            <a:ext cx="938870" cy="1064124"/>
          </a:xfrm>
          <a:prstGeom prst="rect">
            <a:avLst/>
          </a:prstGeom>
        </p:spPr>
      </p:pic>
      <p:sp>
        <p:nvSpPr>
          <p:cNvPr id="18" name="Round Diagonal Corner Rectangle 24">
            <a:extLst>
              <a:ext uri="{FF2B5EF4-FFF2-40B4-BE49-F238E27FC236}">
                <a16:creationId xmlns:a16="http://schemas.microsoft.com/office/drawing/2014/main" id="{76537106-F6B6-4EB3-BCEC-EA35FAD70A35}"/>
              </a:ext>
            </a:extLst>
          </p:cNvPr>
          <p:cNvSpPr>
            <a:spLocks/>
          </p:cNvSpPr>
          <p:nvPr/>
        </p:nvSpPr>
        <p:spPr bwMode="gray">
          <a:xfrm flipH="1">
            <a:off x="7368860" y="1689812"/>
            <a:ext cx="4093748" cy="627599"/>
          </a:xfrm>
          <a:prstGeom prst="snip2DiagRect">
            <a:avLst>
              <a:gd name="adj1" fmla="val 0"/>
              <a:gd name="adj2" fmla="val 0"/>
            </a:avLst>
          </a:prstGeom>
          <a:noFill/>
          <a:ln w="0" algn="ctr">
            <a:noFill/>
            <a:miter lim="800000"/>
            <a:headEnd/>
            <a:tailEnd/>
          </a:ln>
        </p:spPr>
        <p:txBody>
          <a:bodyPr wrap="square" lIns="0" tIns="0" rIns="0" bIns="0" rtlCol="0" anchor="t">
            <a:noAutofit/>
          </a:bodyPr>
          <a:lstStyle/>
          <a:p>
            <a:pPr defTabSz="801472">
              <a:defRPr/>
            </a:pPr>
            <a:r>
              <a:rPr lang="de-DE" sz="1200" b="1" kern="0" dirty="0">
                <a:solidFill>
                  <a:schemeClr val="bg1"/>
                </a:solidFill>
                <a:latin typeface="EYInterstate Light"/>
              </a:rPr>
              <a:t>Prof. Dr. </a:t>
            </a:r>
            <a:r>
              <a:rPr lang="de-DE" sz="1200" b="1" kern="0" dirty="0" err="1">
                <a:solidFill>
                  <a:schemeClr val="bg1"/>
                </a:solidFill>
                <a:latin typeface="EYInterstate Light"/>
              </a:rPr>
              <a:t>Sjef</a:t>
            </a:r>
            <a:r>
              <a:rPr lang="de-DE" sz="1200" b="1" kern="0" dirty="0">
                <a:solidFill>
                  <a:schemeClr val="bg1"/>
                </a:solidFill>
                <a:latin typeface="EYInterstate Light"/>
              </a:rPr>
              <a:t> van </a:t>
            </a:r>
            <a:r>
              <a:rPr lang="de-DE" sz="1200" b="1" kern="0" dirty="0" err="1">
                <a:solidFill>
                  <a:schemeClr val="bg1"/>
                </a:solidFill>
                <a:latin typeface="EYInterstate Light"/>
              </a:rPr>
              <a:t>Erp</a:t>
            </a:r>
            <a:endParaRPr lang="de-DE" sz="1200" b="1" kern="0" dirty="0">
              <a:solidFill>
                <a:schemeClr val="bg1"/>
              </a:solidFill>
              <a:latin typeface="EYInterstate Light"/>
            </a:endParaRPr>
          </a:p>
          <a:p>
            <a:pPr defTabSz="801472">
              <a:spcBef>
                <a:spcPts val="600"/>
              </a:spcBef>
              <a:defRPr/>
            </a:pPr>
            <a:r>
              <a:rPr lang="en-US" sz="1000" i="1" kern="0" dirty="0">
                <a:solidFill>
                  <a:schemeClr val="bg1"/>
                </a:solidFill>
                <a:latin typeface="EYInterstate Light"/>
              </a:rPr>
              <a:t>Emeritus Professor of Civil Law and European Private Law at Maastricht University</a:t>
            </a:r>
            <a:endParaRPr lang="de-DE" sz="1000" i="1" kern="0" dirty="0">
              <a:solidFill>
                <a:schemeClr val="bg1"/>
              </a:solidFill>
              <a:latin typeface="EYInterstate Light"/>
            </a:endParaRPr>
          </a:p>
        </p:txBody>
      </p:sp>
      <p:pic>
        <p:nvPicPr>
          <p:cNvPr id="32" name="Picture 31">
            <a:hlinkClick r:id="rId3"/>
            <a:extLst>
              <a:ext uri="{FF2B5EF4-FFF2-40B4-BE49-F238E27FC236}">
                <a16:creationId xmlns:a16="http://schemas.microsoft.com/office/drawing/2014/main" id="{BEAEFA8F-EC55-49BF-90BC-47E7B48B62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8860" y="2390459"/>
            <a:ext cx="304228" cy="304228"/>
          </a:xfrm>
          <a:prstGeom prst="rect">
            <a:avLst/>
          </a:prstGeom>
        </p:spPr>
      </p:pic>
      <p:sp>
        <p:nvSpPr>
          <p:cNvPr id="8" name="Rectangle 7">
            <a:extLst>
              <a:ext uri="{FF2B5EF4-FFF2-40B4-BE49-F238E27FC236}">
                <a16:creationId xmlns:a16="http://schemas.microsoft.com/office/drawing/2014/main" id="{8445EF7F-42C7-4F08-B8E3-F279D589AD52}"/>
              </a:ext>
            </a:extLst>
          </p:cNvPr>
          <p:cNvSpPr/>
          <p:nvPr/>
        </p:nvSpPr>
        <p:spPr>
          <a:xfrm>
            <a:off x="7179049" y="1937754"/>
            <a:ext cx="45719" cy="530937"/>
          </a:xfrm>
          <a:prstGeom prst="rect">
            <a:avLst/>
          </a:prstGeom>
          <a:solidFill>
            <a:srgbClr val="FFE600"/>
          </a:solidFill>
          <a:ln w="0" cap="sq" cmpd="sng" algn="ctr">
            <a:noFill/>
            <a:prstDash val="solid"/>
            <a:miter lim="800000"/>
            <a:tailEnd type="none"/>
          </a:ln>
          <a:effectLst/>
          <a:extLst>
            <a:ext uri="{91240B29-F687-4F45-9708-019B960494DF}">
              <a14:hiddenLine xmlns:a14="http://schemas.microsoft.com/office/drawing/2010/main" w="0" cap="sq" cmpd="sng" algn="ctr">
                <a:solidFill>
                  <a:schemeClr val="tx1"/>
                </a:solidFill>
                <a:prstDash val="solid"/>
                <a:miter lim="800000"/>
                <a:tailEnd type="none"/>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26" name="Rectangle 25">
            <a:extLst>
              <a:ext uri="{FF2B5EF4-FFF2-40B4-BE49-F238E27FC236}">
                <a16:creationId xmlns:a16="http://schemas.microsoft.com/office/drawing/2014/main" id="{0F1F7B42-AB7F-457B-AA92-BF763737F880}"/>
              </a:ext>
            </a:extLst>
          </p:cNvPr>
          <p:cNvSpPr/>
          <p:nvPr/>
        </p:nvSpPr>
        <p:spPr>
          <a:xfrm>
            <a:off x="6210493" y="3511166"/>
            <a:ext cx="984589" cy="1162562"/>
          </a:xfrm>
          <a:prstGeom prst="rect">
            <a:avLst/>
          </a:prstGeom>
          <a:noFill/>
          <a:ln w="12700" cap="sq" cmpd="sng" algn="ctr">
            <a:solidFill>
              <a:srgbClr val="74748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sp>
        <p:nvSpPr>
          <p:cNvPr id="28" name="Round Diagonal Corner Rectangle 24">
            <a:extLst>
              <a:ext uri="{FF2B5EF4-FFF2-40B4-BE49-F238E27FC236}">
                <a16:creationId xmlns:a16="http://schemas.microsoft.com/office/drawing/2014/main" id="{6367DACD-58A7-4642-80CF-A97EA35883C7}"/>
              </a:ext>
            </a:extLst>
          </p:cNvPr>
          <p:cNvSpPr>
            <a:spLocks/>
          </p:cNvSpPr>
          <p:nvPr/>
        </p:nvSpPr>
        <p:spPr bwMode="gray">
          <a:xfrm flipH="1">
            <a:off x="7368860" y="3606003"/>
            <a:ext cx="4093748" cy="627599"/>
          </a:xfrm>
          <a:prstGeom prst="snip2DiagRect">
            <a:avLst>
              <a:gd name="adj1" fmla="val 0"/>
              <a:gd name="adj2" fmla="val 0"/>
            </a:avLst>
          </a:prstGeom>
          <a:noFill/>
          <a:ln w="0" algn="ctr">
            <a:noFill/>
            <a:miter lim="800000"/>
            <a:headEnd/>
            <a:tailEnd/>
          </a:ln>
        </p:spPr>
        <p:txBody>
          <a:bodyPr wrap="square" lIns="0" tIns="0" rIns="0" bIns="0" rtlCol="0" anchor="t">
            <a:noAutofit/>
          </a:bodyPr>
          <a:lstStyle/>
          <a:p>
            <a:pPr defTabSz="801472">
              <a:defRPr/>
            </a:pPr>
            <a:r>
              <a:rPr lang="en-IN" sz="1200" b="1" kern="0" dirty="0" err="1">
                <a:solidFill>
                  <a:schemeClr val="bg1"/>
                </a:solidFill>
                <a:latin typeface="EYInterstate Light"/>
              </a:rPr>
              <a:t>Dr.</a:t>
            </a:r>
            <a:r>
              <a:rPr lang="en-IN" sz="1200" b="1" kern="0" dirty="0">
                <a:solidFill>
                  <a:schemeClr val="bg1"/>
                </a:solidFill>
                <a:latin typeface="EYInterstate Light"/>
              </a:rPr>
              <a:t> Martin </a:t>
            </a:r>
            <a:r>
              <a:rPr lang="en-IN" sz="1200" b="1" kern="0" dirty="0" err="1">
                <a:solidFill>
                  <a:schemeClr val="bg1"/>
                </a:solidFill>
                <a:latin typeface="EYInterstate Light"/>
              </a:rPr>
              <a:t>Hanzl</a:t>
            </a:r>
            <a:r>
              <a:rPr lang="en-IN" sz="1200" b="1" kern="0" dirty="0">
                <a:solidFill>
                  <a:schemeClr val="bg1"/>
                </a:solidFill>
                <a:latin typeface="EYInterstate Light"/>
              </a:rPr>
              <a:t>, LL.M. (IT Law) MSc (WU)</a:t>
            </a:r>
          </a:p>
          <a:p>
            <a:pPr defTabSz="801472">
              <a:spcBef>
                <a:spcPts val="600"/>
              </a:spcBef>
              <a:defRPr/>
            </a:pPr>
            <a:r>
              <a:rPr lang="en-IN" sz="1000" i="1" kern="0" dirty="0">
                <a:solidFill>
                  <a:schemeClr val="bg1"/>
                </a:solidFill>
                <a:latin typeface="EYInterstate Light"/>
              </a:rPr>
              <a:t>Attorney at Law | Head of New Technologies</a:t>
            </a:r>
          </a:p>
        </p:txBody>
      </p:sp>
      <p:pic>
        <p:nvPicPr>
          <p:cNvPr id="29" name="Picture 28">
            <a:hlinkClick r:id="rId5"/>
            <a:extLst>
              <a:ext uri="{FF2B5EF4-FFF2-40B4-BE49-F238E27FC236}">
                <a16:creationId xmlns:a16="http://schemas.microsoft.com/office/drawing/2014/main" id="{CF28A4C8-88F3-42F9-909D-0C2C51CF1F0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8860" y="4306650"/>
            <a:ext cx="304228" cy="304228"/>
          </a:xfrm>
          <a:prstGeom prst="rect">
            <a:avLst/>
          </a:prstGeom>
        </p:spPr>
      </p:pic>
      <p:sp>
        <p:nvSpPr>
          <p:cNvPr id="31" name="Rectangle 30">
            <a:extLst>
              <a:ext uri="{FF2B5EF4-FFF2-40B4-BE49-F238E27FC236}">
                <a16:creationId xmlns:a16="http://schemas.microsoft.com/office/drawing/2014/main" id="{5B05AEE0-60BB-4DD0-AB64-79786B438198}"/>
              </a:ext>
            </a:extLst>
          </p:cNvPr>
          <p:cNvSpPr/>
          <p:nvPr/>
        </p:nvSpPr>
        <p:spPr>
          <a:xfrm>
            <a:off x="7179049" y="3853945"/>
            <a:ext cx="45719" cy="530937"/>
          </a:xfrm>
          <a:prstGeom prst="rect">
            <a:avLst/>
          </a:prstGeom>
          <a:solidFill>
            <a:srgbClr val="FFE600"/>
          </a:solidFill>
          <a:ln w="0" cap="sq" cmpd="sng" algn="ctr">
            <a:noFill/>
            <a:prstDash val="solid"/>
            <a:miter lim="800000"/>
            <a:tailEnd type="none"/>
          </a:ln>
          <a:effectLst/>
          <a:extLst>
            <a:ext uri="{91240B29-F687-4F45-9708-019B960494DF}">
              <a14:hiddenLine xmlns:a14="http://schemas.microsoft.com/office/drawing/2010/main" w="0" cap="sq" cmpd="sng" algn="ctr">
                <a:solidFill>
                  <a:schemeClr val="tx1"/>
                </a:solidFill>
                <a:prstDash val="solid"/>
                <a:miter lim="800000"/>
                <a:tailEnd type="none"/>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800" b="0" i="0" u="none" strike="noStrike" kern="0" cap="none" spc="0" normalizeH="0" baseline="0" noProof="0">
              <a:ln>
                <a:noFill/>
              </a:ln>
              <a:solidFill>
                <a:srgbClr val="2E2E38"/>
              </a:solidFill>
              <a:effectLst/>
              <a:uLnTx/>
              <a:uFillTx/>
            </a:endParaRPr>
          </a:p>
        </p:txBody>
      </p:sp>
      <p:pic>
        <p:nvPicPr>
          <p:cNvPr id="34" name="Picture 33">
            <a:extLst>
              <a:ext uri="{FF2B5EF4-FFF2-40B4-BE49-F238E27FC236}">
                <a16:creationId xmlns:a16="http://schemas.microsoft.com/office/drawing/2014/main" id="{82020BAF-361B-4A11-9EC6-0DC10DF096B3}"/>
              </a:ext>
            </a:extLst>
          </p:cNvPr>
          <p:cNvPicPr>
            <a:picLocks noChangeAspect="1"/>
          </p:cNvPicPr>
          <p:nvPr/>
        </p:nvPicPr>
        <p:blipFill rotWithShape="1">
          <a:blip r:embed="rId6"/>
          <a:srcRect l="15121" t="7746" r="16715" b="14997"/>
          <a:stretch/>
        </p:blipFill>
        <p:spPr>
          <a:xfrm>
            <a:off x="6161557" y="3560385"/>
            <a:ext cx="938870" cy="1064124"/>
          </a:xfrm>
          <a:prstGeom prst="rect">
            <a:avLst/>
          </a:prstGeom>
        </p:spPr>
      </p:pic>
      <p:pic>
        <p:nvPicPr>
          <p:cNvPr id="35" name="Picture 34">
            <a:extLst>
              <a:ext uri="{FF2B5EF4-FFF2-40B4-BE49-F238E27FC236}">
                <a16:creationId xmlns:a16="http://schemas.microsoft.com/office/drawing/2014/main" id="{AFB9DB63-EEEF-4503-9E6C-B6AACE238FA7}"/>
              </a:ext>
            </a:extLst>
          </p:cNvPr>
          <p:cNvPicPr>
            <a:picLocks noChangeAspect="1"/>
          </p:cNvPicPr>
          <p:nvPr/>
        </p:nvPicPr>
        <p:blipFill>
          <a:blip r:embed="rId7"/>
          <a:stretch>
            <a:fillRect/>
          </a:stretch>
        </p:blipFill>
        <p:spPr>
          <a:xfrm>
            <a:off x="1303390" y="1197999"/>
            <a:ext cx="2698467" cy="1803067"/>
          </a:xfrm>
          <a:prstGeom prst="rect">
            <a:avLst/>
          </a:prstGeom>
        </p:spPr>
      </p:pic>
      <p:sp>
        <p:nvSpPr>
          <p:cNvPr id="44" name="Round Diagonal Corner Rectangle 24">
            <a:extLst>
              <a:ext uri="{FF2B5EF4-FFF2-40B4-BE49-F238E27FC236}">
                <a16:creationId xmlns:a16="http://schemas.microsoft.com/office/drawing/2014/main" id="{CF17C26B-F588-4CBE-9FF1-809E648C81B7}"/>
              </a:ext>
            </a:extLst>
          </p:cNvPr>
          <p:cNvSpPr>
            <a:spLocks/>
          </p:cNvSpPr>
          <p:nvPr/>
        </p:nvSpPr>
        <p:spPr bwMode="gray">
          <a:xfrm flipH="1">
            <a:off x="7442394" y="5182323"/>
            <a:ext cx="4093748" cy="627599"/>
          </a:xfrm>
          <a:prstGeom prst="snip2DiagRect">
            <a:avLst>
              <a:gd name="adj1" fmla="val 0"/>
              <a:gd name="adj2" fmla="val 0"/>
            </a:avLst>
          </a:prstGeom>
          <a:noFill/>
          <a:ln w="0" algn="ctr">
            <a:noFill/>
            <a:miter lim="800000"/>
            <a:headEnd/>
            <a:tailEnd/>
          </a:ln>
        </p:spPr>
        <p:txBody>
          <a:bodyPr wrap="square" lIns="0" tIns="0" rIns="0" bIns="0" rtlCol="0" anchor="t">
            <a:noAutofit/>
          </a:bodyPr>
          <a:lstStyle/>
          <a:p>
            <a:pPr defTabSz="801472">
              <a:defRPr/>
            </a:pPr>
            <a:r>
              <a:rPr lang="en-IN" sz="1200" b="1" kern="0" dirty="0">
                <a:solidFill>
                  <a:schemeClr val="bg1"/>
                </a:solidFill>
                <a:latin typeface="EYInterstate Light"/>
              </a:rPr>
              <a:t>Prof. </a:t>
            </a:r>
            <a:r>
              <a:rPr lang="en-IN" sz="1200" b="1" kern="0" dirty="0" err="1">
                <a:solidFill>
                  <a:schemeClr val="bg1"/>
                </a:solidFill>
                <a:latin typeface="EYInterstate Light"/>
              </a:rPr>
              <a:t>Dr.</a:t>
            </a:r>
            <a:r>
              <a:rPr lang="en-IN" sz="1200" b="1" kern="0" dirty="0">
                <a:solidFill>
                  <a:schemeClr val="bg1"/>
                </a:solidFill>
                <a:latin typeface="EYInterstate Light"/>
              </a:rPr>
              <a:t> Juliette </a:t>
            </a:r>
            <a:r>
              <a:rPr lang="en-IN" sz="1200" b="1" kern="0" dirty="0" err="1">
                <a:solidFill>
                  <a:schemeClr val="bg1"/>
                </a:solidFill>
                <a:latin typeface="EYInterstate Light"/>
              </a:rPr>
              <a:t>Sénéchal</a:t>
            </a:r>
            <a:r>
              <a:rPr lang="en-IN" sz="1200" b="1" kern="0" dirty="0">
                <a:solidFill>
                  <a:schemeClr val="bg1"/>
                </a:solidFill>
                <a:latin typeface="EYInterstate Light"/>
              </a:rPr>
              <a:t> (until January 2021)</a:t>
            </a:r>
          </a:p>
          <a:p>
            <a:pPr defTabSz="801472">
              <a:spcBef>
                <a:spcPts val="600"/>
              </a:spcBef>
              <a:defRPr/>
            </a:pPr>
            <a:r>
              <a:rPr lang="en-IN" sz="1000" i="1" kern="0" dirty="0">
                <a:solidFill>
                  <a:schemeClr val="bg1"/>
                </a:solidFill>
                <a:latin typeface="EYInterstate Light"/>
              </a:rPr>
              <a:t>Professor of Private Law at the University of Lille</a:t>
            </a:r>
          </a:p>
        </p:txBody>
      </p:sp>
      <p:grpSp>
        <p:nvGrpSpPr>
          <p:cNvPr id="66" name="Group 65">
            <a:extLst>
              <a:ext uri="{FF2B5EF4-FFF2-40B4-BE49-F238E27FC236}">
                <a16:creationId xmlns:a16="http://schemas.microsoft.com/office/drawing/2014/main" id="{D4D5EED3-EFB1-4A1E-B8F8-B7CAF131CDD5}"/>
              </a:ext>
            </a:extLst>
          </p:cNvPr>
          <p:cNvGrpSpPr/>
          <p:nvPr/>
        </p:nvGrpSpPr>
        <p:grpSpPr>
          <a:xfrm>
            <a:off x="11437315" y="3121278"/>
            <a:ext cx="146341" cy="239780"/>
            <a:chOff x="11193475" y="1154420"/>
            <a:chExt cx="146341" cy="239780"/>
          </a:xfrm>
        </p:grpSpPr>
        <p:grpSp>
          <p:nvGrpSpPr>
            <p:cNvPr id="67" name="Group 66">
              <a:extLst>
                <a:ext uri="{FF2B5EF4-FFF2-40B4-BE49-F238E27FC236}">
                  <a16:creationId xmlns:a16="http://schemas.microsoft.com/office/drawing/2014/main" id="{5169B45A-FB77-412D-973D-9B47CFB06EA3}"/>
                </a:ext>
              </a:extLst>
            </p:cNvPr>
            <p:cNvGrpSpPr/>
            <p:nvPr/>
          </p:nvGrpSpPr>
          <p:grpSpPr>
            <a:xfrm rot="10800000">
              <a:off x="11193475" y="1186122"/>
              <a:ext cx="40849" cy="208078"/>
              <a:chOff x="906170" y="2076504"/>
              <a:chExt cx="79774" cy="406348"/>
            </a:xfrm>
            <a:solidFill>
              <a:srgbClr val="747480"/>
            </a:solidFill>
          </p:grpSpPr>
          <p:sp>
            <p:nvSpPr>
              <p:cNvPr id="78" name="Rectangle 77">
                <a:extLst>
                  <a:ext uri="{FF2B5EF4-FFF2-40B4-BE49-F238E27FC236}">
                    <a16:creationId xmlns:a16="http://schemas.microsoft.com/office/drawing/2014/main" id="{E823E857-2738-49AE-BDBF-591B80ED39F8}"/>
                  </a:ext>
                </a:extLst>
              </p:cNvPr>
              <p:cNvSpPr/>
              <p:nvPr/>
            </p:nvSpPr>
            <p:spPr bwMode="gray">
              <a:xfrm>
                <a:off x="906170" y="2076504"/>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79" name="Rectangle 78">
                <a:extLst>
                  <a:ext uri="{FF2B5EF4-FFF2-40B4-BE49-F238E27FC236}">
                    <a16:creationId xmlns:a16="http://schemas.microsoft.com/office/drawing/2014/main" id="{C9414C75-9CF2-406A-AA6F-35C18F68E300}"/>
                  </a:ext>
                </a:extLst>
              </p:cNvPr>
              <p:cNvSpPr/>
              <p:nvPr/>
            </p:nvSpPr>
            <p:spPr bwMode="gray">
              <a:xfrm>
                <a:off x="906170" y="2242977"/>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80" name="Rectangle 79">
                <a:extLst>
                  <a:ext uri="{FF2B5EF4-FFF2-40B4-BE49-F238E27FC236}">
                    <a16:creationId xmlns:a16="http://schemas.microsoft.com/office/drawing/2014/main" id="{C11CEA72-133A-45A2-BC2F-22111D7DA628}"/>
                  </a:ext>
                </a:extLst>
              </p:cNvPr>
              <p:cNvSpPr/>
              <p:nvPr/>
            </p:nvSpPr>
            <p:spPr bwMode="gray">
              <a:xfrm>
                <a:off x="906170" y="2409451"/>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cxnSp>
          <p:nvCxnSpPr>
            <p:cNvPr id="68" name="Straight Connector 67">
              <a:extLst>
                <a:ext uri="{FF2B5EF4-FFF2-40B4-BE49-F238E27FC236}">
                  <a16:creationId xmlns:a16="http://schemas.microsoft.com/office/drawing/2014/main" id="{81C76097-126B-4064-B546-EF9AC8E2E44E}"/>
                </a:ext>
              </a:extLst>
            </p:cNvPr>
            <p:cNvCxnSpPr>
              <a:stCxn id="80" idx="1"/>
            </p:cNvCxnSpPr>
            <p:nvPr/>
          </p:nvCxnSpPr>
          <p:spPr>
            <a:xfrm rot="5400000" flipH="1" flipV="1">
              <a:off x="11255704" y="1182710"/>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04CCEA28-352A-4D7F-A02A-F0CA10FE3BC0}"/>
                </a:ext>
              </a:extLst>
            </p:cNvPr>
            <p:cNvCxnSpPr/>
            <p:nvPr/>
          </p:nvCxnSpPr>
          <p:spPr>
            <a:xfrm rot="5400000" flipH="1" flipV="1">
              <a:off x="11276329" y="1179809"/>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BCF3953A-2D49-4838-9B51-61722B302E9A}"/>
                </a:ext>
              </a:extLst>
            </p:cNvPr>
            <p:cNvSpPr/>
            <p:nvPr/>
          </p:nvSpPr>
          <p:spPr bwMode="gray">
            <a:xfrm rot="5400000">
              <a:off x="11300608" y="115442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71" name="Straight Connector 70">
              <a:extLst>
                <a:ext uri="{FF2B5EF4-FFF2-40B4-BE49-F238E27FC236}">
                  <a16:creationId xmlns:a16="http://schemas.microsoft.com/office/drawing/2014/main" id="{91AAEDAC-5E67-4109-B106-5D62CBD9A8E0}"/>
                </a:ext>
              </a:extLst>
            </p:cNvPr>
            <p:cNvCxnSpPr/>
            <p:nvPr/>
          </p:nvCxnSpPr>
          <p:spPr>
            <a:xfrm rot="5400000" flipV="1">
              <a:off x="11248686" y="1278102"/>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41D936C-B96A-4999-9747-6F49025598BF}"/>
                </a:ext>
              </a:extLst>
            </p:cNvPr>
            <p:cNvCxnSpPr/>
            <p:nvPr/>
          </p:nvCxnSpPr>
          <p:spPr>
            <a:xfrm rot="5400000" flipV="1">
              <a:off x="11260728" y="1291744"/>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5C3A45E-F612-4236-8425-8D3CEBDCE5F1}"/>
                </a:ext>
              </a:extLst>
            </p:cNvPr>
            <p:cNvCxnSpPr/>
            <p:nvPr/>
          </p:nvCxnSpPr>
          <p:spPr>
            <a:xfrm rot="5400000" flipV="1">
              <a:off x="11312080" y="1289691"/>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B8399BC4-94B6-4F80-B5D4-B77136B60267}"/>
                </a:ext>
              </a:extLst>
            </p:cNvPr>
            <p:cNvSpPr/>
            <p:nvPr/>
          </p:nvSpPr>
          <p:spPr bwMode="gray">
            <a:xfrm rot="5400000">
              <a:off x="11312312" y="130309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75" name="Group 74">
              <a:extLst>
                <a:ext uri="{FF2B5EF4-FFF2-40B4-BE49-F238E27FC236}">
                  <a16:creationId xmlns:a16="http://schemas.microsoft.com/office/drawing/2014/main" id="{877BE722-6123-46E1-9223-173767EC1745}"/>
                </a:ext>
              </a:extLst>
            </p:cNvPr>
            <p:cNvGrpSpPr/>
            <p:nvPr/>
          </p:nvGrpSpPr>
          <p:grpSpPr>
            <a:xfrm rot="10800000">
              <a:off x="11234325" y="1361994"/>
              <a:ext cx="105491" cy="26825"/>
              <a:chOff x="1476522" y="2083779"/>
              <a:chExt cx="206012" cy="52386"/>
            </a:xfrm>
          </p:grpSpPr>
          <p:cxnSp>
            <p:nvCxnSpPr>
              <p:cNvPr id="76" name="Straight Connector 75">
                <a:extLst>
                  <a:ext uri="{FF2B5EF4-FFF2-40B4-BE49-F238E27FC236}">
                    <a16:creationId xmlns:a16="http://schemas.microsoft.com/office/drawing/2014/main" id="{9FCB65A1-CDDB-438E-9137-4596C1173821}"/>
                  </a:ext>
                </a:extLst>
              </p:cNvPr>
              <p:cNvCxnSpPr>
                <a:stCxn id="78" idx="1"/>
                <a:endCxn id="77"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BF41AAFB-2525-45BE-91F6-C08143364C94}"/>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spTree>
    <p:extLst>
      <p:ext uri="{BB962C8B-B14F-4D97-AF65-F5344CB8AC3E}">
        <p14:creationId xmlns:p14="http://schemas.microsoft.com/office/powerpoint/2010/main" val="3472130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7EC38-8296-42B3-BF3E-25BF44553F42}"/>
              </a:ext>
            </a:extLst>
          </p:cNvPr>
          <p:cNvSpPr>
            <a:spLocks noGrp="1"/>
          </p:cNvSpPr>
          <p:nvPr>
            <p:ph type="title"/>
          </p:nvPr>
        </p:nvSpPr>
        <p:spPr/>
        <p:txBody>
          <a:bodyPr/>
          <a:lstStyle/>
          <a:p>
            <a:r>
              <a:rPr lang="de-AT" dirty="0"/>
              <a:t>Can such „Smart Contract“ – </a:t>
            </a:r>
            <a:r>
              <a:rPr lang="de-AT" dirty="0" err="1"/>
              <a:t>constitute</a:t>
            </a:r>
            <a:r>
              <a:rPr lang="de-AT" dirty="0"/>
              <a:t> a </a:t>
            </a:r>
            <a:r>
              <a:rPr lang="de-AT" dirty="0" err="1"/>
              <a:t>legally</a:t>
            </a:r>
            <a:r>
              <a:rPr lang="de-AT" dirty="0"/>
              <a:t> </a:t>
            </a:r>
            <a:r>
              <a:rPr lang="de-AT" dirty="0" err="1"/>
              <a:t>binding</a:t>
            </a:r>
            <a:r>
              <a:rPr lang="de-AT" dirty="0"/>
              <a:t> </a:t>
            </a:r>
            <a:r>
              <a:rPr lang="de-AT" dirty="0" err="1"/>
              <a:t>declaration</a:t>
            </a:r>
            <a:r>
              <a:rPr lang="de-AT" dirty="0"/>
              <a:t>?</a:t>
            </a:r>
          </a:p>
        </p:txBody>
      </p:sp>
      <p:sp>
        <p:nvSpPr>
          <p:cNvPr id="4" name="Slide Number Placeholder 3">
            <a:extLst>
              <a:ext uri="{FF2B5EF4-FFF2-40B4-BE49-F238E27FC236}">
                <a16:creationId xmlns:a16="http://schemas.microsoft.com/office/drawing/2014/main" id="{F4E76C3C-DDF4-4C05-8A3C-A039DD99D4B8}"/>
              </a:ext>
            </a:extLst>
          </p:cNvPr>
          <p:cNvSpPr>
            <a:spLocks noGrp="1"/>
          </p:cNvSpPr>
          <p:nvPr>
            <p:ph type="sldNum" sz="quarter" idx="4"/>
          </p:nvPr>
        </p:nvSpPr>
        <p:spPr/>
        <p:txBody>
          <a:bodyPr/>
          <a:lstStyle/>
          <a:p>
            <a:r>
              <a:rPr lang="en-US" dirty="0">
                <a:latin typeface="EYInterstate Light" panose="02000506000000020004" pitchFamily="2" charset="0"/>
              </a:rPr>
              <a:t>Page </a:t>
            </a:r>
            <a:fld id="{F1BC30E3-FFE5-4B91-AA19-87A149EBB9EE}" type="slidenum">
              <a:rPr lang="en-US" smtClean="0">
                <a:latin typeface="EYInterstate Light" panose="02000506000000020004" pitchFamily="2" charset="0"/>
              </a:rPr>
              <a:pPr/>
              <a:t>5</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6DF4532B-422C-4975-BF2B-209FAA285953}"/>
              </a:ext>
            </a:extLst>
          </p:cNvPr>
          <p:cNvSpPr>
            <a:spLocks noGrp="1"/>
          </p:cNvSpPr>
          <p:nvPr>
            <p:ph type="dt" sz="half" idx="2"/>
          </p:nvPr>
        </p:nvSpPr>
        <p:spPr/>
        <p:txBody>
          <a:bodyPr/>
          <a:lstStyle/>
          <a:p>
            <a:r>
              <a:rPr lang="de-DE" dirty="0">
                <a:latin typeface="EYInterstate Light" panose="02000506000000020004" pitchFamily="2" charset="0"/>
              </a:rPr>
              <a:t>28 September 2021</a:t>
            </a:r>
            <a:endParaRPr lang="en-US" dirty="0">
              <a:latin typeface="EYInterstate Light" panose="02000506000000020004" pitchFamily="2" charset="0"/>
            </a:endParaRPr>
          </a:p>
        </p:txBody>
      </p:sp>
      <p:sp>
        <p:nvSpPr>
          <p:cNvPr id="6" name="TextBox 5">
            <a:extLst>
              <a:ext uri="{FF2B5EF4-FFF2-40B4-BE49-F238E27FC236}">
                <a16:creationId xmlns:a16="http://schemas.microsoft.com/office/drawing/2014/main" id="{DF0BBE44-CC92-4D3D-A97D-FE55835BF82C}"/>
              </a:ext>
            </a:extLst>
          </p:cNvPr>
          <p:cNvSpPr txBox="1"/>
          <p:nvPr/>
        </p:nvSpPr>
        <p:spPr>
          <a:xfrm>
            <a:off x="2382118" y="1310349"/>
            <a:ext cx="8424936" cy="6197815"/>
          </a:xfrm>
          <a:prstGeom prst="rect">
            <a:avLst/>
          </a:prstGeom>
          <a:noFill/>
          <a:ln w="12700" cap="sq">
            <a:noFill/>
            <a:miter lim="800000"/>
          </a:ln>
        </p:spPr>
        <p:txBody>
          <a:bodyPr wrap="square" lIns="61200" tIns="36576" rIns="0" bIns="0" rtlCol="0">
            <a:noAutofit/>
          </a:bodyPr>
          <a:lstStyle/>
          <a:p>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pragma solidity ^0.5;</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contrac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UnsafeLottery</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even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Win</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ddres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winner</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uint256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moun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even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NoWinnerYe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uint256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currentBlocktim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uint256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jackpo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function</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et</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uint256 _</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guessedBlocktime</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public</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payable</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returns</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ool</a:t>
            </a:r>
            <a:endPar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endParaRPr>
          </a:p>
          <a:p>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p>
          <a:p>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require</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msg.value</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 1 </a:t>
            </a:r>
            <a:r>
              <a:rPr lang="de-AT" sz="1400" b="1"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ether</a:t>
            </a:r>
            <a:r>
              <a:rPr lang="de-AT" sz="1400" b="1"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b="1" dirty="0" err="1">
                <a:solidFill>
                  <a:srgbClr val="FFE600"/>
                </a:solidFill>
                <a:effectLst/>
                <a:latin typeface="Courier New" panose="02070309020205020404" pitchFamily="49" charset="0"/>
                <a:ea typeface="Calibri" panose="020F0502020204030204" pitchFamily="34" charset="0"/>
                <a:cs typeface="Courier New" panose="02070309020205020404" pitchFamily="49" charset="0"/>
              </a:rPr>
              <a:t>if</a:t>
            </a:r>
            <a:r>
              <a:rPr lang="de-AT" sz="1400" b="1" dirty="0">
                <a:solidFill>
                  <a:srgbClr val="FFE600"/>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keccak256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bi.encodePacked</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guessedBlocktim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keccak256 </a:t>
            </a:r>
          </a:p>
          <a:p>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bi.encodePacked</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lock.timestamp</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a:solidFill>
                  <a:schemeClr val="bg1"/>
                </a:solidFill>
                <a:latin typeface="Courier New" panose="02070309020205020404" pitchFamily="49" charset="0"/>
                <a:ea typeface="Calibri" panose="020F0502020204030204" pitchFamily="34" charset="0"/>
                <a:cs typeface="Courier New" panose="02070309020205020404" pitchFamily="49" charset="0"/>
              </a:rPr>
              <a: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emi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Win</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msg.sender</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ddres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thi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alanc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msg.sender.transfer</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ddres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thi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alanc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return</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tru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b="1" dirty="0">
                <a:solidFill>
                  <a:srgbClr val="FFE600"/>
                </a:solidFill>
                <a:latin typeface="Courier New" panose="02070309020205020404" pitchFamily="49" charset="0"/>
                <a:ea typeface="Calibri" panose="020F0502020204030204" pitchFamily="34" charset="0"/>
                <a:cs typeface="Courier New" panose="02070309020205020404" pitchFamily="49" charset="0"/>
              </a:rPr>
              <a:t>}</a:t>
            </a:r>
            <a:r>
              <a:rPr lang="de-AT" sz="1400" b="1" dirty="0">
                <a:solidFill>
                  <a:srgbClr val="FFE600"/>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b="1" dirty="0" err="1">
                <a:solidFill>
                  <a:srgbClr val="FFE600"/>
                </a:solidFill>
                <a:effectLst/>
                <a:latin typeface="Courier New" panose="02070309020205020404" pitchFamily="49" charset="0"/>
                <a:ea typeface="Calibri" panose="020F0502020204030204" pitchFamily="34" charset="0"/>
                <a:cs typeface="Courier New" panose="02070309020205020404" pitchFamily="49" charset="0"/>
              </a:rPr>
              <a:t>else</a:t>
            </a:r>
            <a:r>
              <a:rPr lang="de-AT" sz="1400" b="1" dirty="0">
                <a:solidFill>
                  <a:srgbClr val="FFE600"/>
                </a:solidFill>
                <a:effectLst/>
                <a:latin typeface="Courier New" panose="02070309020205020404" pitchFamily="49" charset="0"/>
                <a:ea typeface="Calibri" panose="020F0502020204030204" pitchFamily="34" charset="0"/>
                <a:cs typeface="Courier New" panose="02070309020205020404" pitchFamily="49" charset="0"/>
              </a:rPr>
              <a:t> {</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emi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NoWinnerYet</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lock.timestamp</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ddres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this</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balanc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return</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 </a:t>
            </a:r>
            <a:r>
              <a:rPr lang="de-AT" sz="1400" dirty="0" err="1">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false</a:t>
            </a:r>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dirty="0">
                <a:solidFill>
                  <a:schemeClr val="bg1"/>
                </a:solidFill>
                <a:latin typeface="Courier New" panose="02070309020205020404" pitchFamily="49" charset="0"/>
                <a:ea typeface="Calibri" panose="020F0502020204030204" pitchFamily="34" charset="0"/>
                <a:cs typeface="Courier New" panose="02070309020205020404" pitchFamily="49" charset="0"/>
              </a:rPr>
              <a:t>}</a:t>
            </a:r>
          </a:p>
          <a:p>
            <a:r>
              <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rPr>
              <a:t>}</a:t>
            </a:r>
          </a:p>
          <a:p>
            <a:r>
              <a:rPr lang="de-AT" sz="1400" dirty="0">
                <a:solidFill>
                  <a:schemeClr val="bg1"/>
                </a:solidFill>
                <a:latin typeface="Courier New" panose="02070309020205020404" pitchFamily="49" charset="0"/>
                <a:ea typeface="Calibri" panose="020F0502020204030204" pitchFamily="34" charset="0"/>
                <a:cs typeface="Courier New" panose="02070309020205020404" pitchFamily="49" charset="0"/>
              </a:rPr>
              <a:t>}</a:t>
            </a:r>
            <a:endParaRPr lang="de-AT" sz="1400" dirty="0">
              <a:solidFill>
                <a:schemeClr val="bg1"/>
              </a:solidFill>
              <a:effectLst/>
              <a:latin typeface="Courier New" panose="02070309020205020404" pitchFamily="49" charset="0"/>
              <a:ea typeface="Calibri" panose="020F0502020204030204" pitchFamily="34" charset="0"/>
              <a:cs typeface="Courier New" panose="02070309020205020404" pitchFamily="49" charset="0"/>
            </a:endParaRPr>
          </a:p>
          <a:p>
            <a:pPr marR="0" defTabSz="685434" eaLnBrk="1" fontAlgn="auto" latinLnBrk="0" hangingPunct="1">
              <a:lnSpc>
                <a:spcPct val="100000"/>
              </a:lnSpc>
              <a:spcBef>
                <a:spcPct val="20000"/>
              </a:spcBef>
              <a:spcAft>
                <a:spcPts val="0"/>
              </a:spcAft>
              <a:buClr>
                <a:srgbClr val="FFE600"/>
              </a:buClr>
              <a:buSzPct val="80000"/>
              <a:tabLst/>
            </a:pPr>
            <a:endParaRPr kumimoji="0" lang="de-AT" sz="1200" b="0" i="0" u="none" strike="noStrike" kern="0" cap="none" spc="0" normalizeH="0" baseline="0" noProof="0" dirty="0">
              <a:ln>
                <a:noFill/>
              </a:ln>
              <a:solidFill>
                <a:schemeClr val="bg1"/>
              </a:solidFill>
              <a:effectLst/>
              <a:uLnTx/>
              <a:uFillTx/>
            </a:endParaRPr>
          </a:p>
        </p:txBody>
      </p:sp>
      <p:pic>
        <p:nvPicPr>
          <p:cNvPr id="16" name="Picture 20">
            <a:extLst>
              <a:ext uri="{FF2B5EF4-FFF2-40B4-BE49-F238E27FC236}">
                <a16:creationId xmlns:a16="http://schemas.microsoft.com/office/drawing/2014/main" id="{2ABB79B7-8DDE-4176-99F8-FC8050954093}"/>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166627" y="1062372"/>
            <a:ext cx="9865096" cy="5081997"/>
          </a:xfrm>
          <a:custGeom>
            <a:avLst/>
            <a:gdLst>
              <a:gd name="connsiteX0" fmla="*/ 505709 w 4494520"/>
              <a:gd name="connsiteY0" fmla="*/ 123845 h 2546556"/>
              <a:gd name="connsiteX1" fmla="*/ 505709 w 4494520"/>
              <a:gd name="connsiteY1" fmla="*/ 2300771 h 2546556"/>
              <a:gd name="connsiteX2" fmla="*/ 3991723 w 4494520"/>
              <a:gd name="connsiteY2" fmla="*/ 2300771 h 2546556"/>
              <a:gd name="connsiteX3" fmla="*/ 3991723 w 4494520"/>
              <a:gd name="connsiteY3" fmla="*/ 123845 h 2546556"/>
              <a:gd name="connsiteX4" fmla="*/ 534914 w 4494520"/>
              <a:gd name="connsiteY4" fmla="*/ 0 h 2546556"/>
              <a:gd name="connsiteX5" fmla="*/ 3958365 w 4494520"/>
              <a:gd name="connsiteY5" fmla="*/ 0 h 2546556"/>
              <a:gd name="connsiteX6" fmla="*/ 4065513 w 4494520"/>
              <a:gd name="connsiteY6" fmla="*/ 106833 h 2546556"/>
              <a:gd name="connsiteX7" fmla="*/ 4065513 w 4494520"/>
              <a:gd name="connsiteY7" fmla="*/ 2416442 h 2546556"/>
              <a:gd name="connsiteX8" fmla="*/ 4066921 w 4494520"/>
              <a:gd name="connsiteY8" fmla="*/ 2416442 h 2546556"/>
              <a:gd name="connsiteX9" fmla="*/ 4359384 w 4494520"/>
              <a:gd name="connsiteY9" fmla="*/ 2416442 h 2546556"/>
              <a:gd name="connsiteX10" fmla="*/ 4359384 w 4494520"/>
              <a:gd name="connsiteY10" fmla="*/ 2416525 h 2546556"/>
              <a:gd name="connsiteX11" fmla="*/ 4494520 w 4494520"/>
              <a:gd name="connsiteY11" fmla="*/ 2416525 h 2546556"/>
              <a:gd name="connsiteX12" fmla="*/ 4494520 w 4494520"/>
              <a:gd name="connsiteY12" fmla="*/ 2487526 h 2546556"/>
              <a:gd name="connsiteX13" fmla="*/ 4106252 w 4494520"/>
              <a:gd name="connsiteY13" fmla="*/ 2546556 h 2546556"/>
              <a:gd name="connsiteX14" fmla="*/ 3970950 w 4494520"/>
              <a:gd name="connsiteY14" fmla="*/ 2546556 h 2546556"/>
              <a:gd name="connsiteX15" fmla="*/ 3853286 w 4494520"/>
              <a:gd name="connsiteY15" fmla="*/ 2546556 h 2546556"/>
              <a:gd name="connsiteX16" fmla="*/ 641234 w 4494520"/>
              <a:gd name="connsiteY16" fmla="*/ 2546556 h 2546556"/>
              <a:gd name="connsiteX17" fmla="*/ 612336 w 4494520"/>
              <a:gd name="connsiteY17" fmla="*/ 2546556 h 2546556"/>
              <a:gd name="connsiteX18" fmla="*/ 388268 w 4494520"/>
              <a:gd name="connsiteY18" fmla="*/ 2546556 h 2546556"/>
              <a:gd name="connsiteX19" fmla="*/ 0 w 4494520"/>
              <a:gd name="connsiteY19" fmla="*/ 2487526 h 2546556"/>
              <a:gd name="connsiteX20" fmla="*/ 0 w 4494520"/>
              <a:gd name="connsiteY20" fmla="*/ 2416525 h 2546556"/>
              <a:gd name="connsiteX21" fmla="*/ 427766 w 4494520"/>
              <a:gd name="connsiteY21" fmla="*/ 2416525 h 2546556"/>
              <a:gd name="connsiteX22" fmla="*/ 427766 w 4494520"/>
              <a:gd name="connsiteY22" fmla="*/ 106833 h 2546556"/>
              <a:gd name="connsiteX23" fmla="*/ 534914 w 4494520"/>
              <a:gd name="connsiteY23" fmla="*/ 0 h 254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94520" h="2546556">
                <a:moveTo>
                  <a:pt x="505709" y="123845"/>
                </a:moveTo>
                <a:lnTo>
                  <a:pt x="505709" y="2300771"/>
                </a:lnTo>
                <a:lnTo>
                  <a:pt x="3991723" y="2300771"/>
                </a:lnTo>
                <a:lnTo>
                  <a:pt x="3991723" y="123845"/>
                </a:lnTo>
                <a:close/>
                <a:moveTo>
                  <a:pt x="534914" y="0"/>
                </a:moveTo>
                <a:lnTo>
                  <a:pt x="3958365" y="0"/>
                </a:lnTo>
                <a:cubicBezTo>
                  <a:pt x="4017569" y="0"/>
                  <a:pt x="4065513" y="47885"/>
                  <a:pt x="4065513" y="106833"/>
                </a:cubicBezTo>
                <a:lnTo>
                  <a:pt x="4065513" y="2416442"/>
                </a:lnTo>
                <a:lnTo>
                  <a:pt x="4066921" y="2416442"/>
                </a:lnTo>
                <a:lnTo>
                  <a:pt x="4359384" y="2416442"/>
                </a:lnTo>
                <a:lnTo>
                  <a:pt x="4359384" y="2416525"/>
                </a:lnTo>
                <a:lnTo>
                  <a:pt x="4494520" y="2416525"/>
                </a:lnTo>
                <a:lnTo>
                  <a:pt x="4494520" y="2487526"/>
                </a:lnTo>
                <a:cubicBezTo>
                  <a:pt x="4494520" y="2487526"/>
                  <a:pt x="4428277" y="2546556"/>
                  <a:pt x="4106252" y="2546556"/>
                </a:cubicBezTo>
                <a:lnTo>
                  <a:pt x="3970950" y="2546556"/>
                </a:lnTo>
                <a:lnTo>
                  <a:pt x="3853286" y="2546556"/>
                </a:lnTo>
                <a:lnTo>
                  <a:pt x="641234" y="2546556"/>
                </a:lnTo>
                <a:lnTo>
                  <a:pt x="612336" y="2546556"/>
                </a:lnTo>
                <a:lnTo>
                  <a:pt x="388268" y="2546556"/>
                </a:lnTo>
                <a:cubicBezTo>
                  <a:pt x="66243" y="2546556"/>
                  <a:pt x="0" y="2487526"/>
                  <a:pt x="0" y="2487526"/>
                </a:cubicBezTo>
                <a:lnTo>
                  <a:pt x="0" y="2416525"/>
                </a:lnTo>
                <a:lnTo>
                  <a:pt x="427766" y="2416525"/>
                </a:lnTo>
                <a:lnTo>
                  <a:pt x="427766" y="106833"/>
                </a:lnTo>
                <a:cubicBezTo>
                  <a:pt x="427766" y="47803"/>
                  <a:pt x="475792" y="0"/>
                  <a:pt x="534914" y="0"/>
                </a:cubicBezTo>
                <a:close/>
              </a:path>
            </a:pathLst>
          </a:custGeom>
        </p:spPr>
      </p:pic>
    </p:spTree>
    <p:extLst>
      <p:ext uri="{BB962C8B-B14F-4D97-AF65-F5344CB8AC3E}">
        <p14:creationId xmlns:p14="http://schemas.microsoft.com/office/powerpoint/2010/main" val="1726239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641CD1A-6463-4E0F-BE0F-BF7109C3BBE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409" b="-160"/>
          <a:stretch/>
        </p:blipFill>
        <p:spPr>
          <a:xfrm>
            <a:off x="1265733" y="0"/>
            <a:ext cx="10932617" cy="6858001"/>
          </a:xfrm>
          <a:prstGeom prst="rect">
            <a:avLst/>
          </a:prstGeom>
        </p:spPr>
      </p:pic>
      <p:sp>
        <p:nvSpPr>
          <p:cNvPr id="16" name="Freeform: Shape 15">
            <a:extLst>
              <a:ext uri="{FF2B5EF4-FFF2-40B4-BE49-F238E27FC236}">
                <a16:creationId xmlns:a16="http://schemas.microsoft.com/office/drawing/2014/main" id="{372085D6-B92B-4054-B177-0E064581EF54}"/>
              </a:ext>
            </a:extLst>
          </p:cNvPr>
          <p:cNvSpPr/>
          <p:nvPr/>
        </p:nvSpPr>
        <p:spPr>
          <a:xfrm>
            <a:off x="13009" y="-6864"/>
            <a:ext cx="9035553" cy="6858000"/>
          </a:xfrm>
          <a:custGeom>
            <a:avLst/>
            <a:gdLst>
              <a:gd name="connsiteX0" fmla="*/ 0 w 9035553"/>
              <a:gd name="connsiteY0" fmla="*/ 0 h 6858000"/>
              <a:gd name="connsiteX1" fmla="*/ 9035553 w 9035553"/>
              <a:gd name="connsiteY1" fmla="*/ 0 h 6858000"/>
              <a:gd name="connsiteX2" fmla="*/ 8121153 w 9035553"/>
              <a:gd name="connsiteY2" fmla="*/ 152400 h 6858000"/>
              <a:gd name="connsiteX3" fmla="*/ 7263903 w 9035553"/>
              <a:gd name="connsiteY3" fmla="*/ 552450 h 6858000"/>
              <a:gd name="connsiteX4" fmla="*/ 6578103 w 9035553"/>
              <a:gd name="connsiteY4" fmla="*/ 1257300 h 6858000"/>
              <a:gd name="connsiteX5" fmla="*/ 6159003 w 9035553"/>
              <a:gd name="connsiteY5" fmla="*/ 2152650 h 6858000"/>
              <a:gd name="connsiteX6" fmla="*/ 5739903 w 9035553"/>
              <a:gd name="connsiteY6" fmla="*/ 3543300 h 6858000"/>
              <a:gd name="connsiteX7" fmla="*/ 5130303 w 9035553"/>
              <a:gd name="connsiteY7" fmla="*/ 5067300 h 6858000"/>
              <a:gd name="connsiteX8" fmla="*/ 4635003 w 9035553"/>
              <a:gd name="connsiteY8" fmla="*/ 5734050 h 6858000"/>
              <a:gd name="connsiteX9" fmla="*/ 3720603 w 9035553"/>
              <a:gd name="connsiteY9" fmla="*/ 6362700 h 6858000"/>
              <a:gd name="connsiteX10" fmla="*/ 3015753 w 9035553"/>
              <a:gd name="connsiteY10" fmla="*/ 6667500 h 6858000"/>
              <a:gd name="connsiteX11" fmla="*/ 2253753 w 9035553"/>
              <a:gd name="connsiteY11" fmla="*/ 6858000 h 6858000"/>
              <a:gd name="connsiteX12" fmla="*/ 0 w 9035553"/>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35553" h="6858000">
                <a:moveTo>
                  <a:pt x="0" y="0"/>
                </a:moveTo>
                <a:lnTo>
                  <a:pt x="9035553" y="0"/>
                </a:lnTo>
                <a:lnTo>
                  <a:pt x="8121153" y="152400"/>
                </a:lnTo>
                <a:lnTo>
                  <a:pt x="7263903" y="552450"/>
                </a:lnTo>
                <a:lnTo>
                  <a:pt x="6578103" y="1257300"/>
                </a:lnTo>
                <a:lnTo>
                  <a:pt x="6159003" y="2152650"/>
                </a:lnTo>
                <a:lnTo>
                  <a:pt x="5739903" y="3543300"/>
                </a:lnTo>
                <a:lnTo>
                  <a:pt x="5130303" y="5067300"/>
                </a:lnTo>
                <a:lnTo>
                  <a:pt x="4635003" y="5734050"/>
                </a:lnTo>
                <a:lnTo>
                  <a:pt x="3720603" y="6362700"/>
                </a:lnTo>
                <a:lnTo>
                  <a:pt x="3015753" y="6667500"/>
                </a:lnTo>
                <a:lnTo>
                  <a:pt x="2253753" y="6858000"/>
                </a:lnTo>
                <a:lnTo>
                  <a:pt x="0" y="685800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3" name="Freeform: Shape 12">
            <a:extLst>
              <a:ext uri="{FF2B5EF4-FFF2-40B4-BE49-F238E27FC236}">
                <a16:creationId xmlns:a16="http://schemas.microsoft.com/office/drawing/2014/main" id="{FBCDE5C5-F203-4889-BA37-93AEC24FB4F1}"/>
              </a:ext>
            </a:extLst>
          </p:cNvPr>
          <p:cNvSpPr/>
          <p:nvPr/>
        </p:nvSpPr>
        <p:spPr>
          <a:xfrm>
            <a:off x="2354759" y="-4143"/>
            <a:ext cx="6858000" cy="6858001"/>
          </a:xfrm>
          <a:custGeom>
            <a:avLst/>
            <a:gdLst>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712677 w 8932984"/>
              <a:gd name="connsiteY1" fmla="*/ 2335237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 name="connsiteX0" fmla="*/ 0 w 8932984"/>
              <a:gd name="connsiteY0" fmla="*/ 6865034 h 6865034"/>
              <a:gd name="connsiteX1" fmla="*/ 4487594 w 8932984"/>
              <a:gd name="connsiteY1" fmla="*/ 3038622 h 6865034"/>
              <a:gd name="connsiteX2" fmla="*/ 8932984 w 8932984"/>
              <a:gd name="connsiteY2" fmla="*/ 0 h 6865034"/>
              <a:gd name="connsiteX3" fmla="*/ 4783015 w 8932984"/>
              <a:gd name="connsiteY3" fmla="*/ 3151163 h 6865034"/>
              <a:gd name="connsiteX4" fmla="*/ 0 w 8932984"/>
              <a:gd name="connsiteY4" fmla="*/ 6865034 h 686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2984" h="6865034">
                <a:moveTo>
                  <a:pt x="0" y="6865034"/>
                </a:moveTo>
                <a:cubicBezTo>
                  <a:pt x="2246142" y="6339840"/>
                  <a:pt x="3736706" y="5733371"/>
                  <a:pt x="4487594" y="3038622"/>
                </a:cubicBezTo>
                <a:cubicBezTo>
                  <a:pt x="5319312" y="-18314"/>
                  <a:pt x="7976382" y="32824"/>
                  <a:pt x="8932984" y="0"/>
                </a:cubicBezTo>
                <a:cubicBezTo>
                  <a:pt x="7845083" y="206327"/>
                  <a:pt x="5631766" y="-79718"/>
                  <a:pt x="4783015" y="3151163"/>
                </a:cubicBezTo>
                <a:cubicBezTo>
                  <a:pt x="4416480" y="4730798"/>
                  <a:pt x="3577883" y="6386732"/>
                  <a:pt x="0" y="6865034"/>
                </a:cubicBezTo>
                <a:close/>
              </a:path>
            </a:pathLst>
          </a:cu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7" name="Text Placeholder 23">
            <a:extLst>
              <a:ext uri="{FF2B5EF4-FFF2-40B4-BE49-F238E27FC236}">
                <a16:creationId xmlns:a16="http://schemas.microsoft.com/office/drawing/2014/main" id="{D79AB3AC-8AF3-48E3-864D-916975975E82}"/>
              </a:ext>
            </a:extLst>
          </p:cNvPr>
          <p:cNvSpPr txBox="1">
            <a:spLocks/>
          </p:cNvSpPr>
          <p:nvPr/>
        </p:nvSpPr>
        <p:spPr>
          <a:xfrm>
            <a:off x="1662388" y="2475802"/>
            <a:ext cx="1200411" cy="1202318"/>
          </a:xfrm>
          <a:prstGeom prst="rect">
            <a:avLst/>
          </a:prstGeom>
        </p:spPr>
        <p:txBody>
          <a:bodyPr vert="horz" lIns="0" tIns="0" rIns="0" bIns="0" rtlCol="0" anchor="ctr"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kumimoji="0" lang="en-IN" sz="3600" b="0" i="0" u="none" strike="noStrike" kern="1200" cap="none" spc="0" normalizeH="0" baseline="0" dirty="0">
                <a:ln>
                  <a:noFill/>
                </a:ln>
                <a:solidFill>
                  <a:schemeClr val="bg1"/>
                </a:solidFill>
                <a:effectLst/>
                <a:uLnTx/>
                <a:uFillTx/>
                <a:latin typeface="EYInterstate Light" panose="02000506000000020004" pitchFamily="2" charset="0"/>
                <a:ea typeface="+mj-ea"/>
                <a:cs typeface="+mj-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49600" b="0" i="0" u="none" strike="noStrike" kern="1200" cap="none" spc="0" normalizeH="0" baseline="0" noProof="0" dirty="0">
                <a:ln>
                  <a:noFill/>
                </a:ln>
                <a:solidFill>
                  <a:srgbClr val="FFE600"/>
                </a:solidFill>
                <a:effectLst/>
                <a:uLnTx/>
                <a:uFillTx/>
                <a:ea typeface="+mj-ea"/>
                <a:cs typeface="Arial" panose="020B0604020202020204" pitchFamily="34" charset="0"/>
              </a:rPr>
              <a:t>2</a:t>
            </a:r>
          </a:p>
        </p:txBody>
      </p:sp>
      <p:sp>
        <p:nvSpPr>
          <p:cNvPr id="3" name="Text Placeholder 2">
            <a:extLst>
              <a:ext uri="{FF2B5EF4-FFF2-40B4-BE49-F238E27FC236}">
                <a16:creationId xmlns:a16="http://schemas.microsoft.com/office/drawing/2014/main" id="{2DD5CE74-1727-475D-B6FA-D404EC1275FE}"/>
              </a:ext>
            </a:extLst>
          </p:cNvPr>
          <p:cNvSpPr>
            <a:spLocks noGrp="1"/>
          </p:cNvSpPr>
          <p:nvPr>
            <p:ph type="body" sz="quarter" idx="10"/>
          </p:nvPr>
        </p:nvSpPr>
        <p:spPr>
          <a:solidFill>
            <a:schemeClr val="tx1">
              <a:alpha val="85000"/>
            </a:schemeClr>
          </a:solidFill>
        </p:spPr>
        <p:txBody>
          <a:bodyPr/>
          <a:lstStyle/>
          <a:p>
            <a:r>
              <a:rPr lang="en-IN" dirty="0"/>
              <a:t>Selected ELI Principles</a:t>
            </a:r>
          </a:p>
        </p:txBody>
      </p:sp>
    </p:spTree>
    <p:extLst>
      <p:ext uri="{BB962C8B-B14F-4D97-AF65-F5344CB8AC3E}">
        <p14:creationId xmlns:p14="http://schemas.microsoft.com/office/powerpoint/2010/main" val="164226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8BA44-AB3A-48BE-A8E1-6CB30F4FAAE9}"/>
              </a:ext>
            </a:extLst>
          </p:cNvPr>
          <p:cNvSpPr>
            <a:spLocks noGrp="1"/>
          </p:cNvSpPr>
          <p:nvPr>
            <p:ph type="title"/>
          </p:nvPr>
        </p:nvSpPr>
        <p:spPr/>
        <p:txBody>
          <a:bodyPr/>
          <a:lstStyle/>
          <a:p>
            <a:r>
              <a:rPr lang="en-US" dirty="0"/>
              <a:t>Principle 3</a:t>
            </a:r>
          </a:p>
        </p:txBody>
      </p:sp>
      <p:sp>
        <p:nvSpPr>
          <p:cNvPr id="3" name="Text Placeholder 2">
            <a:extLst>
              <a:ext uri="{FF2B5EF4-FFF2-40B4-BE49-F238E27FC236}">
                <a16:creationId xmlns:a16="http://schemas.microsoft.com/office/drawing/2014/main" id="{B0C28499-B360-4333-B66B-B4132308AC4E}"/>
              </a:ext>
            </a:extLst>
          </p:cNvPr>
          <p:cNvSpPr>
            <a:spLocks noGrp="1"/>
          </p:cNvSpPr>
          <p:nvPr>
            <p:ph type="body" sz="quarter" idx="15"/>
          </p:nvPr>
        </p:nvSpPr>
        <p:spPr/>
        <p:txBody>
          <a:bodyPr>
            <a:normAutofit/>
          </a:bodyPr>
          <a:lstStyle/>
          <a:p>
            <a:r>
              <a:rPr lang="en-US" dirty="0"/>
              <a:t>Case Specific Approach</a:t>
            </a:r>
          </a:p>
        </p:txBody>
      </p:sp>
      <p:sp>
        <p:nvSpPr>
          <p:cNvPr id="4" name="Slide Number Placeholder 3">
            <a:extLst>
              <a:ext uri="{FF2B5EF4-FFF2-40B4-BE49-F238E27FC236}">
                <a16:creationId xmlns:a16="http://schemas.microsoft.com/office/drawing/2014/main" id="{38995DE2-761C-4E53-BD1A-5A911AF00A9E}"/>
              </a:ext>
            </a:extLst>
          </p:cNvPr>
          <p:cNvSpPr>
            <a:spLocks noGrp="1"/>
          </p:cNvSpPr>
          <p:nvPr>
            <p:ph type="sldNum" sz="quarter" idx="4"/>
          </p:nvPr>
        </p:nvSpPr>
        <p:spPr/>
        <p:txBody>
          <a:bodyPr/>
          <a:lstStyle/>
          <a:p>
            <a:r>
              <a:rPr lang="en-US" dirty="0">
                <a:latin typeface="EYInterstate Light" panose="02000506000000020004" pitchFamily="2" charset="0"/>
              </a:rPr>
              <a:t>Page </a:t>
            </a:r>
            <a:fld id="{F1BC30E3-FFE5-4B91-AA19-87A149EBB9EE}" type="slidenum">
              <a:rPr lang="en-US" smtClean="0">
                <a:latin typeface="EYInterstate Light" panose="02000506000000020004" pitchFamily="2" charset="0"/>
              </a:rPr>
              <a:pPr/>
              <a:t>7</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0D052568-1F20-4C5D-BB2C-63339B2CF429}"/>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grpSp>
        <p:nvGrpSpPr>
          <p:cNvPr id="254" name="Group 253">
            <a:extLst>
              <a:ext uri="{FF2B5EF4-FFF2-40B4-BE49-F238E27FC236}">
                <a16:creationId xmlns:a16="http://schemas.microsoft.com/office/drawing/2014/main" id="{9EC7D948-5AC4-4018-A9DD-B3A785BD80B8}"/>
              </a:ext>
            </a:extLst>
          </p:cNvPr>
          <p:cNvGrpSpPr/>
          <p:nvPr/>
        </p:nvGrpSpPr>
        <p:grpSpPr>
          <a:xfrm>
            <a:off x="2290909" y="2082451"/>
            <a:ext cx="7535075" cy="1771960"/>
            <a:chOff x="2290909" y="1924969"/>
            <a:chExt cx="7535075" cy="1771960"/>
          </a:xfrm>
        </p:grpSpPr>
        <p:grpSp>
          <p:nvGrpSpPr>
            <p:cNvPr id="6" name="Group 59">
              <a:extLst>
                <a:ext uri="{FF2B5EF4-FFF2-40B4-BE49-F238E27FC236}">
                  <a16:creationId xmlns:a16="http://schemas.microsoft.com/office/drawing/2014/main" id="{8DA1A124-5CA7-4821-8653-A16BE7568DDF}"/>
                </a:ext>
              </a:extLst>
            </p:cNvPr>
            <p:cNvGrpSpPr>
              <a:grpSpLocks noChangeAspect="1"/>
            </p:cNvGrpSpPr>
            <p:nvPr/>
          </p:nvGrpSpPr>
          <p:grpSpPr bwMode="auto">
            <a:xfrm>
              <a:off x="8568080" y="2845763"/>
              <a:ext cx="947912" cy="508327"/>
              <a:chOff x="5910" y="888"/>
              <a:chExt cx="1572" cy="843"/>
            </a:xfrm>
            <a:solidFill>
              <a:schemeClr val="bg1"/>
            </a:solidFill>
          </p:grpSpPr>
          <p:sp>
            <p:nvSpPr>
              <p:cNvPr id="7" name="Freeform 60">
                <a:extLst>
                  <a:ext uri="{FF2B5EF4-FFF2-40B4-BE49-F238E27FC236}">
                    <a16:creationId xmlns:a16="http://schemas.microsoft.com/office/drawing/2014/main" id="{C49A3DC7-037D-4F34-B4F9-7FC210643863}"/>
                  </a:ext>
                </a:extLst>
              </p:cNvPr>
              <p:cNvSpPr>
                <a:spLocks noEditPoints="1"/>
              </p:cNvSpPr>
              <p:nvPr/>
            </p:nvSpPr>
            <p:spPr bwMode="auto">
              <a:xfrm>
                <a:off x="5910" y="1178"/>
                <a:ext cx="1572" cy="553"/>
              </a:xfrm>
              <a:custGeom>
                <a:avLst/>
                <a:gdLst>
                  <a:gd name="T0" fmla="*/ 699 w 1289"/>
                  <a:gd name="T1" fmla="*/ 455 h 455"/>
                  <a:gd name="T2" fmla="*/ 696 w 1289"/>
                  <a:gd name="T3" fmla="*/ 454 h 455"/>
                  <a:gd name="T4" fmla="*/ 301 w 1289"/>
                  <a:gd name="T5" fmla="*/ 344 h 455"/>
                  <a:gd name="T6" fmla="*/ 13 w 1289"/>
                  <a:gd name="T7" fmla="*/ 344 h 455"/>
                  <a:gd name="T8" fmla="*/ 0 w 1289"/>
                  <a:gd name="T9" fmla="*/ 331 h 455"/>
                  <a:gd name="T10" fmla="*/ 0 w 1289"/>
                  <a:gd name="T11" fmla="*/ 66 h 455"/>
                  <a:gd name="T12" fmla="*/ 13 w 1289"/>
                  <a:gd name="T13" fmla="*/ 53 h 455"/>
                  <a:gd name="T14" fmla="*/ 182 w 1289"/>
                  <a:gd name="T15" fmla="*/ 53 h 455"/>
                  <a:gd name="T16" fmla="*/ 363 w 1289"/>
                  <a:gd name="T17" fmla="*/ 0 h 455"/>
                  <a:gd name="T18" fmla="*/ 621 w 1289"/>
                  <a:gd name="T19" fmla="*/ 121 h 455"/>
                  <a:gd name="T20" fmla="*/ 895 w 1289"/>
                  <a:gd name="T21" fmla="*/ 121 h 455"/>
                  <a:gd name="T22" fmla="*/ 934 w 1289"/>
                  <a:gd name="T23" fmla="*/ 142 h 455"/>
                  <a:gd name="T24" fmla="*/ 940 w 1289"/>
                  <a:gd name="T25" fmla="*/ 202 h 455"/>
                  <a:gd name="T26" fmla="*/ 938 w 1289"/>
                  <a:gd name="T27" fmla="*/ 206 h 455"/>
                  <a:gd name="T28" fmla="*/ 1195 w 1289"/>
                  <a:gd name="T29" fmla="*/ 124 h 455"/>
                  <a:gd name="T30" fmla="*/ 1283 w 1289"/>
                  <a:gd name="T31" fmla="*/ 167 h 455"/>
                  <a:gd name="T32" fmla="*/ 1279 w 1289"/>
                  <a:gd name="T33" fmla="*/ 220 h 455"/>
                  <a:gd name="T34" fmla="*/ 1239 w 1289"/>
                  <a:gd name="T35" fmla="*/ 256 h 455"/>
                  <a:gd name="T36" fmla="*/ 1224 w 1289"/>
                  <a:gd name="T37" fmla="*/ 262 h 455"/>
                  <a:gd name="T38" fmla="*/ 900 w 1289"/>
                  <a:gd name="T39" fmla="*/ 382 h 455"/>
                  <a:gd name="T40" fmla="*/ 704 w 1289"/>
                  <a:gd name="T41" fmla="*/ 454 h 455"/>
                  <a:gd name="T42" fmla="*/ 699 w 1289"/>
                  <a:gd name="T43" fmla="*/ 455 h 455"/>
                  <a:gd name="T44" fmla="*/ 26 w 1289"/>
                  <a:gd name="T45" fmla="*/ 318 h 455"/>
                  <a:gd name="T46" fmla="*/ 303 w 1289"/>
                  <a:gd name="T47" fmla="*/ 318 h 455"/>
                  <a:gd name="T48" fmla="*/ 307 w 1289"/>
                  <a:gd name="T49" fmla="*/ 319 h 455"/>
                  <a:gd name="T50" fmla="*/ 699 w 1289"/>
                  <a:gd name="T51" fmla="*/ 429 h 455"/>
                  <a:gd name="T52" fmla="*/ 891 w 1289"/>
                  <a:gd name="T53" fmla="*/ 358 h 455"/>
                  <a:gd name="T54" fmla="*/ 1231 w 1289"/>
                  <a:gd name="T55" fmla="*/ 232 h 455"/>
                  <a:gd name="T56" fmla="*/ 1256 w 1289"/>
                  <a:gd name="T57" fmla="*/ 209 h 455"/>
                  <a:gd name="T58" fmla="*/ 1259 w 1289"/>
                  <a:gd name="T59" fmla="*/ 176 h 455"/>
                  <a:gd name="T60" fmla="*/ 1203 w 1289"/>
                  <a:gd name="T61" fmla="*/ 148 h 455"/>
                  <a:gd name="T62" fmla="*/ 911 w 1289"/>
                  <a:gd name="T63" fmla="*/ 242 h 455"/>
                  <a:gd name="T64" fmla="*/ 825 w 1289"/>
                  <a:gd name="T65" fmla="*/ 271 h 455"/>
                  <a:gd name="T66" fmla="*/ 523 w 1289"/>
                  <a:gd name="T67" fmla="*/ 271 h 455"/>
                  <a:gd name="T68" fmla="*/ 510 w 1289"/>
                  <a:gd name="T69" fmla="*/ 258 h 455"/>
                  <a:gd name="T70" fmla="*/ 523 w 1289"/>
                  <a:gd name="T71" fmla="*/ 245 h 455"/>
                  <a:gd name="T72" fmla="*/ 825 w 1289"/>
                  <a:gd name="T73" fmla="*/ 245 h 455"/>
                  <a:gd name="T74" fmla="*/ 895 w 1289"/>
                  <a:gd name="T75" fmla="*/ 222 h 455"/>
                  <a:gd name="T76" fmla="*/ 898 w 1289"/>
                  <a:gd name="T77" fmla="*/ 220 h 455"/>
                  <a:gd name="T78" fmla="*/ 916 w 1289"/>
                  <a:gd name="T79" fmla="*/ 193 h 455"/>
                  <a:gd name="T80" fmla="*/ 912 w 1289"/>
                  <a:gd name="T81" fmla="*/ 156 h 455"/>
                  <a:gd name="T82" fmla="*/ 895 w 1289"/>
                  <a:gd name="T83" fmla="*/ 146 h 455"/>
                  <a:gd name="T84" fmla="*/ 615 w 1289"/>
                  <a:gd name="T85" fmla="*/ 146 h 455"/>
                  <a:gd name="T86" fmla="*/ 615 w 1289"/>
                  <a:gd name="T87" fmla="*/ 146 h 455"/>
                  <a:gd name="T88" fmla="*/ 605 w 1289"/>
                  <a:gd name="T89" fmla="*/ 142 h 455"/>
                  <a:gd name="T90" fmla="*/ 363 w 1289"/>
                  <a:gd name="T91" fmla="*/ 26 h 455"/>
                  <a:gd name="T92" fmla="*/ 193 w 1289"/>
                  <a:gd name="T93" fmla="*/ 76 h 455"/>
                  <a:gd name="T94" fmla="*/ 186 w 1289"/>
                  <a:gd name="T95" fmla="*/ 78 h 455"/>
                  <a:gd name="T96" fmla="*/ 26 w 1289"/>
                  <a:gd name="T97" fmla="*/ 78 h 455"/>
                  <a:gd name="T98" fmla="*/ 26 w 1289"/>
                  <a:gd name="T99" fmla="*/ 318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9" h="455">
                    <a:moveTo>
                      <a:pt x="699" y="455"/>
                    </a:moveTo>
                    <a:cubicBezTo>
                      <a:pt x="698" y="455"/>
                      <a:pt x="697" y="455"/>
                      <a:pt x="696" y="454"/>
                    </a:cubicBezTo>
                    <a:cubicBezTo>
                      <a:pt x="301" y="344"/>
                      <a:pt x="301" y="344"/>
                      <a:pt x="301" y="344"/>
                    </a:cubicBezTo>
                    <a:cubicBezTo>
                      <a:pt x="13" y="344"/>
                      <a:pt x="13" y="344"/>
                      <a:pt x="13" y="344"/>
                    </a:cubicBezTo>
                    <a:cubicBezTo>
                      <a:pt x="6" y="344"/>
                      <a:pt x="0" y="338"/>
                      <a:pt x="0" y="331"/>
                    </a:cubicBezTo>
                    <a:cubicBezTo>
                      <a:pt x="0" y="66"/>
                      <a:pt x="0" y="66"/>
                      <a:pt x="0" y="66"/>
                    </a:cubicBezTo>
                    <a:cubicBezTo>
                      <a:pt x="0" y="59"/>
                      <a:pt x="6" y="53"/>
                      <a:pt x="13" y="53"/>
                    </a:cubicBezTo>
                    <a:cubicBezTo>
                      <a:pt x="182" y="53"/>
                      <a:pt x="182" y="53"/>
                      <a:pt x="182" y="53"/>
                    </a:cubicBezTo>
                    <a:cubicBezTo>
                      <a:pt x="236" y="18"/>
                      <a:pt x="299" y="0"/>
                      <a:pt x="363" y="0"/>
                    </a:cubicBezTo>
                    <a:cubicBezTo>
                      <a:pt x="463" y="0"/>
                      <a:pt x="557" y="44"/>
                      <a:pt x="621" y="121"/>
                    </a:cubicBezTo>
                    <a:cubicBezTo>
                      <a:pt x="895" y="121"/>
                      <a:pt x="895" y="121"/>
                      <a:pt x="895" y="121"/>
                    </a:cubicBezTo>
                    <a:cubicBezTo>
                      <a:pt x="911" y="121"/>
                      <a:pt x="924" y="128"/>
                      <a:pt x="934" y="142"/>
                    </a:cubicBezTo>
                    <a:cubicBezTo>
                      <a:pt x="945" y="159"/>
                      <a:pt x="947" y="183"/>
                      <a:pt x="940" y="202"/>
                    </a:cubicBezTo>
                    <a:cubicBezTo>
                      <a:pt x="939" y="203"/>
                      <a:pt x="939" y="205"/>
                      <a:pt x="938" y="206"/>
                    </a:cubicBezTo>
                    <a:cubicBezTo>
                      <a:pt x="1195" y="124"/>
                      <a:pt x="1195" y="124"/>
                      <a:pt x="1195" y="124"/>
                    </a:cubicBezTo>
                    <a:cubicBezTo>
                      <a:pt x="1231" y="112"/>
                      <a:pt x="1270" y="131"/>
                      <a:pt x="1283" y="167"/>
                    </a:cubicBezTo>
                    <a:cubicBezTo>
                      <a:pt x="1289" y="185"/>
                      <a:pt x="1287" y="204"/>
                      <a:pt x="1279" y="220"/>
                    </a:cubicBezTo>
                    <a:cubicBezTo>
                      <a:pt x="1271" y="237"/>
                      <a:pt x="1257" y="250"/>
                      <a:pt x="1239" y="256"/>
                    </a:cubicBezTo>
                    <a:cubicBezTo>
                      <a:pt x="1224" y="262"/>
                      <a:pt x="1224" y="262"/>
                      <a:pt x="1224" y="262"/>
                    </a:cubicBezTo>
                    <a:cubicBezTo>
                      <a:pt x="900" y="382"/>
                      <a:pt x="900" y="382"/>
                      <a:pt x="900" y="382"/>
                    </a:cubicBezTo>
                    <a:cubicBezTo>
                      <a:pt x="704" y="454"/>
                      <a:pt x="704" y="454"/>
                      <a:pt x="704" y="454"/>
                    </a:cubicBezTo>
                    <a:cubicBezTo>
                      <a:pt x="702" y="455"/>
                      <a:pt x="701" y="455"/>
                      <a:pt x="699" y="455"/>
                    </a:cubicBezTo>
                    <a:close/>
                    <a:moveTo>
                      <a:pt x="26" y="318"/>
                    </a:moveTo>
                    <a:cubicBezTo>
                      <a:pt x="303" y="318"/>
                      <a:pt x="303" y="318"/>
                      <a:pt x="303" y="318"/>
                    </a:cubicBezTo>
                    <a:cubicBezTo>
                      <a:pt x="304" y="318"/>
                      <a:pt x="305" y="318"/>
                      <a:pt x="307" y="319"/>
                    </a:cubicBezTo>
                    <a:cubicBezTo>
                      <a:pt x="699" y="429"/>
                      <a:pt x="699" y="429"/>
                      <a:pt x="699" y="429"/>
                    </a:cubicBezTo>
                    <a:cubicBezTo>
                      <a:pt x="891" y="358"/>
                      <a:pt x="891" y="358"/>
                      <a:pt x="891" y="358"/>
                    </a:cubicBezTo>
                    <a:cubicBezTo>
                      <a:pt x="1231" y="232"/>
                      <a:pt x="1231" y="232"/>
                      <a:pt x="1231" y="232"/>
                    </a:cubicBezTo>
                    <a:cubicBezTo>
                      <a:pt x="1242" y="228"/>
                      <a:pt x="1251" y="220"/>
                      <a:pt x="1256" y="209"/>
                    </a:cubicBezTo>
                    <a:cubicBezTo>
                      <a:pt x="1262" y="199"/>
                      <a:pt x="1262" y="187"/>
                      <a:pt x="1259" y="176"/>
                    </a:cubicBezTo>
                    <a:cubicBezTo>
                      <a:pt x="1251" y="153"/>
                      <a:pt x="1225" y="140"/>
                      <a:pt x="1203" y="148"/>
                    </a:cubicBezTo>
                    <a:cubicBezTo>
                      <a:pt x="911" y="242"/>
                      <a:pt x="911" y="242"/>
                      <a:pt x="911" y="242"/>
                    </a:cubicBezTo>
                    <a:cubicBezTo>
                      <a:pt x="893" y="257"/>
                      <a:pt x="866" y="271"/>
                      <a:pt x="825" y="271"/>
                    </a:cubicBezTo>
                    <a:cubicBezTo>
                      <a:pt x="523" y="271"/>
                      <a:pt x="523" y="271"/>
                      <a:pt x="523" y="271"/>
                    </a:cubicBezTo>
                    <a:cubicBezTo>
                      <a:pt x="516" y="271"/>
                      <a:pt x="510" y="265"/>
                      <a:pt x="510" y="258"/>
                    </a:cubicBezTo>
                    <a:cubicBezTo>
                      <a:pt x="510" y="251"/>
                      <a:pt x="516" y="245"/>
                      <a:pt x="523" y="245"/>
                    </a:cubicBezTo>
                    <a:cubicBezTo>
                      <a:pt x="825" y="245"/>
                      <a:pt x="825" y="245"/>
                      <a:pt x="825" y="245"/>
                    </a:cubicBezTo>
                    <a:cubicBezTo>
                      <a:pt x="859" y="245"/>
                      <a:pt x="881" y="235"/>
                      <a:pt x="895" y="222"/>
                    </a:cubicBezTo>
                    <a:cubicBezTo>
                      <a:pt x="896" y="221"/>
                      <a:pt x="897" y="220"/>
                      <a:pt x="898" y="220"/>
                    </a:cubicBezTo>
                    <a:cubicBezTo>
                      <a:pt x="908" y="210"/>
                      <a:pt x="914" y="199"/>
                      <a:pt x="916" y="193"/>
                    </a:cubicBezTo>
                    <a:cubicBezTo>
                      <a:pt x="921" y="182"/>
                      <a:pt x="919" y="166"/>
                      <a:pt x="912" y="156"/>
                    </a:cubicBezTo>
                    <a:cubicBezTo>
                      <a:pt x="908" y="149"/>
                      <a:pt x="902" y="146"/>
                      <a:pt x="895" y="146"/>
                    </a:cubicBezTo>
                    <a:cubicBezTo>
                      <a:pt x="615" y="146"/>
                      <a:pt x="615" y="146"/>
                      <a:pt x="615" y="146"/>
                    </a:cubicBezTo>
                    <a:cubicBezTo>
                      <a:pt x="615" y="146"/>
                      <a:pt x="615" y="146"/>
                      <a:pt x="615" y="146"/>
                    </a:cubicBezTo>
                    <a:cubicBezTo>
                      <a:pt x="611" y="146"/>
                      <a:pt x="607" y="145"/>
                      <a:pt x="605" y="142"/>
                    </a:cubicBezTo>
                    <a:cubicBezTo>
                      <a:pt x="546" y="68"/>
                      <a:pt x="458" y="26"/>
                      <a:pt x="363" y="26"/>
                    </a:cubicBezTo>
                    <a:cubicBezTo>
                      <a:pt x="302" y="26"/>
                      <a:pt x="244" y="43"/>
                      <a:pt x="193" y="76"/>
                    </a:cubicBezTo>
                    <a:cubicBezTo>
                      <a:pt x="191" y="78"/>
                      <a:pt x="189" y="78"/>
                      <a:pt x="186" y="78"/>
                    </a:cubicBezTo>
                    <a:cubicBezTo>
                      <a:pt x="26" y="78"/>
                      <a:pt x="26" y="78"/>
                      <a:pt x="26" y="78"/>
                    </a:cubicBezTo>
                    <a:lnTo>
                      <a:pt x="26" y="3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1">
                <a:extLst>
                  <a:ext uri="{FF2B5EF4-FFF2-40B4-BE49-F238E27FC236}">
                    <a16:creationId xmlns:a16="http://schemas.microsoft.com/office/drawing/2014/main" id="{1275B90B-4EC9-4DE0-81E3-65A4E17423E7}"/>
                  </a:ext>
                </a:extLst>
              </p:cNvPr>
              <p:cNvSpPr>
                <a:spLocks noEditPoints="1"/>
              </p:cNvSpPr>
              <p:nvPr/>
            </p:nvSpPr>
            <p:spPr bwMode="auto">
              <a:xfrm>
                <a:off x="6660" y="893"/>
                <a:ext cx="594" cy="274"/>
              </a:xfrm>
              <a:custGeom>
                <a:avLst/>
                <a:gdLst>
                  <a:gd name="T0" fmla="*/ 373 w 487"/>
                  <a:gd name="T1" fmla="*/ 0 h 226"/>
                  <a:gd name="T2" fmla="*/ 276 w 487"/>
                  <a:gd name="T3" fmla="*/ 54 h 226"/>
                  <a:gd name="T4" fmla="*/ 62 w 487"/>
                  <a:gd name="T5" fmla="*/ 54 h 226"/>
                  <a:gd name="T6" fmla="*/ 55 w 487"/>
                  <a:gd name="T7" fmla="*/ 57 h 226"/>
                  <a:gd name="T8" fmla="*/ 4 w 487"/>
                  <a:gd name="T9" fmla="*/ 109 h 226"/>
                  <a:gd name="T10" fmla="*/ 4 w 487"/>
                  <a:gd name="T11" fmla="*/ 121 h 226"/>
                  <a:gd name="T12" fmla="*/ 55 w 487"/>
                  <a:gd name="T13" fmla="*/ 173 h 226"/>
                  <a:gd name="T14" fmla="*/ 62 w 487"/>
                  <a:gd name="T15" fmla="*/ 175 h 226"/>
                  <a:gd name="T16" fmla="*/ 68 w 487"/>
                  <a:gd name="T17" fmla="*/ 173 h 226"/>
                  <a:gd name="T18" fmla="*/ 92 w 487"/>
                  <a:gd name="T19" fmla="*/ 149 h 226"/>
                  <a:gd name="T20" fmla="*/ 117 w 487"/>
                  <a:gd name="T21" fmla="*/ 173 h 226"/>
                  <a:gd name="T22" fmla="*/ 129 w 487"/>
                  <a:gd name="T23" fmla="*/ 173 h 226"/>
                  <a:gd name="T24" fmla="*/ 153 w 487"/>
                  <a:gd name="T25" fmla="*/ 149 h 226"/>
                  <a:gd name="T26" fmla="*/ 177 w 487"/>
                  <a:gd name="T27" fmla="*/ 174 h 226"/>
                  <a:gd name="T28" fmla="*/ 183 w 487"/>
                  <a:gd name="T29" fmla="*/ 177 h 226"/>
                  <a:gd name="T30" fmla="*/ 189 w 487"/>
                  <a:gd name="T31" fmla="*/ 174 h 226"/>
                  <a:gd name="T32" fmla="*/ 213 w 487"/>
                  <a:gd name="T33" fmla="*/ 150 h 226"/>
                  <a:gd name="T34" fmla="*/ 235 w 487"/>
                  <a:gd name="T35" fmla="*/ 174 h 226"/>
                  <a:gd name="T36" fmla="*/ 241 w 487"/>
                  <a:gd name="T37" fmla="*/ 177 h 226"/>
                  <a:gd name="T38" fmla="*/ 280 w 487"/>
                  <a:gd name="T39" fmla="*/ 177 h 226"/>
                  <a:gd name="T40" fmla="*/ 373 w 487"/>
                  <a:gd name="T41" fmla="*/ 226 h 226"/>
                  <a:gd name="T42" fmla="*/ 487 w 487"/>
                  <a:gd name="T43" fmla="*/ 113 h 226"/>
                  <a:gd name="T44" fmla="*/ 373 w 487"/>
                  <a:gd name="T45" fmla="*/ 0 h 226"/>
                  <a:gd name="T46" fmla="*/ 373 w 487"/>
                  <a:gd name="T47" fmla="*/ 209 h 226"/>
                  <a:gd name="T48" fmla="*/ 292 w 487"/>
                  <a:gd name="T49" fmla="*/ 164 h 226"/>
                  <a:gd name="T50" fmla="*/ 288 w 487"/>
                  <a:gd name="T51" fmla="*/ 157 h 226"/>
                  <a:gd name="T52" fmla="*/ 284 w 487"/>
                  <a:gd name="T53" fmla="*/ 159 h 226"/>
                  <a:gd name="T54" fmla="*/ 245 w 487"/>
                  <a:gd name="T55" fmla="*/ 159 h 226"/>
                  <a:gd name="T56" fmla="*/ 220 w 487"/>
                  <a:gd name="T57" fmla="*/ 131 h 226"/>
                  <a:gd name="T58" fmla="*/ 214 w 487"/>
                  <a:gd name="T59" fmla="*/ 128 h 226"/>
                  <a:gd name="T60" fmla="*/ 207 w 487"/>
                  <a:gd name="T61" fmla="*/ 131 h 226"/>
                  <a:gd name="T62" fmla="*/ 183 w 487"/>
                  <a:gd name="T63" fmla="*/ 155 h 226"/>
                  <a:gd name="T64" fmla="*/ 160 w 487"/>
                  <a:gd name="T65" fmla="*/ 130 h 226"/>
                  <a:gd name="T66" fmla="*/ 154 w 487"/>
                  <a:gd name="T67" fmla="*/ 127 h 226"/>
                  <a:gd name="T68" fmla="*/ 147 w 487"/>
                  <a:gd name="T69" fmla="*/ 130 h 226"/>
                  <a:gd name="T70" fmla="*/ 123 w 487"/>
                  <a:gd name="T71" fmla="*/ 154 h 226"/>
                  <a:gd name="T72" fmla="*/ 99 w 487"/>
                  <a:gd name="T73" fmla="*/ 130 h 226"/>
                  <a:gd name="T74" fmla="*/ 86 w 487"/>
                  <a:gd name="T75" fmla="*/ 130 h 226"/>
                  <a:gd name="T76" fmla="*/ 62 w 487"/>
                  <a:gd name="T77" fmla="*/ 154 h 226"/>
                  <a:gd name="T78" fmla="*/ 23 w 487"/>
                  <a:gd name="T79" fmla="*/ 115 h 226"/>
                  <a:gd name="T80" fmla="*/ 65 w 487"/>
                  <a:gd name="T81" fmla="*/ 72 h 226"/>
                  <a:gd name="T82" fmla="*/ 285 w 487"/>
                  <a:gd name="T83" fmla="*/ 72 h 226"/>
                  <a:gd name="T84" fmla="*/ 286 w 487"/>
                  <a:gd name="T85" fmla="*/ 73 h 226"/>
                  <a:gd name="T86" fmla="*/ 290 w 487"/>
                  <a:gd name="T87" fmla="*/ 65 h 226"/>
                  <a:gd name="T88" fmla="*/ 373 w 487"/>
                  <a:gd name="T89" fmla="*/ 17 h 226"/>
                  <a:gd name="T90" fmla="*/ 469 w 487"/>
                  <a:gd name="T91" fmla="*/ 113 h 226"/>
                  <a:gd name="T92" fmla="*/ 373 w 487"/>
                  <a:gd name="T93" fmla="*/ 20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7" h="226">
                    <a:moveTo>
                      <a:pt x="373" y="0"/>
                    </a:moveTo>
                    <a:cubicBezTo>
                      <a:pt x="334" y="0"/>
                      <a:pt x="297" y="21"/>
                      <a:pt x="276" y="54"/>
                    </a:cubicBezTo>
                    <a:cubicBezTo>
                      <a:pt x="62" y="54"/>
                      <a:pt x="62" y="54"/>
                      <a:pt x="62" y="54"/>
                    </a:cubicBezTo>
                    <a:cubicBezTo>
                      <a:pt x="59" y="54"/>
                      <a:pt x="57" y="55"/>
                      <a:pt x="55" y="57"/>
                    </a:cubicBezTo>
                    <a:cubicBezTo>
                      <a:pt x="4" y="109"/>
                      <a:pt x="4" y="109"/>
                      <a:pt x="4" y="109"/>
                    </a:cubicBezTo>
                    <a:cubicBezTo>
                      <a:pt x="0" y="112"/>
                      <a:pt x="0" y="118"/>
                      <a:pt x="4" y="121"/>
                    </a:cubicBezTo>
                    <a:cubicBezTo>
                      <a:pt x="55" y="173"/>
                      <a:pt x="55" y="173"/>
                      <a:pt x="55" y="173"/>
                    </a:cubicBezTo>
                    <a:cubicBezTo>
                      <a:pt x="57" y="174"/>
                      <a:pt x="59" y="175"/>
                      <a:pt x="62" y="175"/>
                    </a:cubicBezTo>
                    <a:cubicBezTo>
                      <a:pt x="64" y="175"/>
                      <a:pt x="66" y="174"/>
                      <a:pt x="68" y="173"/>
                    </a:cubicBezTo>
                    <a:cubicBezTo>
                      <a:pt x="92" y="149"/>
                      <a:pt x="92" y="149"/>
                      <a:pt x="92" y="149"/>
                    </a:cubicBezTo>
                    <a:cubicBezTo>
                      <a:pt x="117" y="173"/>
                      <a:pt x="117" y="173"/>
                      <a:pt x="117" y="173"/>
                    </a:cubicBezTo>
                    <a:cubicBezTo>
                      <a:pt x="120" y="176"/>
                      <a:pt x="126" y="176"/>
                      <a:pt x="129" y="173"/>
                    </a:cubicBezTo>
                    <a:cubicBezTo>
                      <a:pt x="153" y="149"/>
                      <a:pt x="153" y="149"/>
                      <a:pt x="153" y="149"/>
                    </a:cubicBezTo>
                    <a:cubicBezTo>
                      <a:pt x="177" y="174"/>
                      <a:pt x="177" y="174"/>
                      <a:pt x="177" y="174"/>
                    </a:cubicBezTo>
                    <a:cubicBezTo>
                      <a:pt x="178" y="176"/>
                      <a:pt x="181" y="177"/>
                      <a:pt x="183" y="177"/>
                    </a:cubicBezTo>
                    <a:cubicBezTo>
                      <a:pt x="186" y="177"/>
                      <a:pt x="188" y="176"/>
                      <a:pt x="189" y="174"/>
                    </a:cubicBezTo>
                    <a:cubicBezTo>
                      <a:pt x="213" y="150"/>
                      <a:pt x="213" y="150"/>
                      <a:pt x="213" y="150"/>
                    </a:cubicBezTo>
                    <a:cubicBezTo>
                      <a:pt x="235" y="174"/>
                      <a:pt x="235" y="174"/>
                      <a:pt x="235" y="174"/>
                    </a:cubicBezTo>
                    <a:cubicBezTo>
                      <a:pt x="237" y="176"/>
                      <a:pt x="239" y="177"/>
                      <a:pt x="241" y="177"/>
                    </a:cubicBezTo>
                    <a:cubicBezTo>
                      <a:pt x="280" y="177"/>
                      <a:pt x="280" y="177"/>
                      <a:pt x="280" y="177"/>
                    </a:cubicBezTo>
                    <a:cubicBezTo>
                      <a:pt x="301" y="208"/>
                      <a:pt x="335" y="226"/>
                      <a:pt x="373" y="226"/>
                    </a:cubicBezTo>
                    <a:cubicBezTo>
                      <a:pt x="436" y="226"/>
                      <a:pt x="487" y="175"/>
                      <a:pt x="487" y="113"/>
                    </a:cubicBezTo>
                    <a:cubicBezTo>
                      <a:pt x="487" y="50"/>
                      <a:pt x="436" y="0"/>
                      <a:pt x="373" y="0"/>
                    </a:cubicBezTo>
                    <a:close/>
                    <a:moveTo>
                      <a:pt x="373" y="209"/>
                    </a:moveTo>
                    <a:cubicBezTo>
                      <a:pt x="340" y="209"/>
                      <a:pt x="310" y="192"/>
                      <a:pt x="292" y="164"/>
                    </a:cubicBezTo>
                    <a:cubicBezTo>
                      <a:pt x="288" y="157"/>
                      <a:pt x="288" y="157"/>
                      <a:pt x="288" y="157"/>
                    </a:cubicBezTo>
                    <a:cubicBezTo>
                      <a:pt x="284" y="159"/>
                      <a:pt x="284" y="159"/>
                      <a:pt x="284" y="159"/>
                    </a:cubicBezTo>
                    <a:cubicBezTo>
                      <a:pt x="245" y="159"/>
                      <a:pt x="245" y="159"/>
                      <a:pt x="245" y="159"/>
                    </a:cubicBezTo>
                    <a:cubicBezTo>
                      <a:pt x="220" y="131"/>
                      <a:pt x="220" y="131"/>
                      <a:pt x="220" y="131"/>
                    </a:cubicBezTo>
                    <a:cubicBezTo>
                      <a:pt x="219" y="130"/>
                      <a:pt x="216" y="129"/>
                      <a:pt x="214" y="128"/>
                    </a:cubicBezTo>
                    <a:cubicBezTo>
                      <a:pt x="211" y="129"/>
                      <a:pt x="209" y="129"/>
                      <a:pt x="207" y="131"/>
                    </a:cubicBezTo>
                    <a:cubicBezTo>
                      <a:pt x="183" y="155"/>
                      <a:pt x="183" y="155"/>
                      <a:pt x="183" y="155"/>
                    </a:cubicBezTo>
                    <a:cubicBezTo>
                      <a:pt x="160" y="130"/>
                      <a:pt x="160" y="130"/>
                      <a:pt x="160" y="130"/>
                    </a:cubicBezTo>
                    <a:cubicBezTo>
                      <a:pt x="158" y="128"/>
                      <a:pt x="156" y="127"/>
                      <a:pt x="154" y="127"/>
                    </a:cubicBezTo>
                    <a:cubicBezTo>
                      <a:pt x="151" y="127"/>
                      <a:pt x="149" y="128"/>
                      <a:pt x="147" y="130"/>
                    </a:cubicBezTo>
                    <a:cubicBezTo>
                      <a:pt x="123" y="154"/>
                      <a:pt x="123" y="154"/>
                      <a:pt x="123" y="154"/>
                    </a:cubicBezTo>
                    <a:cubicBezTo>
                      <a:pt x="99" y="130"/>
                      <a:pt x="99" y="130"/>
                      <a:pt x="99" y="130"/>
                    </a:cubicBezTo>
                    <a:cubicBezTo>
                      <a:pt x="95" y="126"/>
                      <a:pt x="90" y="126"/>
                      <a:pt x="86" y="130"/>
                    </a:cubicBezTo>
                    <a:cubicBezTo>
                      <a:pt x="62" y="154"/>
                      <a:pt x="62" y="154"/>
                      <a:pt x="62" y="154"/>
                    </a:cubicBezTo>
                    <a:cubicBezTo>
                      <a:pt x="23" y="115"/>
                      <a:pt x="23" y="115"/>
                      <a:pt x="23" y="115"/>
                    </a:cubicBezTo>
                    <a:cubicBezTo>
                      <a:pt x="65" y="72"/>
                      <a:pt x="65" y="72"/>
                      <a:pt x="65" y="72"/>
                    </a:cubicBezTo>
                    <a:cubicBezTo>
                      <a:pt x="285" y="72"/>
                      <a:pt x="285" y="72"/>
                      <a:pt x="285" y="72"/>
                    </a:cubicBezTo>
                    <a:cubicBezTo>
                      <a:pt x="286" y="73"/>
                      <a:pt x="286" y="73"/>
                      <a:pt x="286" y="73"/>
                    </a:cubicBezTo>
                    <a:cubicBezTo>
                      <a:pt x="290" y="65"/>
                      <a:pt x="290" y="65"/>
                      <a:pt x="290" y="65"/>
                    </a:cubicBezTo>
                    <a:cubicBezTo>
                      <a:pt x="307" y="36"/>
                      <a:pt x="339" y="17"/>
                      <a:pt x="373" y="17"/>
                    </a:cubicBezTo>
                    <a:cubicBezTo>
                      <a:pt x="426" y="17"/>
                      <a:pt x="469" y="60"/>
                      <a:pt x="469" y="113"/>
                    </a:cubicBezTo>
                    <a:cubicBezTo>
                      <a:pt x="469" y="166"/>
                      <a:pt x="426" y="209"/>
                      <a:pt x="373" y="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62">
                <a:extLst>
                  <a:ext uri="{FF2B5EF4-FFF2-40B4-BE49-F238E27FC236}">
                    <a16:creationId xmlns:a16="http://schemas.microsoft.com/office/drawing/2014/main" id="{2F174517-AB47-429A-92C7-170280715B4A}"/>
                  </a:ext>
                </a:extLst>
              </p:cNvPr>
              <p:cNvSpPr>
                <a:spLocks noEditPoints="1"/>
              </p:cNvSpPr>
              <p:nvPr/>
            </p:nvSpPr>
            <p:spPr bwMode="auto">
              <a:xfrm>
                <a:off x="6655" y="888"/>
                <a:ext cx="602" cy="284"/>
              </a:xfrm>
              <a:custGeom>
                <a:avLst/>
                <a:gdLst>
                  <a:gd name="T0" fmla="*/ 282 w 494"/>
                  <a:gd name="T1" fmla="*/ 184 h 234"/>
                  <a:gd name="T2" fmla="*/ 236 w 494"/>
                  <a:gd name="T3" fmla="*/ 180 h 234"/>
                  <a:gd name="T4" fmla="*/ 196 w 494"/>
                  <a:gd name="T5" fmla="*/ 181 h 234"/>
                  <a:gd name="T6" fmla="*/ 178 w 494"/>
                  <a:gd name="T7" fmla="*/ 180 h 234"/>
                  <a:gd name="T8" fmla="*/ 136 w 494"/>
                  <a:gd name="T9" fmla="*/ 179 h 234"/>
                  <a:gd name="T10" fmla="*/ 96 w 494"/>
                  <a:gd name="T11" fmla="*/ 158 h 234"/>
                  <a:gd name="T12" fmla="*/ 57 w 494"/>
                  <a:gd name="T13" fmla="*/ 179 h 234"/>
                  <a:gd name="T14" fmla="*/ 5 w 494"/>
                  <a:gd name="T15" fmla="*/ 110 h 234"/>
                  <a:gd name="T16" fmla="*/ 66 w 494"/>
                  <a:gd name="T17" fmla="*/ 55 h 234"/>
                  <a:gd name="T18" fmla="*/ 377 w 494"/>
                  <a:gd name="T19" fmla="*/ 0 h 234"/>
                  <a:gd name="T20" fmla="*/ 377 w 494"/>
                  <a:gd name="T21" fmla="*/ 234 h 234"/>
                  <a:gd name="T22" fmla="*/ 241 w 494"/>
                  <a:gd name="T23" fmla="*/ 175 h 234"/>
                  <a:gd name="T24" fmla="*/ 286 w 494"/>
                  <a:gd name="T25" fmla="*/ 177 h 234"/>
                  <a:gd name="T26" fmla="*/ 377 w 494"/>
                  <a:gd name="T27" fmla="*/ 227 h 234"/>
                  <a:gd name="T28" fmla="*/ 377 w 494"/>
                  <a:gd name="T29" fmla="*/ 7 h 234"/>
                  <a:gd name="T30" fmla="*/ 282 w 494"/>
                  <a:gd name="T31" fmla="*/ 62 h 234"/>
                  <a:gd name="T32" fmla="*/ 62 w 494"/>
                  <a:gd name="T33" fmla="*/ 64 h 234"/>
                  <a:gd name="T34" fmla="*/ 10 w 494"/>
                  <a:gd name="T35" fmla="*/ 123 h 234"/>
                  <a:gd name="T36" fmla="*/ 69 w 494"/>
                  <a:gd name="T37" fmla="*/ 174 h 234"/>
                  <a:gd name="T38" fmla="*/ 123 w 494"/>
                  <a:gd name="T39" fmla="*/ 174 h 234"/>
                  <a:gd name="T40" fmla="*/ 157 w 494"/>
                  <a:gd name="T41" fmla="*/ 148 h 234"/>
                  <a:gd name="T42" fmla="*/ 187 w 494"/>
                  <a:gd name="T43" fmla="*/ 177 h 234"/>
                  <a:gd name="T44" fmla="*/ 217 w 494"/>
                  <a:gd name="T45" fmla="*/ 149 h 234"/>
                  <a:gd name="T46" fmla="*/ 293 w 494"/>
                  <a:gd name="T47" fmla="*/ 170 h 234"/>
                  <a:gd name="T48" fmla="*/ 289 w 494"/>
                  <a:gd name="T49" fmla="*/ 167 h 234"/>
                  <a:gd name="T50" fmla="*/ 222 w 494"/>
                  <a:gd name="T51" fmla="*/ 138 h 234"/>
                  <a:gd name="T52" fmla="*/ 214 w 494"/>
                  <a:gd name="T53" fmla="*/ 138 h 234"/>
                  <a:gd name="T54" fmla="*/ 161 w 494"/>
                  <a:gd name="T55" fmla="*/ 136 h 234"/>
                  <a:gd name="T56" fmla="*/ 154 w 494"/>
                  <a:gd name="T57" fmla="*/ 136 h 234"/>
                  <a:gd name="T58" fmla="*/ 100 w 494"/>
                  <a:gd name="T59" fmla="*/ 136 h 234"/>
                  <a:gd name="T60" fmla="*/ 66 w 494"/>
                  <a:gd name="T61" fmla="*/ 163 h 234"/>
                  <a:gd name="T62" fmla="*/ 68 w 494"/>
                  <a:gd name="T63" fmla="*/ 73 h 234"/>
                  <a:gd name="T64" fmla="*/ 291 w 494"/>
                  <a:gd name="T65" fmla="*/ 67 h 234"/>
                  <a:gd name="T66" fmla="*/ 477 w 494"/>
                  <a:gd name="T67" fmla="*/ 117 h 234"/>
                  <a:gd name="T68" fmla="*/ 295 w 494"/>
                  <a:gd name="T69" fmla="*/ 159 h 234"/>
                  <a:gd name="T70" fmla="*/ 377 w 494"/>
                  <a:gd name="T71" fmla="*/ 209 h 234"/>
                  <a:gd name="T72" fmla="*/ 377 w 494"/>
                  <a:gd name="T73" fmla="*/ 25 h 234"/>
                  <a:gd name="T74" fmla="*/ 292 w 494"/>
                  <a:gd name="T75" fmla="*/ 80 h 234"/>
                  <a:gd name="T76" fmla="*/ 71 w 494"/>
                  <a:gd name="T77" fmla="*/ 80 h 234"/>
                  <a:gd name="T78" fmla="*/ 66 w 494"/>
                  <a:gd name="T79" fmla="*/ 153 h 234"/>
                  <a:gd name="T80" fmla="*/ 105 w 494"/>
                  <a:gd name="T81" fmla="*/ 131 h 234"/>
                  <a:gd name="T82" fmla="*/ 149 w 494"/>
                  <a:gd name="T83" fmla="*/ 131 h 234"/>
                  <a:gd name="T84" fmla="*/ 167 w 494"/>
                  <a:gd name="T85" fmla="*/ 132 h 234"/>
                  <a:gd name="T86" fmla="*/ 209 w 494"/>
                  <a:gd name="T87" fmla="*/ 133 h 234"/>
                  <a:gd name="T88" fmla="*/ 227 w 494"/>
                  <a:gd name="T89" fmla="*/ 133 h 234"/>
                  <a:gd name="T90" fmla="*/ 287 w 494"/>
                  <a:gd name="T91" fmla="*/ 15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4" h="234">
                    <a:moveTo>
                      <a:pt x="377" y="234"/>
                    </a:moveTo>
                    <a:cubicBezTo>
                      <a:pt x="339" y="234"/>
                      <a:pt x="304" y="215"/>
                      <a:pt x="282" y="184"/>
                    </a:cubicBezTo>
                    <a:cubicBezTo>
                      <a:pt x="245" y="184"/>
                      <a:pt x="245" y="184"/>
                      <a:pt x="245" y="184"/>
                    </a:cubicBezTo>
                    <a:cubicBezTo>
                      <a:pt x="242" y="184"/>
                      <a:pt x="239" y="183"/>
                      <a:pt x="236" y="180"/>
                    </a:cubicBezTo>
                    <a:cubicBezTo>
                      <a:pt x="217" y="159"/>
                      <a:pt x="217" y="159"/>
                      <a:pt x="217" y="159"/>
                    </a:cubicBezTo>
                    <a:cubicBezTo>
                      <a:pt x="196" y="181"/>
                      <a:pt x="196" y="181"/>
                      <a:pt x="196" y="181"/>
                    </a:cubicBezTo>
                    <a:cubicBezTo>
                      <a:pt x="193" y="183"/>
                      <a:pt x="191" y="184"/>
                      <a:pt x="187" y="184"/>
                    </a:cubicBezTo>
                    <a:cubicBezTo>
                      <a:pt x="183" y="184"/>
                      <a:pt x="180" y="183"/>
                      <a:pt x="178" y="180"/>
                    </a:cubicBezTo>
                    <a:cubicBezTo>
                      <a:pt x="157" y="158"/>
                      <a:pt x="157" y="158"/>
                      <a:pt x="157" y="158"/>
                    </a:cubicBezTo>
                    <a:cubicBezTo>
                      <a:pt x="136" y="179"/>
                      <a:pt x="136" y="179"/>
                      <a:pt x="136" y="179"/>
                    </a:cubicBezTo>
                    <a:cubicBezTo>
                      <a:pt x="131" y="184"/>
                      <a:pt x="123" y="184"/>
                      <a:pt x="118" y="179"/>
                    </a:cubicBezTo>
                    <a:cubicBezTo>
                      <a:pt x="96" y="158"/>
                      <a:pt x="96" y="158"/>
                      <a:pt x="96" y="158"/>
                    </a:cubicBezTo>
                    <a:cubicBezTo>
                      <a:pt x="75" y="179"/>
                      <a:pt x="75" y="179"/>
                      <a:pt x="75" y="179"/>
                    </a:cubicBezTo>
                    <a:cubicBezTo>
                      <a:pt x="70" y="184"/>
                      <a:pt x="62" y="184"/>
                      <a:pt x="57" y="179"/>
                    </a:cubicBezTo>
                    <a:cubicBezTo>
                      <a:pt x="5" y="128"/>
                      <a:pt x="5" y="128"/>
                      <a:pt x="5" y="128"/>
                    </a:cubicBezTo>
                    <a:cubicBezTo>
                      <a:pt x="0" y="123"/>
                      <a:pt x="0" y="115"/>
                      <a:pt x="5" y="110"/>
                    </a:cubicBezTo>
                    <a:cubicBezTo>
                      <a:pt x="57" y="58"/>
                      <a:pt x="57" y="58"/>
                      <a:pt x="57" y="58"/>
                    </a:cubicBezTo>
                    <a:cubicBezTo>
                      <a:pt x="59" y="56"/>
                      <a:pt x="62" y="55"/>
                      <a:pt x="66" y="55"/>
                    </a:cubicBezTo>
                    <a:cubicBezTo>
                      <a:pt x="278" y="55"/>
                      <a:pt x="278" y="55"/>
                      <a:pt x="278" y="55"/>
                    </a:cubicBezTo>
                    <a:cubicBezTo>
                      <a:pt x="300" y="21"/>
                      <a:pt x="337" y="0"/>
                      <a:pt x="377" y="0"/>
                    </a:cubicBezTo>
                    <a:cubicBezTo>
                      <a:pt x="442" y="0"/>
                      <a:pt x="494" y="52"/>
                      <a:pt x="494" y="117"/>
                    </a:cubicBezTo>
                    <a:cubicBezTo>
                      <a:pt x="494" y="181"/>
                      <a:pt x="442" y="234"/>
                      <a:pt x="377" y="234"/>
                    </a:cubicBezTo>
                    <a:close/>
                    <a:moveTo>
                      <a:pt x="217" y="149"/>
                    </a:moveTo>
                    <a:cubicBezTo>
                      <a:pt x="241" y="175"/>
                      <a:pt x="241" y="175"/>
                      <a:pt x="241" y="175"/>
                    </a:cubicBezTo>
                    <a:cubicBezTo>
                      <a:pt x="242" y="177"/>
                      <a:pt x="244" y="177"/>
                      <a:pt x="245" y="177"/>
                    </a:cubicBezTo>
                    <a:cubicBezTo>
                      <a:pt x="286" y="177"/>
                      <a:pt x="286" y="177"/>
                      <a:pt x="286" y="177"/>
                    </a:cubicBezTo>
                    <a:cubicBezTo>
                      <a:pt x="287" y="179"/>
                      <a:pt x="287" y="179"/>
                      <a:pt x="287" y="179"/>
                    </a:cubicBezTo>
                    <a:cubicBezTo>
                      <a:pt x="307" y="209"/>
                      <a:pt x="341" y="227"/>
                      <a:pt x="377" y="227"/>
                    </a:cubicBezTo>
                    <a:cubicBezTo>
                      <a:pt x="438" y="227"/>
                      <a:pt x="487" y="177"/>
                      <a:pt x="487" y="117"/>
                    </a:cubicBezTo>
                    <a:cubicBezTo>
                      <a:pt x="487" y="56"/>
                      <a:pt x="438" y="7"/>
                      <a:pt x="377" y="7"/>
                    </a:cubicBezTo>
                    <a:cubicBezTo>
                      <a:pt x="339" y="7"/>
                      <a:pt x="303" y="27"/>
                      <a:pt x="283" y="60"/>
                    </a:cubicBezTo>
                    <a:cubicBezTo>
                      <a:pt x="282" y="62"/>
                      <a:pt x="282" y="62"/>
                      <a:pt x="282" y="62"/>
                    </a:cubicBezTo>
                    <a:cubicBezTo>
                      <a:pt x="66" y="62"/>
                      <a:pt x="66" y="62"/>
                      <a:pt x="66" y="62"/>
                    </a:cubicBezTo>
                    <a:cubicBezTo>
                      <a:pt x="64" y="62"/>
                      <a:pt x="63" y="63"/>
                      <a:pt x="62" y="64"/>
                    </a:cubicBezTo>
                    <a:cubicBezTo>
                      <a:pt x="10" y="115"/>
                      <a:pt x="10" y="115"/>
                      <a:pt x="10" y="115"/>
                    </a:cubicBezTo>
                    <a:cubicBezTo>
                      <a:pt x="8" y="117"/>
                      <a:pt x="8" y="121"/>
                      <a:pt x="10" y="123"/>
                    </a:cubicBezTo>
                    <a:cubicBezTo>
                      <a:pt x="62" y="174"/>
                      <a:pt x="62" y="174"/>
                      <a:pt x="62" y="174"/>
                    </a:cubicBezTo>
                    <a:cubicBezTo>
                      <a:pt x="64" y="176"/>
                      <a:pt x="67" y="176"/>
                      <a:pt x="69" y="174"/>
                    </a:cubicBezTo>
                    <a:cubicBezTo>
                      <a:pt x="96" y="147"/>
                      <a:pt x="96" y="147"/>
                      <a:pt x="96" y="147"/>
                    </a:cubicBezTo>
                    <a:cubicBezTo>
                      <a:pt x="123" y="174"/>
                      <a:pt x="123" y="174"/>
                      <a:pt x="123" y="174"/>
                    </a:cubicBezTo>
                    <a:cubicBezTo>
                      <a:pt x="125" y="176"/>
                      <a:pt x="129" y="176"/>
                      <a:pt x="131" y="174"/>
                    </a:cubicBezTo>
                    <a:cubicBezTo>
                      <a:pt x="157" y="148"/>
                      <a:pt x="157" y="148"/>
                      <a:pt x="157" y="148"/>
                    </a:cubicBezTo>
                    <a:cubicBezTo>
                      <a:pt x="183" y="175"/>
                      <a:pt x="183" y="175"/>
                      <a:pt x="183" y="175"/>
                    </a:cubicBezTo>
                    <a:cubicBezTo>
                      <a:pt x="184" y="177"/>
                      <a:pt x="186" y="177"/>
                      <a:pt x="187" y="177"/>
                    </a:cubicBezTo>
                    <a:cubicBezTo>
                      <a:pt x="189" y="177"/>
                      <a:pt x="190" y="177"/>
                      <a:pt x="191" y="176"/>
                    </a:cubicBezTo>
                    <a:lnTo>
                      <a:pt x="217" y="149"/>
                    </a:lnTo>
                    <a:close/>
                    <a:moveTo>
                      <a:pt x="377" y="216"/>
                    </a:moveTo>
                    <a:cubicBezTo>
                      <a:pt x="343" y="216"/>
                      <a:pt x="312" y="199"/>
                      <a:pt x="293" y="170"/>
                    </a:cubicBezTo>
                    <a:cubicBezTo>
                      <a:pt x="291" y="166"/>
                      <a:pt x="291" y="166"/>
                      <a:pt x="291" y="166"/>
                    </a:cubicBezTo>
                    <a:cubicBezTo>
                      <a:pt x="289" y="167"/>
                      <a:pt x="289" y="167"/>
                      <a:pt x="289" y="167"/>
                    </a:cubicBezTo>
                    <a:cubicBezTo>
                      <a:pt x="248" y="167"/>
                      <a:pt x="248" y="167"/>
                      <a:pt x="248" y="167"/>
                    </a:cubicBezTo>
                    <a:cubicBezTo>
                      <a:pt x="222" y="138"/>
                      <a:pt x="222" y="138"/>
                      <a:pt x="222" y="138"/>
                    </a:cubicBezTo>
                    <a:cubicBezTo>
                      <a:pt x="221" y="137"/>
                      <a:pt x="219" y="136"/>
                      <a:pt x="218" y="136"/>
                    </a:cubicBezTo>
                    <a:cubicBezTo>
                      <a:pt x="216" y="136"/>
                      <a:pt x="215" y="137"/>
                      <a:pt x="214" y="138"/>
                    </a:cubicBezTo>
                    <a:cubicBezTo>
                      <a:pt x="187" y="164"/>
                      <a:pt x="187" y="164"/>
                      <a:pt x="187" y="164"/>
                    </a:cubicBezTo>
                    <a:cubicBezTo>
                      <a:pt x="161" y="136"/>
                      <a:pt x="161" y="136"/>
                      <a:pt x="161" y="136"/>
                    </a:cubicBezTo>
                    <a:cubicBezTo>
                      <a:pt x="160" y="135"/>
                      <a:pt x="159" y="135"/>
                      <a:pt x="158" y="135"/>
                    </a:cubicBezTo>
                    <a:cubicBezTo>
                      <a:pt x="156" y="135"/>
                      <a:pt x="155" y="135"/>
                      <a:pt x="154" y="136"/>
                    </a:cubicBezTo>
                    <a:cubicBezTo>
                      <a:pt x="127" y="163"/>
                      <a:pt x="127" y="163"/>
                      <a:pt x="127" y="163"/>
                    </a:cubicBezTo>
                    <a:cubicBezTo>
                      <a:pt x="100" y="136"/>
                      <a:pt x="100" y="136"/>
                      <a:pt x="100" y="136"/>
                    </a:cubicBezTo>
                    <a:cubicBezTo>
                      <a:pt x="98" y="134"/>
                      <a:pt x="95" y="134"/>
                      <a:pt x="93" y="136"/>
                    </a:cubicBezTo>
                    <a:cubicBezTo>
                      <a:pt x="66" y="163"/>
                      <a:pt x="66" y="163"/>
                      <a:pt x="66" y="163"/>
                    </a:cubicBezTo>
                    <a:cubicBezTo>
                      <a:pt x="22" y="119"/>
                      <a:pt x="22" y="119"/>
                      <a:pt x="22" y="119"/>
                    </a:cubicBezTo>
                    <a:cubicBezTo>
                      <a:pt x="68" y="73"/>
                      <a:pt x="68" y="73"/>
                      <a:pt x="68" y="73"/>
                    </a:cubicBezTo>
                    <a:cubicBezTo>
                      <a:pt x="288" y="73"/>
                      <a:pt x="288" y="73"/>
                      <a:pt x="288" y="73"/>
                    </a:cubicBezTo>
                    <a:cubicBezTo>
                      <a:pt x="291" y="67"/>
                      <a:pt x="291" y="67"/>
                      <a:pt x="291" y="67"/>
                    </a:cubicBezTo>
                    <a:cubicBezTo>
                      <a:pt x="309" y="37"/>
                      <a:pt x="342" y="18"/>
                      <a:pt x="377" y="18"/>
                    </a:cubicBezTo>
                    <a:cubicBezTo>
                      <a:pt x="432" y="18"/>
                      <a:pt x="477" y="62"/>
                      <a:pt x="477" y="117"/>
                    </a:cubicBezTo>
                    <a:cubicBezTo>
                      <a:pt x="477" y="172"/>
                      <a:pt x="432" y="216"/>
                      <a:pt x="377" y="216"/>
                    </a:cubicBezTo>
                    <a:close/>
                    <a:moveTo>
                      <a:pt x="295" y="159"/>
                    </a:moveTo>
                    <a:cubicBezTo>
                      <a:pt x="299" y="166"/>
                      <a:pt x="299" y="166"/>
                      <a:pt x="299" y="166"/>
                    </a:cubicBezTo>
                    <a:cubicBezTo>
                      <a:pt x="316" y="193"/>
                      <a:pt x="346" y="209"/>
                      <a:pt x="377" y="209"/>
                    </a:cubicBezTo>
                    <a:cubicBezTo>
                      <a:pt x="428" y="209"/>
                      <a:pt x="469" y="168"/>
                      <a:pt x="469" y="117"/>
                    </a:cubicBezTo>
                    <a:cubicBezTo>
                      <a:pt x="469" y="66"/>
                      <a:pt x="428" y="25"/>
                      <a:pt x="377" y="25"/>
                    </a:cubicBezTo>
                    <a:cubicBezTo>
                      <a:pt x="344" y="25"/>
                      <a:pt x="314" y="42"/>
                      <a:pt x="297" y="71"/>
                    </a:cubicBezTo>
                    <a:cubicBezTo>
                      <a:pt x="292" y="80"/>
                      <a:pt x="292" y="80"/>
                      <a:pt x="292" y="80"/>
                    </a:cubicBezTo>
                    <a:cubicBezTo>
                      <a:pt x="288" y="80"/>
                      <a:pt x="288" y="80"/>
                      <a:pt x="288" y="80"/>
                    </a:cubicBezTo>
                    <a:cubicBezTo>
                      <a:pt x="71" y="80"/>
                      <a:pt x="71" y="80"/>
                      <a:pt x="71" y="80"/>
                    </a:cubicBezTo>
                    <a:cubicBezTo>
                      <a:pt x="32" y="119"/>
                      <a:pt x="32" y="119"/>
                      <a:pt x="32" y="119"/>
                    </a:cubicBezTo>
                    <a:cubicBezTo>
                      <a:pt x="66" y="153"/>
                      <a:pt x="66" y="153"/>
                      <a:pt x="66" y="153"/>
                    </a:cubicBezTo>
                    <a:cubicBezTo>
                      <a:pt x="88" y="131"/>
                      <a:pt x="88" y="131"/>
                      <a:pt x="88" y="131"/>
                    </a:cubicBezTo>
                    <a:cubicBezTo>
                      <a:pt x="92" y="127"/>
                      <a:pt x="100" y="127"/>
                      <a:pt x="105" y="131"/>
                    </a:cubicBezTo>
                    <a:cubicBezTo>
                      <a:pt x="127" y="153"/>
                      <a:pt x="127" y="153"/>
                      <a:pt x="127" y="153"/>
                    </a:cubicBezTo>
                    <a:cubicBezTo>
                      <a:pt x="149" y="131"/>
                      <a:pt x="149" y="131"/>
                      <a:pt x="149" y="131"/>
                    </a:cubicBezTo>
                    <a:cubicBezTo>
                      <a:pt x="151" y="129"/>
                      <a:pt x="154" y="128"/>
                      <a:pt x="157" y="128"/>
                    </a:cubicBezTo>
                    <a:cubicBezTo>
                      <a:pt x="161" y="128"/>
                      <a:pt x="164" y="129"/>
                      <a:pt x="167" y="132"/>
                    </a:cubicBezTo>
                    <a:cubicBezTo>
                      <a:pt x="187" y="154"/>
                      <a:pt x="187" y="154"/>
                      <a:pt x="187" y="154"/>
                    </a:cubicBezTo>
                    <a:cubicBezTo>
                      <a:pt x="209" y="133"/>
                      <a:pt x="209" y="133"/>
                      <a:pt x="209" y="133"/>
                    </a:cubicBezTo>
                    <a:cubicBezTo>
                      <a:pt x="211" y="130"/>
                      <a:pt x="214" y="129"/>
                      <a:pt x="218" y="129"/>
                    </a:cubicBezTo>
                    <a:cubicBezTo>
                      <a:pt x="221" y="129"/>
                      <a:pt x="225" y="130"/>
                      <a:pt x="227" y="133"/>
                    </a:cubicBezTo>
                    <a:cubicBezTo>
                      <a:pt x="251" y="159"/>
                      <a:pt x="251" y="159"/>
                      <a:pt x="251" y="159"/>
                    </a:cubicBezTo>
                    <a:cubicBezTo>
                      <a:pt x="287" y="159"/>
                      <a:pt x="287" y="159"/>
                      <a:pt x="287" y="159"/>
                    </a:cubicBezTo>
                    <a:lnTo>
                      <a:pt x="295"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3">
                <a:extLst>
                  <a:ext uri="{FF2B5EF4-FFF2-40B4-BE49-F238E27FC236}">
                    <a16:creationId xmlns:a16="http://schemas.microsoft.com/office/drawing/2014/main" id="{245E946E-4830-490E-9DD1-A2E4B14E0FDB}"/>
                  </a:ext>
                </a:extLst>
              </p:cNvPr>
              <p:cNvSpPr>
                <a:spLocks noEditPoints="1"/>
              </p:cNvSpPr>
              <p:nvPr/>
            </p:nvSpPr>
            <p:spPr bwMode="auto">
              <a:xfrm>
                <a:off x="7070" y="981"/>
                <a:ext cx="96" cy="96"/>
              </a:xfrm>
              <a:custGeom>
                <a:avLst/>
                <a:gdLst>
                  <a:gd name="T0" fmla="*/ 39 w 79"/>
                  <a:gd name="T1" fmla="*/ 79 h 79"/>
                  <a:gd name="T2" fmla="*/ 0 w 79"/>
                  <a:gd name="T3" fmla="*/ 40 h 79"/>
                  <a:gd name="T4" fmla="*/ 39 w 79"/>
                  <a:gd name="T5" fmla="*/ 0 h 79"/>
                  <a:gd name="T6" fmla="*/ 79 w 79"/>
                  <a:gd name="T7" fmla="*/ 40 h 79"/>
                  <a:gd name="T8" fmla="*/ 39 w 79"/>
                  <a:gd name="T9" fmla="*/ 79 h 79"/>
                  <a:gd name="T10" fmla="*/ 39 w 79"/>
                  <a:gd name="T11" fmla="*/ 18 h 79"/>
                  <a:gd name="T12" fmla="*/ 17 w 79"/>
                  <a:gd name="T13" fmla="*/ 40 h 79"/>
                  <a:gd name="T14" fmla="*/ 39 w 79"/>
                  <a:gd name="T15" fmla="*/ 62 h 79"/>
                  <a:gd name="T16" fmla="*/ 61 w 79"/>
                  <a:gd name="T17" fmla="*/ 40 h 79"/>
                  <a:gd name="T18" fmla="*/ 39 w 79"/>
                  <a:gd name="T19"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39" y="79"/>
                    </a:moveTo>
                    <a:cubicBezTo>
                      <a:pt x="17" y="79"/>
                      <a:pt x="0" y="62"/>
                      <a:pt x="0" y="40"/>
                    </a:cubicBezTo>
                    <a:cubicBezTo>
                      <a:pt x="0" y="18"/>
                      <a:pt x="17" y="0"/>
                      <a:pt x="39" y="0"/>
                    </a:cubicBezTo>
                    <a:cubicBezTo>
                      <a:pt x="61" y="0"/>
                      <a:pt x="79" y="18"/>
                      <a:pt x="79" y="40"/>
                    </a:cubicBezTo>
                    <a:cubicBezTo>
                      <a:pt x="79" y="62"/>
                      <a:pt x="61" y="79"/>
                      <a:pt x="39" y="79"/>
                    </a:cubicBezTo>
                    <a:close/>
                    <a:moveTo>
                      <a:pt x="39" y="18"/>
                    </a:moveTo>
                    <a:cubicBezTo>
                      <a:pt x="27" y="18"/>
                      <a:pt x="17" y="28"/>
                      <a:pt x="17" y="40"/>
                    </a:cubicBezTo>
                    <a:cubicBezTo>
                      <a:pt x="17" y="52"/>
                      <a:pt x="27" y="62"/>
                      <a:pt x="39" y="62"/>
                    </a:cubicBezTo>
                    <a:cubicBezTo>
                      <a:pt x="51" y="62"/>
                      <a:pt x="61" y="52"/>
                      <a:pt x="61" y="40"/>
                    </a:cubicBezTo>
                    <a:cubicBezTo>
                      <a:pt x="61" y="28"/>
                      <a:pt x="51" y="18"/>
                      <a:pt x="3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37">
              <a:extLst>
                <a:ext uri="{FF2B5EF4-FFF2-40B4-BE49-F238E27FC236}">
                  <a16:creationId xmlns:a16="http://schemas.microsoft.com/office/drawing/2014/main" id="{D5C47ADB-C82B-4494-B4A7-130DA5154658}"/>
                </a:ext>
              </a:extLst>
            </p:cNvPr>
            <p:cNvGrpSpPr>
              <a:grpSpLocks noChangeAspect="1"/>
            </p:cNvGrpSpPr>
            <p:nvPr/>
          </p:nvGrpSpPr>
          <p:grpSpPr bwMode="auto">
            <a:xfrm>
              <a:off x="4201843" y="2713976"/>
              <a:ext cx="727756" cy="773844"/>
              <a:chOff x="3268" y="2152"/>
              <a:chExt cx="679" cy="722"/>
            </a:xfrm>
            <a:solidFill>
              <a:schemeClr val="bg1"/>
            </a:solidFill>
          </p:grpSpPr>
          <p:sp>
            <p:nvSpPr>
              <p:cNvPr id="12" name="Freeform 38">
                <a:extLst>
                  <a:ext uri="{FF2B5EF4-FFF2-40B4-BE49-F238E27FC236}">
                    <a16:creationId xmlns:a16="http://schemas.microsoft.com/office/drawing/2014/main" id="{75102AE5-953A-476F-819A-973D974B5031}"/>
                  </a:ext>
                </a:extLst>
              </p:cNvPr>
              <p:cNvSpPr>
                <a:spLocks noEditPoints="1"/>
              </p:cNvSpPr>
              <p:nvPr/>
            </p:nvSpPr>
            <p:spPr bwMode="auto">
              <a:xfrm>
                <a:off x="3536" y="2152"/>
                <a:ext cx="144" cy="143"/>
              </a:xfrm>
              <a:custGeom>
                <a:avLst/>
                <a:gdLst>
                  <a:gd name="T0" fmla="*/ 79 w 158"/>
                  <a:gd name="T1" fmla="*/ 158 h 158"/>
                  <a:gd name="T2" fmla="*/ 0 w 158"/>
                  <a:gd name="T3" fmla="*/ 79 h 158"/>
                  <a:gd name="T4" fmla="*/ 79 w 158"/>
                  <a:gd name="T5" fmla="*/ 0 h 158"/>
                  <a:gd name="T6" fmla="*/ 158 w 158"/>
                  <a:gd name="T7" fmla="*/ 79 h 158"/>
                  <a:gd name="T8" fmla="*/ 79 w 158"/>
                  <a:gd name="T9" fmla="*/ 158 h 158"/>
                  <a:gd name="T10" fmla="*/ 79 w 158"/>
                  <a:gd name="T11" fmla="*/ 17 h 158"/>
                  <a:gd name="T12" fmla="*/ 17 w 158"/>
                  <a:gd name="T13" fmla="*/ 79 h 158"/>
                  <a:gd name="T14" fmla="*/ 79 w 158"/>
                  <a:gd name="T15" fmla="*/ 141 h 158"/>
                  <a:gd name="T16" fmla="*/ 140 w 158"/>
                  <a:gd name="T17" fmla="*/ 79 h 158"/>
                  <a:gd name="T18" fmla="*/ 79 w 158"/>
                  <a:gd name="T19" fmla="*/ 1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8">
                    <a:moveTo>
                      <a:pt x="79" y="158"/>
                    </a:moveTo>
                    <a:cubicBezTo>
                      <a:pt x="35" y="158"/>
                      <a:pt x="0" y="122"/>
                      <a:pt x="0" y="79"/>
                    </a:cubicBezTo>
                    <a:cubicBezTo>
                      <a:pt x="0" y="35"/>
                      <a:pt x="35" y="0"/>
                      <a:pt x="79" y="0"/>
                    </a:cubicBezTo>
                    <a:cubicBezTo>
                      <a:pt x="122" y="0"/>
                      <a:pt x="158" y="35"/>
                      <a:pt x="158" y="79"/>
                    </a:cubicBezTo>
                    <a:cubicBezTo>
                      <a:pt x="158" y="122"/>
                      <a:pt x="122" y="158"/>
                      <a:pt x="79" y="158"/>
                    </a:cubicBezTo>
                    <a:close/>
                    <a:moveTo>
                      <a:pt x="79" y="17"/>
                    </a:moveTo>
                    <a:cubicBezTo>
                      <a:pt x="45" y="17"/>
                      <a:pt x="17" y="45"/>
                      <a:pt x="17" y="79"/>
                    </a:cubicBezTo>
                    <a:cubicBezTo>
                      <a:pt x="17" y="113"/>
                      <a:pt x="45" y="141"/>
                      <a:pt x="79" y="141"/>
                    </a:cubicBezTo>
                    <a:cubicBezTo>
                      <a:pt x="113" y="141"/>
                      <a:pt x="140" y="113"/>
                      <a:pt x="140" y="79"/>
                    </a:cubicBezTo>
                    <a:cubicBezTo>
                      <a:pt x="140" y="45"/>
                      <a:pt x="113" y="17"/>
                      <a:pt x="7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3" name="Freeform 39">
                <a:extLst>
                  <a:ext uri="{FF2B5EF4-FFF2-40B4-BE49-F238E27FC236}">
                    <a16:creationId xmlns:a16="http://schemas.microsoft.com/office/drawing/2014/main" id="{84FD3EAD-0A5F-4409-8E6E-9DD48FAC7B6E}"/>
                  </a:ext>
                </a:extLst>
              </p:cNvPr>
              <p:cNvSpPr>
                <a:spLocks/>
              </p:cNvSpPr>
              <p:nvPr/>
            </p:nvSpPr>
            <p:spPr bwMode="auto">
              <a:xfrm>
                <a:off x="3522" y="2573"/>
                <a:ext cx="46" cy="301"/>
              </a:xfrm>
              <a:custGeom>
                <a:avLst/>
                <a:gdLst>
                  <a:gd name="T0" fmla="*/ 31 w 46"/>
                  <a:gd name="T1" fmla="*/ 301 h 301"/>
                  <a:gd name="T2" fmla="*/ 0 w 46"/>
                  <a:gd name="T3" fmla="*/ 2 h 301"/>
                  <a:gd name="T4" fmla="*/ 16 w 46"/>
                  <a:gd name="T5" fmla="*/ 0 h 301"/>
                  <a:gd name="T6" fmla="*/ 46 w 46"/>
                  <a:gd name="T7" fmla="*/ 301 h 301"/>
                  <a:gd name="T8" fmla="*/ 31 w 46"/>
                  <a:gd name="T9" fmla="*/ 301 h 301"/>
                </a:gdLst>
                <a:ahLst/>
                <a:cxnLst>
                  <a:cxn ang="0">
                    <a:pos x="T0" y="T1"/>
                  </a:cxn>
                  <a:cxn ang="0">
                    <a:pos x="T2" y="T3"/>
                  </a:cxn>
                  <a:cxn ang="0">
                    <a:pos x="T4" y="T5"/>
                  </a:cxn>
                  <a:cxn ang="0">
                    <a:pos x="T6" y="T7"/>
                  </a:cxn>
                  <a:cxn ang="0">
                    <a:pos x="T8" y="T9"/>
                  </a:cxn>
                </a:cxnLst>
                <a:rect l="0" t="0" r="r" b="b"/>
                <a:pathLst>
                  <a:path w="46" h="301">
                    <a:moveTo>
                      <a:pt x="31" y="301"/>
                    </a:moveTo>
                    <a:lnTo>
                      <a:pt x="0" y="2"/>
                    </a:lnTo>
                    <a:lnTo>
                      <a:pt x="16" y="0"/>
                    </a:lnTo>
                    <a:lnTo>
                      <a:pt x="46" y="301"/>
                    </a:lnTo>
                    <a:lnTo>
                      <a:pt x="31"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4" name="Freeform 40">
                <a:extLst>
                  <a:ext uri="{FF2B5EF4-FFF2-40B4-BE49-F238E27FC236}">
                    <a16:creationId xmlns:a16="http://schemas.microsoft.com/office/drawing/2014/main" id="{499523F0-2C6B-4CA3-A4DC-491FBBAED9DC}"/>
                  </a:ext>
                </a:extLst>
              </p:cNvPr>
              <p:cNvSpPr>
                <a:spLocks/>
              </p:cNvSpPr>
              <p:nvPr/>
            </p:nvSpPr>
            <p:spPr bwMode="auto">
              <a:xfrm>
                <a:off x="3651" y="2573"/>
                <a:ext cx="42" cy="301"/>
              </a:xfrm>
              <a:custGeom>
                <a:avLst/>
                <a:gdLst>
                  <a:gd name="T0" fmla="*/ 15 w 42"/>
                  <a:gd name="T1" fmla="*/ 301 h 301"/>
                  <a:gd name="T2" fmla="*/ 0 w 42"/>
                  <a:gd name="T3" fmla="*/ 301 h 301"/>
                  <a:gd name="T4" fmla="*/ 27 w 42"/>
                  <a:gd name="T5" fmla="*/ 0 h 301"/>
                  <a:gd name="T6" fmla="*/ 42 w 42"/>
                  <a:gd name="T7" fmla="*/ 1 h 301"/>
                  <a:gd name="T8" fmla="*/ 15 w 42"/>
                  <a:gd name="T9" fmla="*/ 301 h 301"/>
                </a:gdLst>
                <a:ahLst/>
                <a:cxnLst>
                  <a:cxn ang="0">
                    <a:pos x="T0" y="T1"/>
                  </a:cxn>
                  <a:cxn ang="0">
                    <a:pos x="T2" y="T3"/>
                  </a:cxn>
                  <a:cxn ang="0">
                    <a:pos x="T4" y="T5"/>
                  </a:cxn>
                  <a:cxn ang="0">
                    <a:pos x="T6" y="T7"/>
                  </a:cxn>
                  <a:cxn ang="0">
                    <a:pos x="T8" y="T9"/>
                  </a:cxn>
                </a:cxnLst>
                <a:rect l="0" t="0" r="r" b="b"/>
                <a:pathLst>
                  <a:path w="42" h="301">
                    <a:moveTo>
                      <a:pt x="15" y="301"/>
                    </a:moveTo>
                    <a:lnTo>
                      <a:pt x="0" y="301"/>
                    </a:lnTo>
                    <a:lnTo>
                      <a:pt x="27" y="0"/>
                    </a:lnTo>
                    <a:lnTo>
                      <a:pt x="42" y="1"/>
                    </a:lnTo>
                    <a:lnTo>
                      <a:pt x="15"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5" name="Rectangle 41">
                <a:extLst>
                  <a:ext uri="{FF2B5EF4-FFF2-40B4-BE49-F238E27FC236}">
                    <a16:creationId xmlns:a16="http://schemas.microsoft.com/office/drawing/2014/main" id="{6858FA13-D228-4A42-BE66-D78853813078}"/>
                  </a:ext>
                </a:extLst>
              </p:cNvPr>
              <p:cNvSpPr>
                <a:spLocks noChangeArrowheads="1"/>
              </p:cNvSpPr>
              <p:nvPr/>
            </p:nvSpPr>
            <p:spPr bwMode="auto">
              <a:xfrm>
                <a:off x="3600" y="2670"/>
                <a:ext cx="15" cy="2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6" name="Freeform 42">
                <a:extLst>
                  <a:ext uri="{FF2B5EF4-FFF2-40B4-BE49-F238E27FC236}">
                    <a16:creationId xmlns:a16="http://schemas.microsoft.com/office/drawing/2014/main" id="{5B2746F7-2B00-4115-A0CC-0812A23DDB97}"/>
                  </a:ext>
                </a:extLst>
              </p:cNvPr>
              <p:cNvSpPr>
                <a:spLocks/>
              </p:cNvSpPr>
              <p:nvPr/>
            </p:nvSpPr>
            <p:spPr bwMode="auto">
              <a:xfrm>
                <a:off x="3486" y="2309"/>
                <a:ext cx="243" cy="328"/>
              </a:xfrm>
              <a:custGeom>
                <a:avLst/>
                <a:gdLst>
                  <a:gd name="T0" fmla="*/ 48 w 269"/>
                  <a:gd name="T1" fmla="*/ 363 h 363"/>
                  <a:gd name="T2" fmla="*/ 15 w 269"/>
                  <a:gd name="T3" fmla="*/ 319 h 363"/>
                  <a:gd name="T4" fmla="*/ 3 w 269"/>
                  <a:gd name="T5" fmla="*/ 167 h 363"/>
                  <a:gd name="T6" fmla="*/ 1 w 269"/>
                  <a:gd name="T7" fmla="*/ 129 h 363"/>
                  <a:gd name="T8" fmla="*/ 128 w 269"/>
                  <a:gd name="T9" fmla="*/ 0 h 363"/>
                  <a:gd name="T10" fmla="*/ 143 w 269"/>
                  <a:gd name="T11" fmla="*/ 0 h 363"/>
                  <a:gd name="T12" fmla="*/ 269 w 269"/>
                  <a:gd name="T13" fmla="*/ 127 h 363"/>
                  <a:gd name="T14" fmla="*/ 267 w 269"/>
                  <a:gd name="T15" fmla="*/ 165 h 363"/>
                  <a:gd name="T16" fmla="*/ 254 w 269"/>
                  <a:gd name="T17" fmla="*/ 319 h 363"/>
                  <a:gd name="T18" fmla="*/ 223 w 269"/>
                  <a:gd name="T19" fmla="*/ 362 h 363"/>
                  <a:gd name="T20" fmla="*/ 210 w 269"/>
                  <a:gd name="T21" fmla="*/ 353 h 363"/>
                  <a:gd name="T22" fmla="*/ 239 w 269"/>
                  <a:gd name="T23" fmla="*/ 314 h 363"/>
                  <a:gd name="T24" fmla="*/ 251 w 269"/>
                  <a:gd name="T25" fmla="*/ 164 h 363"/>
                  <a:gd name="T26" fmla="*/ 253 w 269"/>
                  <a:gd name="T27" fmla="*/ 127 h 363"/>
                  <a:gd name="T28" fmla="*/ 143 w 269"/>
                  <a:gd name="T29" fmla="*/ 16 h 363"/>
                  <a:gd name="T30" fmla="*/ 128 w 269"/>
                  <a:gd name="T31" fmla="*/ 16 h 363"/>
                  <a:gd name="T32" fmla="*/ 16 w 269"/>
                  <a:gd name="T33" fmla="*/ 128 h 363"/>
                  <a:gd name="T34" fmla="*/ 18 w 269"/>
                  <a:gd name="T35" fmla="*/ 166 h 363"/>
                  <a:gd name="T36" fmla="*/ 31 w 269"/>
                  <a:gd name="T37" fmla="*/ 313 h 363"/>
                  <a:gd name="T38" fmla="*/ 60 w 269"/>
                  <a:gd name="T39" fmla="*/ 353 h 363"/>
                  <a:gd name="T40" fmla="*/ 48 w 269"/>
                  <a:gd name="T41"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363">
                    <a:moveTo>
                      <a:pt x="48" y="363"/>
                    </a:moveTo>
                    <a:cubicBezTo>
                      <a:pt x="15" y="319"/>
                      <a:pt x="15" y="319"/>
                      <a:pt x="15" y="319"/>
                    </a:cubicBezTo>
                    <a:cubicBezTo>
                      <a:pt x="3" y="167"/>
                      <a:pt x="3" y="167"/>
                      <a:pt x="3" y="167"/>
                    </a:cubicBezTo>
                    <a:cubicBezTo>
                      <a:pt x="1" y="129"/>
                      <a:pt x="1" y="129"/>
                      <a:pt x="1" y="129"/>
                    </a:cubicBezTo>
                    <a:cubicBezTo>
                      <a:pt x="0" y="58"/>
                      <a:pt x="58" y="0"/>
                      <a:pt x="128" y="0"/>
                    </a:cubicBezTo>
                    <a:cubicBezTo>
                      <a:pt x="143" y="0"/>
                      <a:pt x="143" y="0"/>
                      <a:pt x="143" y="0"/>
                    </a:cubicBezTo>
                    <a:cubicBezTo>
                      <a:pt x="213" y="0"/>
                      <a:pt x="269" y="57"/>
                      <a:pt x="269" y="127"/>
                    </a:cubicBezTo>
                    <a:cubicBezTo>
                      <a:pt x="267" y="165"/>
                      <a:pt x="267" y="165"/>
                      <a:pt x="267" y="165"/>
                    </a:cubicBezTo>
                    <a:cubicBezTo>
                      <a:pt x="254" y="319"/>
                      <a:pt x="254" y="319"/>
                      <a:pt x="254" y="319"/>
                    </a:cubicBezTo>
                    <a:cubicBezTo>
                      <a:pt x="223" y="362"/>
                      <a:pt x="223" y="362"/>
                      <a:pt x="223" y="362"/>
                    </a:cubicBezTo>
                    <a:cubicBezTo>
                      <a:pt x="210" y="353"/>
                      <a:pt x="210" y="353"/>
                      <a:pt x="210" y="353"/>
                    </a:cubicBezTo>
                    <a:cubicBezTo>
                      <a:pt x="239" y="314"/>
                      <a:pt x="239" y="314"/>
                      <a:pt x="239" y="314"/>
                    </a:cubicBezTo>
                    <a:cubicBezTo>
                      <a:pt x="251" y="164"/>
                      <a:pt x="251" y="164"/>
                      <a:pt x="251" y="164"/>
                    </a:cubicBezTo>
                    <a:cubicBezTo>
                      <a:pt x="253" y="127"/>
                      <a:pt x="253" y="127"/>
                      <a:pt x="253" y="127"/>
                    </a:cubicBezTo>
                    <a:cubicBezTo>
                      <a:pt x="253" y="66"/>
                      <a:pt x="204" y="16"/>
                      <a:pt x="143" y="16"/>
                    </a:cubicBezTo>
                    <a:cubicBezTo>
                      <a:pt x="128" y="16"/>
                      <a:pt x="128" y="16"/>
                      <a:pt x="128" y="16"/>
                    </a:cubicBezTo>
                    <a:cubicBezTo>
                      <a:pt x="66" y="16"/>
                      <a:pt x="16" y="66"/>
                      <a:pt x="16" y="128"/>
                    </a:cubicBezTo>
                    <a:cubicBezTo>
                      <a:pt x="18" y="166"/>
                      <a:pt x="18" y="166"/>
                      <a:pt x="18" y="166"/>
                    </a:cubicBezTo>
                    <a:cubicBezTo>
                      <a:pt x="31" y="313"/>
                      <a:pt x="31" y="313"/>
                      <a:pt x="31" y="313"/>
                    </a:cubicBezTo>
                    <a:cubicBezTo>
                      <a:pt x="60" y="353"/>
                      <a:pt x="60" y="353"/>
                      <a:pt x="60" y="353"/>
                    </a:cubicBezTo>
                    <a:lnTo>
                      <a:pt x="48"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7" name="Freeform 43">
                <a:extLst>
                  <a:ext uri="{FF2B5EF4-FFF2-40B4-BE49-F238E27FC236}">
                    <a16:creationId xmlns:a16="http://schemas.microsoft.com/office/drawing/2014/main" id="{F7F44210-529B-43C5-BA53-B4F95710F74E}"/>
                  </a:ext>
                </a:extLst>
              </p:cNvPr>
              <p:cNvSpPr>
                <a:spLocks noEditPoints="1"/>
              </p:cNvSpPr>
              <p:nvPr/>
            </p:nvSpPr>
            <p:spPr bwMode="auto">
              <a:xfrm>
                <a:off x="3313" y="2202"/>
                <a:ext cx="130" cy="128"/>
              </a:xfrm>
              <a:custGeom>
                <a:avLst/>
                <a:gdLst>
                  <a:gd name="T0" fmla="*/ 71 w 143"/>
                  <a:gd name="T1" fmla="*/ 142 h 142"/>
                  <a:gd name="T2" fmla="*/ 0 w 143"/>
                  <a:gd name="T3" fmla="*/ 71 h 142"/>
                  <a:gd name="T4" fmla="*/ 71 w 143"/>
                  <a:gd name="T5" fmla="*/ 0 h 142"/>
                  <a:gd name="T6" fmla="*/ 143 w 143"/>
                  <a:gd name="T7" fmla="*/ 71 h 142"/>
                  <a:gd name="T8" fmla="*/ 71 w 143"/>
                  <a:gd name="T9" fmla="*/ 142 h 142"/>
                  <a:gd name="T10" fmla="*/ 71 w 143"/>
                  <a:gd name="T11" fmla="*/ 17 h 142"/>
                  <a:gd name="T12" fmla="*/ 17 w 143"/>
                  <a:gd name="T13" fmla="*/ 71 h 142"/>
                  <a:gd name="T14" fmla="*/ 71 w 143"/>
                  <a:gd name="T15" fmla="*/ 125 h 142"/>
                  <a:gd name="T16" fmla="*/ 125 w 143"/>
                  <a:gd name="T17" fmla="*/ 71 h 142"/>
                  <a:gd name="T18" fmla="*/ 71 w 143"/>
                  <a:gd name="T19"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2">
                    <a:moveTo>
                      <a:pt x="71" y="142"/>
                    </a:moveTo>
                    <a:cubicBezTo>
                      <a:pt x="32" y="142"/>
                      <a:pt x="0" y="110"/>
                      <a:pt x="0" y="71"/>
                    </a:cubicBezTo>
                    <a:cubicBezTo>
                      <a:pt x="0" y="32"/>
                      <a:pt x="32" y="0"/>
                      <a:pt x="71" y="0"/>
                    </a:cubicBezTo>
                    <a:cubicBezTo>
                      <a:pt x="111" y="0"/>
                      <a:pt x="143" y="32"/>
                      <a:pt x="143" y="71"/>
                    </a:cubicBezTo>
                    <a:cubicBezTo>
                      <a:pt x="143" y="110"/>
                      <a:pt x="111" y="142"/>
                      <a:pt x="71" y="142"/>
                    </a:cubicBezTo>
                    <a:close/>
                    <a:moveTo>
                      <a:pt x="71" y="17"/>
                    </a:moveTo>
                    <a:cubicBezTo>
                      <a:pt x="41" y="17"/>
                      <a:pt x="17" y="41"/>
                      <a:pt x="17" y="71"/>
                    </a:cubicBezTo>
                    <a:cubicBezTo>
                      <a:pt x="17" y="101"/>
                      <a:pt x="41" y="125"/>
                      <a:pt x="71" y="125"/>
                    </a:cubicBezTo>
                    <a:cubicBezTo>
                      <a:pt x="101" y="125"/>
                      <a:pt x="125" y="101"/>
                      <a:pt x="125" y="71"/>
                    </a:cubicBezTo>
                    <a:cubicBezTo>
                      <a:pt x="125" y="41"/>
                      <a:pt x="101" y="17"/>
                      <a:pt x="7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8" name="Freeform 44">
                <a:extLst>
                  <a:ext uri="{FF2B5EF4-FFF2-40B4-BE49-F238E27FC236}">
                    <a16:creationId xmlns:a16="http://schemas.microsoft.com/office/drawing/2014/main" id="{6F37C132-8CAA-4E3F-868F-0E56A7EBC7CE}"/>
                  </a:ext>
                </a:extLst>
              </p:cNvPr>
              <p:cNvSpPr>
                <a:spLocks/>
              </p:cNvSpPr>
              <p:nvPr/>
            </p:nvSpPr>
            <p:spPr bwMode="auto">
              <a:xfrm>
                <a:off x="3268" y="2341"/>
                <a:ext cx="196" cy="301"/>
              </a:xfrm>
              <a:custGeom>
                <a:avLst/>
                <a:gdLst>
                  <a:gd name="T0" fmla="*/ 66 w 216"/>
                  <a:gd name="T1" fmla="*/ 334 h 334"/>
                  <a:gd name="T2" fmla="*/ 13 w 216"/>
                  <a:gd name="T3" fmla="*/ 288 h 334"/>
                  <a:gd name="T4" fmla="*/ 2 w 216"/>
                  <a:gd name="T5" fmla="*/ 151 h 334"/>
                  <a:gd name="T6" fmla="*/ 0 w 216"/>
                  <a:gd name="T7" fmla="*/ 117 h 334"/>
                  <a:gd name="T8" fmla="*/ 115 w 216"/>
                  <a:gd name="T9" fmla="*/ 0 h 334"/>
                  <a:gd name="T10" fmla="*/ 129 w 216"/>
                  <a:gd name="T11" fmla="*/ 0 h 334"/>
                  <a:gd name="T12" fmla="*/ 216 w 216"/>
                  <a:gd name="T13" fmla="*/ 41 h 334"/>
                  <a:gd name="T14" fmla="*/ 203 w 216"/>
                  <a:gd name="T15" fmla="*/ 52 h 334"/>
                  <a:gd name="T16" fmla="*/ 129 w 216"/>
                  <a:gd name="T17" fmla="*/ 17 h 334"/>
                  <a:gd name="T18" fmla="*/ 115 w 216"/>
                  <a:gd name="T19" fmla="*/ 17 h 334"/>
                  <a:gd name="T20" fmla="*/ 17 w 216"/>
                  <a:gd name="T21" fmla="*/ 116 h 334"/>
                  <a:gd name="T22" fmla="*/ 19 w 216"/>
                  <a:gd name="T23" fmla="*/ 150 h 334"/>
                  <a:gd name="T24" fmla="*/ 30 w 216"/>
                  <a:gd name="T25" fmla="*/ 280 h 334"/>
                  <a:gd name="T26" fmla="*/ 77 w 216"/>
                  <a:gd name="T27" fmla="*/ 322 h 334"/>
                  <a:gd name="T28" fmla="*/ 66 w 216"/>
                  <a:gd name="T2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334">
                    <a:moveTo>
                      <a:pt x="66" y="334"/>
                    </a:moveTo>
                    <a:cubicBezTo>
                      <a:pt x="13" y="288"/>
                      <a:pt x="13" y="288"/>
                      <a:pt x="13" y="288"/>
                    </a:cubicBezTo>
                    <a:cubicBezTo>
                      <a:pt x="2" y="151"/>
                      <a:pt x="2" y="151"/>
                      <a:pt x="2" y="151"/>
                    </a:cubicBezTo>
                    <a:cubicBezTo>
                      <a:pt x="0" y="117"/>
                      <a:pt x="0" y="117"/>
                      <a:pt x="0" y="117"/>
                    </a:cubicBezTo>
                    <a:cubicBezTo>
                      <a:pt x="0" y="52"/>
                      <a:pt x="52" y="0"/>
                      <a:pt x="115" y="0"/>
                    </a:cubicBezTo>
                    <a:cubicBezTo>
                      <a:pt x="129" y="0"/>
                      <a:pt x="129" y="0"/>
                      <a:pt x="129" y="0"/>
                    </a:cubicBezTo>
                    <a:cubicBezTo>
                      <a:pt x="163" y="0"/>
                      <a:pt x="195" y="15"/>
                      <a:pt x="216" y="41"/>
                    </a:cubicBezTo>
                    <a:cubicBezTo>
                      <a:pt x="203" y="52"/>
                      <a:pt x="203" y="52"/>
                      <a:pt x="203" y="52"/>
                    </a:cubicBezTo>
                    <a:cubicBezTo>
                      <a:pt x="185" y="30"/>
                      <a:pt x="158" y="17"/>
                      <a:pt x="129" y="17"/>
                    </a:cubicBezTo>
                    <a:cubicBezTo>
                      <a:pt x="115" y="17"/>
                      <a:pt x="115" y="17"/>
                      <a:pt x="115" y="17"/>
                    </a:cubicBezTo>
                    <a:cubicBezTo>
                      <a:pt x="61" y="17"/>
                      <a:pt x="17" y="62"/>
                      <a:pt x="17" y="116"/>
                    </a:cubicBezTo>
                    <a:cubicBezTo>
                      <a:pt x="19" y="150"/>
                      <a:pt x="19" y="150"/>
                      <a:pt x="19" y="150"/>
                    </a:cubicBezTo>
                    <a:cubicBezTo>
                      <a:pt x="30" y="280"/>
                      <a:pt x="30" y="280"/>
                      <a:pt x="30" y="280"/>
                    </a:cubicBezTo>
                    <a:cubicBezTo>
                      <a:pt x="77" y="322"/>
                      <a:pt x="77" y="322"/>
                      <a:pt x="77" y="322"/>
                    </a:cubicBezTo>
                    <a:lnTo>
                      <a:pt x="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9" name="Freeform 45">
                <a:extLst>
                  <a:ext uri="{FF2B5EF4-FFF2-40B4-BE49-F238E27FC236}">
                    <a16:creationId xmlns:a16="http://schemas.microsoft.com/office/drawing/2014/main" id="{E4038CFE-304F-4835-90FA-EA697672ED28}"/>
                  </a:ext>
                </a:extLst>
              </p:cNvPr>
              <p:cNvSpPr>
                <a:spLocks/>
              </p:cNvSpPr>
              <p:nvPr/>
            </p:nvSpPr>
            <p:spPr bwMode="auto">
              <a:xfrm>
                <a:off x="3311" y="2571"/>
                <a:ext cx="62" cy="234"/>
              </a:xfrm>
              <a:custGeom>
                <a:avLst/>
                <a:gdLst>
                  <a:gd name="T0" fmla="*/ 47 w 62"/>
                  <a:gd name="T1" fmla="*/ 234 h 234"/>
                  <a:gd name="T2" fmla="*/ 0 w 62"/>
                  <a:gd name="T3" fmla="*/ 0 h 234"/>
                  <a:gd name="T4" fmla="*/ 16 w 62"/>
                  <a:gd name="T5" fmla="*/ 0 h 234"/>
                  <a:gd name="T6" fmla="*/ 62 w 62"/>
                  <a:gd name="T7" fmla="*/ 234 h 234"/>
                  <a:gd name="T8" fmla="*/ 47 w 62"/>
                  <a:gd name="T9" fmla="*/ 234 h 234"/>
                </a:gdLst>
                <a:ahLst/>
                <a:cxnLst>
                  <a:cxn ang="0">
                    <a:pos x="T0" y="T1"/>
                  </a:cxn>
                  <a:cxn ang="0">
                    <a:pos x="T2" y="T3"/>
                  </a:cxn>
                  <a:cxn ang="0">
                    <a:pos x="T4" y="T5"/>
                  </a:cxn>
                  <a:cxn ang="0">
                    <a:pos x="T6" y="T7"/>
                  </a:cxn>
                  <a:cxn ang="0">
                    <a:pos x="T8" y="T9"/>
                  </a:cxn>
                </a:cxnLst>
                <a:rect l="0" t="0" r="r" b="b"/>
                <a:pathLst>
                  <a:path w="62" h="234">
                    <a:moveTo>
                      <a:pt x="47" y="234"/>
                    </a:moveTo>
                    <a:lnTo>
                      <a:pt x="0" y="0"/>
                    </a:lnTo>
                    <a:lnTo>
                      <a:pt x="16" y="0"/>
                    </a:lnTo>
                    <a:lnTo>
                      <a:pt x="62" y="234"/>
                    </a:lnTo>
                    <a:lnTo>
                      <a:pt x="47"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20" name="Freeform 46">
                <a:extLst>
                  <a:ext uri="{FF2B5EF4-FFF2-40B4-BE49-F238E27FC236}">
                    <a16:creationId xmlns:a16="http://schemas.microsoft.com/office/drawing/2014/main" id="{4F97288C-AE01-4F7A-AF99-82F79452F92F}"/>
                  </a:ext>
                </a:extLst>
              </p:cNvPr>
              <p:cNvSpPr>
                <a:spLocks noEditPoints="1"/>
              </p:cNvSpPr>
              <p:nvPr/>
            </p:nvSpPr>
            <p:spPr bwMode="auto">
              <a:xfrm>
                <a:off x="3773" y="2202"/>
                <a:ext cx="129" cy="128"/>
              </a:xfrm>
              <a:custGeom>
                <a:avLst/>
                <a:gdLst>
                  <a:gd name="T0" fmla="*/ 71 w 142"/>
                  <a:gd name="T1" fmla="*/ 142 h 142"/>
                  <a:gd name="T2" fmla="*/ 0 w 142"/>
                  <a:gd name="T3" fmla="*/ 71 h 142"/>
                  <a:gd name="T4" fmla="*/ 71 w 142"/>
                  <a:gd name="T5" fmla="*/ 0 h 142"/>
                  <a:gd name="T6" fmla="*/ 142 w 142"/>
                  <a:gd name="T7" fmla="*/ 71 h 142"/>
                  <a:gd name="T8" fmla="*/ 71 w 142"/>
                  <a:gd name="T9" fmla="*/ 142 h 142"/>
                  <a:gd name="T10" fmla="*/ 71 w 142"/>
                  <a:gd name="T11" fmla="*/ 17 h 142"/>
                  <a:gd name="T12" fmla="*/ 17 w 142"/>
                  <a:gd name="T13" fmla="*/ 71 h 142"/>
                  <a:gd name="T14" fmla="*/ 71 w 142"/>
                  <a:gd name="T15" fmla="*/ 125 h 142"/>
                  <a:gd name="T16" fmla="*/ 125 w 142"/>
                  <a:gd name="T17" fmla="*/ 71 h 142"/>
                  <a:gd name="T18" fmla="*/ 71 w 142"/>
                  <a:gd name="T19"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142">
                    <a:moveTo>
                      <a:pt x="71" y="142"/>
                    </a:moveTo>
                    <a:cubicBezTo>
                      <a:pt x="32" y="142"/>
                      <a:pt x="0" y="110"/>
                      <a:pt x="0" y="71"/>
                    </a:cubicBezTo>
                    <a:cubicBezTo>
                      <a:pt x="0" y="32"/>
                      <a:pt x="32" y="0"/>
                      <a:pt x="71" y="0"/>
                    </a:cubicBezTo>
                    <a:cubicBezTo>
                      <a:pt x="110" y="0"/>
                      <a:pt x="142" y="32"/>
                      <a:pt x="142" y="71"/>
                    </a:cubicBezTo>
                    <a:cubicBezTo>
                      <a:pt x="142" y="110"/>
                      <a:pt x="110" y="142"/>
                      <a:pt x="71" y="142"/>
                    </a:cubicBezTo>
                    <a:close/>
                    <a:moveTo>
                      <a:pt x="71" y="17"/>
                    </a:moveTo>
                    <a:cubicBezTo>
                      <a:pt x="41" y="17"/>
                      <a:pt x="17" y="41"/>
                      <a:pt x="17" y="71"/>
                    </a:cubicBezTo>
                    <a:cubicBezTo>
                      <a:pt x="17" y="101"/>
                      <a:pt x="41" y="125"/>
                      <a:pt x="71" y="125"/>
                    </a:cubicBezTo>
                    <a:cubicBezTo>
                      <a:pt x="101" y="125"/>
                      <a:pt x="125" y="101"/>
                      <a:pt x="125" y="71"/>
                    </a:cubicBezTo>
                    <a:cubicBezTo>
                      <a:pt x="125" y="41"/>
                      <a:pt x="101" y="17"/>
                      <a:pt x="7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21" name="Freeform 47">
                <a:extLst>
                  <a:ext uri="{FF2B5EF4-FFF2-40B4-BE49-F238E27FC236}">
                    <a16:creationId xmlns:a16="http://schemas.microsoft.com/office/drawing/2014/main" id="{0E17664E-AE20-496B-A59C-334961784E0B}"/>
                  </a:ext>
                </a:extLst>
              </p:cNvPr>
              <p:cNvSpPr>
                <a:spLocks/>
              </p:cNvSpPr>
              <p:nvPr/>
            </p:nvSpPr>
            <p:spPr bwMode="auto">
              <a:xfrm>
                <a:off x="3751" y="2341"/>
                <a:ext cx="196" cy="301"/>
              </a:xfrm>
              <a:custGeom>
                <a:avLst/>
                <a:gdLst>
                  <a:gd name="T0" fmla="*/ 150 w 216"/>
                  <a:gd name="T1" fmla="*/ 334 h 334"/>
                  <a:gd name="T2" fmla="*/ 139 w 216"/>
                  <a:gd name="T3" fmla="*/ 322 h 334"/>
                  <a:gd name="T4" fmla="*/ 187 w 216"/>
                  <a:gd name="T5" fmla="*/ 280 h 334"/>
                  <a:gd name="T6" fmla="*/ 197 w 216"/>
                  <a:gd name="T7" fmla="*/ 149 h 334"/>
                  <a:gd name="T8" fmla="*/ 199 w 216"/>
                  <a:gd name="T9" fmla="*/ 116 h 334"/>
                  <a:gd name="T10" fmla="*/ 101 w 216"/>
                  <a:gd name="T11" fmla="*/ 17 h 334"/>
                  <a:gd name="T12" fmla="*/ 88 w 216"/>
                  <a:gd name="T13" fmla="*/ 17 h 334"/>
                  <a:gd name="T14" fmla="*/ 13 w 216"/>
                  <a:gd name="T15" fmla="*/ 52 h 334"/>
                  <a:gd name="T16" fmla="*/ 0 w 216"/>
                  <a:gd name="T17" fmla="*/ 41 h 334"/>
                  <a:gd name="T18" fmla="*/ 88 w 216"/>
                  <a:gd name="T19" fmla="*/ 0 h 334"/>
                  <a:gd name="T20" fmla="*/ 101 w 216"/>
                  <a:gd name="T21" fmla="*/ 0 h 334"/>
                  <a:gd name="T22" fmla="*/ 216 w 216"/>
                  <a:gd name="T23" fmla="*/ 116 h 334"/>
                  <a:gd name="T24" fmla="*/ 214 w 216"/>
                  <a:gd name="T25" fmla="*/ 151 h 334"/>
                  <a:gd name="T26" fmla="*/ 203 w 216"/>
                  <a:gd name="T27" fmla="*/ 288 h 334"/>
                  <a:gd name="T28" fmla="*/ 150 w 216"/>
                  <a:gd name="T29" fmla="*/ 3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6" h="334">
                    <a:moveTo>
                      <a:pt x="150" y="334"/>
                    </a:moveTo>
                    <a:cubicBezTo>
                      <a:pt x="139" y="322"/>
                      <a:pt x="139" y="322"/>
                      <a:pt x="139" y="322"/>
                    </a:cubicBezTo>
                    <a:cubicBezTo>
                      <a:pt x="187" y="280"/>
                      <a:pt x="187" y="280"/>
                      <a:pt x="187" y="280"/>
                    </a:cubicBezTo>
                    <a:cubicBezTo>
                      <a:pt x="197" y="149"/>
                      <a:pt x="197" y="149"/>
                      <a:pt x="197" y="149"/>
                    </a:cubicBezTo>
                    <a:cubicBezTo>
                      <a:pt x="199" y="116"/>
                      <a:pt x="199" y="116"/>
                      <a:pt x="199" y="116"/>
                    </a:cubicBezTo>
                    <a:cubicBezTo>
                      <a:pt x="199" y="62"/>
                      <a:pt x="155" y="17"/>
                      <a:pt x="101" y="17"/>
                    </a:cubicBezTo>
                    <a:cubicBezTo>
                      <a:pt x="88" y="17"/>
                      <a:pt x="88" y="17"/>
                      <a:pt x="88" y="17"/>
                    </a:cubicBezTo>
                    <a:cubicBezTo>
                      <a:pt x="59" y="17"/>
                      <a:pt x="32" y="30"/>
                      <a:pt x="13" y="52"/>
                    </a:cubicBezTo>
                    <a:cubicBezTo>
                      <a:pt x="0" y="41"/>
                      <a:pt x="0" y="41"/>
                      <a:pt x="0" y="41"/>
                    </a:cubicBezTo>
                    <a:cubicBezTo>
                      <a:pt x="22" y="15"/>
                      <a:pt x="54" y="0"/>
                      <a:pt x="88" y="0"/>
                    </a:cubicBezTo>
                    <a:cubicBezTo>
                      <a:pt x="101" y="0"/>
                      <a:pt x="101" y="0"/>
                      <a:pt x="101" y="0"/>
                    </a:cubicBezTo>
                    <a:cubicBezTo>
                      <a:pt x="165" y="0"/>
                      <a:pt x="216" y="52"/>
                      <a:pt x="216" y="116"/>
                    </a:cubicBezTo>
                    <a:cubicBezTo>
                      <a:pt x="214" y="151"/>
                      <a:pt x="214" y="151"/>
                      <a:pt x="214" y="151"/>
                    </a:cubicBezTo>
                    <a:cubicBezTo>
                      <a:pt x="203" y="288"/>
                      <a:pt x="203" y="288"/>
                      <a:pt x="203" y="288"/>
                    </a:cubicBezTo>
                    <a:lnTo>
                      <a:pt x="150"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22" name="Freeform 48">
                <a:extLst>
                  <a:ext uri="{FF2B5EF4-FFF2-40B4-BE49-F238E27FC236}">
                    <a16:creationId xmlns:a16="http://schemas.microsoft.com/office/drawing/2014/main" id="{4D76842D-6EF8-4EED-B364-FDDD0688EE7B}"/>
                  </a:ext>
                </a:extLst>
              </p:cNvPr>
              <p:cNvSpPr>
                <a:spLocks/>
              </p:cNvSpPr>
              <p:nvPr/>
            </p:nvSpPr>
            <p:spPr bwMode="auto">
              <a:xfrm>
                <a:off x="3842" y="2571"/>
                <a:ext cx="62" cy="234"/>
              </a:xfrm>
              <a:custGeom>
                <a:avLst/>
                <a:gdLst>
                  <a:gd name="T0" fmla="*/ 15 w 62"/>
                  <a:gd name="T1" fmla="*/ 234 h 234"/>
                  <a:gd name="T2" fmla="*/ 62 w 62"/>
                  <a:gd name="T3" fmla="*/ 0 h 234"/>
                  <a:gd name="T4" fmla="*/ 47 w 62"/>
                  <a:gd name="T5" fmla="*/ 0 h 234"/>
                  <a:gd name="T6" fmla="*/ 0 w 62"/>
                  <a:gd name="T7" fmla="*/ 234 h 234"/>
                  <a:gd name="T8" fmla="*/ 15 w 62"/>
                  <a:gd name="T9" fmla="*/ 234 h 234"/>
                </a:gdLst>
                <a:ahLst/>
                <a:cxnLst>
                  <a:cxn ang="0">
                    <a:pos x="T0" y="T1"/>
                  </a:cxn>
                  <a:cxn ang="0">
                    <a:pos x="T2" y="T3"/>
                  </a:cxn>
                  <a:cxn ang="0">
                    <a:pos x="T4" y="T5"/>
                  </a:cxn>
                  <a:cxn ang="0">
                    <a:pos x="T6" y="T7"/>
                  </a:cxn>
                  <a:cxn ang="0">
                    <a:pos x="T8" y="T9"/>
                  </a:cxn>
                </a:cxnLst>
                <a:rect l="0" t="0" r="r" b="b"/>
                <a:pathLst>
                  <a:path w="62" h="234">
                    <a:moveTo>
                      <a:pt x="15" y="234"/>
                    </a:moveTo>
                    <a:lnTo>
                      <a:pt x="62" y="0"/>
                    </a:lnTo>
                    <a:lnTo>
                      <a:pt x="47" y="0"/>
                    </a:lnTo>
                    <a:lnTo>
                      <a:pt x="0" y="234"/>
                    </a:lnTo>
                    <a:lnTo>
                      <a:pt x="15"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sp>
          <p:nvSpPr>
            <p:cNvPr id="23" name="TextBox 22">
              <a:extLst>
                <a:ext uri="{FF2B5EF4-FFF2-40B4-BE49-F238E27FC236}">
                  <a16:creationId xmlns:a16="http://schemas.microsoft.com/office/drawing/2014/main" id="{770609FE-2F7B-43EF-948B-85254F2C110C}"/>
                </a:ext>
              </a:extLst>
            </p:cNvPr>
            <p:cNvSpPr txBox="1"/>
            <p:nvPr/>
          </p:nvSpPr>
          <p:spPr>
            <a:xfrm>
              <a:off x="7251303" y="2904504"/>
              <a:ext cx="1344670" cy="392788"/>
            </a:xfrm>
            <a:prstGeom prst="rect">
              <a:avLst/>
            </a:prstGeom>
            <a:noFill/>
            <a:ln w="12700" cap="sq">
              <a:noFill/>
              <a:miter lim="800000"/>
            </a:ln>
          </p:spPr>
          <p:txBody>
            <a:bodyPr wrap="square" lIns="73025" tIns="73025" rIns="73025" bIns="73025"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kumimoji="0" lang="en-US" sz="1400" b="1" i="0" u="none" strike="noStrike" kern="0" cap="none" spc="0" normalizeH="0" baseline="0" dirty="0">
                  <a:ln>
                    <a:noFill/>
                  </a:ln>
                  <a:solidFill>
                    <a:schemeClr val="bg1"/>
                  </a:solidFill>
                  <a:effectLst/>
                  <a:uLnTx/>
                  <a:uFillTx/>
                </a:rPr>
                <a:t>Private</a:t>
              </a:r>
            </a:p>
          </p:txBody>
        </p:sp>
        <p:sp>
          <p:nvSpPr>
            <p:cNvPr id="24" name="TextBox 23">
              <a:extLst>
                <a:ext uri="{FF2B5EF4-FFF2-40B4-BE49-F238E27FC236}">
                  <a16:creationId xmlns:a16="http://schemas.microsoft.com/office/drawing/2014/main" id="{088B7544-B300-4558-91DA-54C526098F94}"/>
                </a:ext>
              </a:extLst>
            </p:cNvPr>
            <p:cNvSpPr txBox="1"/>
            <p:nvPr/>
          </p:nvSpPr>
          <p:spPr>
            <a:xfrm>
              <a:off x="2823412" y="2904504"/>
              <a:ext cx="1344670" cy="392788"/>
            </a:xfrm>
            <a:prstGeom prst="rect">
              <a:avLst/>
            </a:prstGeom>
            <a:noFill/>
            <a:ln w="12700" cap="sq">
              <a:noFill/>
              <a:miter lim="800000"/>
            </a:ln>
          </p:spPr>
          <p:txBody>
            <a:bodyPr wrap="square" lIns="73025" tIns="73025" rIns="73025" bIns="73025" rtlCol="0">
              <a:noAutofit/>
            </a:bodyPr>
            <a:lstStyle/>
            <a:p>
              <a:pPr marR="0" defTabSz="685434" eaLnBrk="1" fontAlgn="auto" latinLnBrk="0" hangingPunct="1">
                <a:lnSpc>
                  <a:spcPct val="100000"/>
                </a:lnSpc>
                <a:spcBef>
                  <a:spcPct val="20000"/>
                </a:spcBef>
                <a:spcAft>
                  <a:spcPts val="0"/>
                </a:spcAft>
                <a:buClr>
                  <a:srgbClr val="FFE600"/>
                </a:buClr>
                <a:buSzPct val="80000"/>
                <a:tabLst/>
              </a:pPr>
              <a:r>
                <a:rPr kumimoji="0" lang="en-US" sz="1400" b="1" i="0" u="none" strike="noStrike" kern="0" cap="none" spc="0" normalizeH="0" baseline="0" dirty="0">
                  <a:ln>
                    <a:noFill/>
                  </a:ln>
                  <a:solidFill>
                    <a:schemeClr val="bg1"/>
                  </a:solidFill>
                  <a:effectLst/>
                  <a:uLnTx/>
                  <a:uFillTx/>
                </a:rPr>
                <a:t>Public</a:t>
              </a:r>
            </a:p>
          </p:txBody>
        </p:sp>
        <p:sp>
          <p:nvSpPr>
            <p:cNvPr id="26" name="Text Placeholder 23">
              <a:extLst>
                <a:ext uri="{FF2B5EF4-FFF2-40B4-BE49-F238E27FC236}">
                  <a16:creationId xmlns:a16="http://schemas.microsoft.com/office/drawing/2014/main" id="{5B92AFE7-B3A0-4A1C-B21A-BE5E17532008}"/>
                </a:ext>
              </a:extLst>
            </p:cNvPr>
            <p:cNvSpPr txBox="1">
              <a:spLocks/>
            </p:cNvSpPr>
            <p:nvPr/>
          </p:nvSpPr>
          <p:spPr>
            <a:xfrm>
              <a:off x="2420594" y="2141116"/>
              <a:ext cx="7323203" cy="429364"/>
            </a:xfrm>
            <a:prstGeom prst="rect">
              <a:avLst/>
            </a:prstGeom>
            <a:solidFill>
              <a:srgbClr val="FFE600"/>
            </a:solidFill>
            <a:ln w="0">
              <a:noFill/>
            </a:ln>
            <a:extLst>
              <a:ext uri="{91240B29-F687-4F45-9708-019B960494DF}">
                <a14:hiddenLine xmlns:a14="http://schemas.microsoft.com/office/drawing/2010/main" w="0">
                  <a:solidFill>
                    <a:schemeClr val="tx1"/>
                  </a:solidFill>
                </a14:hiddenLine>
              </a:ext>
            </a:extLst>
          </p:spPr>
          <p:txBody>
            <a:bodyPr anchor="ctr"/>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b="1" dirty="0">
                  <a:solidFill>
                    <a:srgbClr val="2E2E38"/>
                  </a:solidFill>
                  <a:latin typeface="+mn-lt"/>
                  <a:cs typeface="Arial" panose="020B0604020202020204" pitchFamily="34" charset="0"/>
                </a:rPr>
                <a:t>“Main types” of blockchain technology</a:t>
              </a:r>
            </a:p>
          </p:txBody>
        </p:sp>
        <p:sp>
          <p:nvSpPr>
            <p:cNvPr id="52" name="Rectangle 51">
              <a:extLst>
                <a:ext uri="{FF2B5EF4-FFF2-40B4-BE49-F238E27FC236}">
                  <a16:creationId xmlns:a16="http://schemas.microsoft.com/office/drawing/2014/main" id="{8052835C-AA2B-4723-8663-44A82CF399FA}"/>
                </a:ext>
              </a:extLst>
            </p:cNvPr>
            <p:cNvSpPr/>
            <p:nvPr/>
          </p:nvSpPr>
          <p:spPr>
            <a:xfrm>
              <a:off x="2338407" y="2055274"/>
              <a:ext cx="7487577" cy="1641655"/>
            </a:xfrm>
            <a:prstGeom prst="rect">
              <a:avLst/>
            </a:prstGeom>
            <a:noFill/>
            <a:ln w="6350" cap="flat" cmpd="sng" algn="ctr">
              <a:solidFill>
                <a:srgbClr val="747480"/>
              </a:solidFill>
              <a:prstDash val="solid"/>
              <a:tailEnd type="none"/>
            </a:ln>
            <a:effectLst/>
          </p:spPr>
          <p:txBody>
            <a:bodyPr tIns="900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srgbClr val="FFFFFF"/>
                </a:solidFill>
                <a:effectLst/>
                <a:uLnTx/>
                <a:uFillTx/>
                <a:latin typeface="EYInterstate Light" panose="02000506000000020004" pitchFamily="2" charset="0"/>
                <a:ea typeface="+mn-ea"/>
                <a:cs typeface="+mn-cs"/>
              </a:endParaRPr>
            </a:p>
          </p:txBody>
        </p:sp>
        <p:sp>
          <p:nvSpPr>
            <p:cNvPr id="53" name="Rectangle 52">
              <a:extLst>
                <a:ext uri="{FF2B5EF4-FFF2-40B4-BE49-F238E27FC236}">
                  <a16:creationId xmlns:a16="http://schemas.microsoft.com/office/drawing/2014/main" id="{BD97AEC6-028C-4F85-9E53-41723F49B703}"/>
                </a:ext>
              </a:extLst>
            </p:cNvPr>
            <p:cNvSpPr/>
            <p:nvPr/>
          </p:nvSpPr>
          <p:spPr>
            <a:xfrm>
              <a:off x="2290909" y="2355789"/>
              <a:ext cx="94996" cy="103984"/>
            </a:xfrm>
            <a:prstGeom prst="rect">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bg1"/>
                  </a:solidFill>
                  <a:prstDash val="solid"/>
                </a14:hiddenLine>
              </a:ext>
            </a:ex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2E2E38"/>
                </a:solidFill>
                <a:effectLst/>
                <a:uLnTx/>
                <a:uFillTx/>
                <a:latin typeface="EYInterstate Light"/>
                <a:ea typeface="+mn-ea"/>
                <a:cs typeface="+mn-cs"/>
              </a:endParaRPr>
            </a:p>
          </p:txBody>
        </p:sp>
        <p:grpSp>
          <p:nvGrpSpPr>
            <p:cNvPr id="54" name="Group 53">
              <a:extLst>
                <a:ext uri="{FF2B5EF4-FFF2-40B4-BE49-F238E27FC236}">
                  <a16:creationId xmlns:a16="http://schemas.microsoft.com/office/drawing/2014/main" id="{F7ACDFE2-3BCE-4E99-B647-E5E176D152D1}"/>
                </a:ext>
              </a:extLst>
            </p:cNvPr>
            <p:cNvGrpSpPr/>
            <p:nvPr/>
          </p:nvGrpSpPr>
          <p:grpSpPr>
            <a:xfrm rot="16200000">
              <a:off x="3941225" y="1911585"/>
              <a:ext cx="186362" cy="213129"/>
              <a:chOff x="6436917" y="1582228"/>
              <a:chExt cx="186362" cy="213129"/>
            </a:xfrm>
          </p:grpSpPr>
          <p:cxnSp>
            <p:nvCxnSpPr>
              <p:cNvPr id="55" name="Straight Connector 54">
                <a:extLst>
                  <a:ext uri="{FF2B5EF4-FFF2-40B4-BE49-F238E27FC236}">
                    <a16:creationId xmlns:a16="http://schemas.microsoft.com/office/drawing/2014/main" id="{8B241232-51BC-4F8F-83EA-C07719ABD7A2}"/>
                  </a:ext>
                </a:extLst>
              </p:cNvPr>
              <p:cNvCxnSpPr>
                <a:cxnSpLocks/>
                <a:endCxn id="60" idx="6"/>
              </p:cNvCxnSpPr>
              <p:nvPr/>
            </p:nvCxnSpPr>
            <p:spPr>
              <a:xfrm>
                <a:off x="6477000" y="1602660"/>
                <a:ext cx="101709" cy="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C2D5419-530D-400B-ACB4-6275C89BC144}"/>
                  </a:ext>
                </a:extLst>
              </p:cNvPr>
              <p:cNvCxnSpPr>
                <a:cxnSpLocks/>
                <a:stCxn id="68" idx="1"/>
                <a:endCxn id="57" idx="6"/>
              </p:cNvCxnSpPr>
              <p:nvPr/>
            </p:nvCxnSpPr>
            <p:spPr>
              <a:xfrm>
                <a:off x="6477765" y="1776564"/>
                <a:ext cx="88750" cy="470"/>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93EBA486-4939-456A-8F6B-6350B06DA328}"/>
                  </a:ext>
                </a:extLst>
              </p:cNvPr>
              <p:cNvSpPr/>
              <p:nvPr/>
            </p:nvSpPr>
            <p:spPr bwMode="gray">
              <a:xfrm flipH="1">
                <a:off x="6566516" y="1763622"/>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58" name="Straight Connector 57">
                <a:extLst>
                  <a:ext uri="{FF2B5EF4-FFF2-40B4-BE49-F238E27FC236}">
                    <a16:creationId xmlns:a16="http://schemas.microsoft.com/office/drawing/2014/main" id="{B8D0359C-F57A-4595-9F6C-AFE61F1B6CA9}"/>
                  </a:ext>
                </a:extLst>
              </p:cNvPr>
              <p:cNvCxnSpPr>
                <a:cxnSpLocks/>
                <a:stCxn id="67" idx="1"/>
                <a:endCxn id="59" idx="6"/>
              </p:cNvCxnSpPr>
              <p:nvPr/>
            </p:nvCxnSpPr>
            <p:spPr>
              <a:xfrm>
                <a:off x="6477765" y="1691318"/>
                <a:ext cx="118688" cy="923"/>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B987E409-D48C-4FB5-8436-2B5C5B3228B2}"/>
                  </a:ext>
                </a:extLst>
              </p:cNvPr>
              <p:cNvSpPr/>
              <p:nvPr/>
            </p:nvSpPr>
            <p:spPr bwMode="gray">
              <a:xfrm flipH="1">
                <a:off x="6596454" y="167883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sp>
            <p:nvSpPr>
              <p:cNvPr id="60" name="Oval 59">
                <a:extLst>
                  <a:ext uri="{FF2B5EF4-FFF2-40B4-BE49-F238E27FC236}">
                    <a16:creationId xmlns:a16="http://schemas.microsoft.com/office/drawing/2014/main" id="{404804CC-791A-4454-B572-BD2CAC451D68}"/>
                  </a:ext>
                </a:extLst>
              </p:cNvPr>
              <p:cNvSpPr/>
              <p:nvPr/>
            </p:nvSpPr>
            <p:spPr bwMode="gray">
              <a:xfrm flipH="1">
                <a:off x="6578709" y="1589248"/>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61" name="Group 60">
                <a:extLst>
                  <a:ext uri="{FF2B5EF4-FFF2-40B4-BE49-F238E27FC236}">
                    <a16:creationId xmlns:a16="http://schemas.microsoft.com/office/drawing/2014/main" id="{3DE89335-6D0C-4CEF-9F8E-64B78F9F48FA}"/>
                  </a:ext>
                </a:extLst>
              </p:cNvPr>
              <p:cNvGrpSpPr/>
              <p:nvPr/>
            </p:nvGrpSpPr>
            <p:grpSpPr>
              <a:xfrm>
                <a:off x="6436917" y="1587279"/>
                <a:ext cx="40849" cy="208078"/>
                <a:chOff x="8519188" y="2076504"/>
                <a:chExt cx="79774" cy="406348"/>
              </a:xfrm>
              <a:noFill/>
            </p:grpSpPr>
            <p:sp>
              <p:nvSpPr>
                <p:cNvPr id="66" name="Rectangle 65">
                  <a:extLst>
                    <a:ext uri="{FF2B5EF4-FFF2-40B4-BE49-F238E27FC236}">
                      <a16:creationId xmlns:a16="http://schemas.microsoft.com/office/drawing/2014/main" id="{710CFCED-98A8-4B1A-82C2-1E85DE9421A4}"/>
                    </a:ext>
                  </a:extLst>
                </p:cNvPr>
                <p:cNvSpPr/>
                <p:nvPr/>
              </p:nvSpPr>
              <p:spPr bwMode="gray">
                <a:xfrm flipH="1">
                  <a:off x="8519188" y="2076504"/>
                  <a:ext cx="79774" cy="73401"/>
                </a:xfrm>
                <a:prstGeom prst="rect">
                  <a:avLst/>
                </a:prstGeom>
                <a:grpFill/>
                <a:ln w="3175" algn="ctr">
                  <a:no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sp>
              <p:nvSpPr>
                <p:cNvPr id="67" name="Rectangle 66">
                  <a:extLst>
                    <a:ext uri="{FF2B5EF4-FFF2-40B4-BE49-F238E27FC236}">
                      <a16:creationId xmlns:a16="http://schemas.microsoft.com/office/drawing/2014/main" id="{13575FB0-9983-4576-9F9C-4AEB781454FD}"/>
                    </a:ext>
                  </a:extLst>
                </p:cNvPr>
                <p:cNvSpPr/>
                <p:nvPr/>
              </p:nvSpPr>
              <p:spPr bwMode="gray">
                <a:xfrm flipH="1">
                  <a:off x="8519188" y="2242977"/>
                  <a:ext cx="79774" cy="73401"/>
                </a:xfrm>
                <a:prstGeom prst="rect">
                  <a:avLst/>
                </a:prstGeom>
                <a:grpFill/>
                <a:ln w="3175" algn="ctr">
                  <a:no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sp>
              <p:nvSpPr>
                <p:cNvPr id="68" name="Rectangle 67">
                  <a:extLst>
                    <a:ext uri="{FF2B5EF4-FFF2-40B4-BE49-F238E27FC236}">
                      <a16:creationId xmlns:a16="http://schemas.microsoft.com/office/drawing/2014/main" id="{940E7B2A-56EC-44B2-944C-D0D6FA4609F3}"/>
                    </a:ext>
                  </a:extLst>
                </p:cNvPr>
                <p:cNvSpPr/>
                <p:nvPr/>
              </p:nvSpPr>
              <p:spPr bwMode="gray">
                <a:xfrm flipH="1">
                  <a:off x="8519188" y="2409451"/>
                  <a:ext cx="79774" cy="73401"/>
                </a:xfrm>
                <a:prstGeom prst="rect">
                  <a:avLst/>
                </a:prstGeom>
                <a:grpFill/>
                <a:ln w="3175" algn="ctr">
                  <a:no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62" name="Group 61">
                <a:extLst>
                  <a:ext uri="{FF2B5EF4-FFF2-40B4-BE49-F238E27FC236}">
                    <a16:creationId xmlns:a16="http://schemas.microsoft.com/office/drawing/2014/main" id="{07886C78-8019-4451-9438-7D6A1D5CAFBB}"/>
                  </a:ext>
                </a:extLst>
              </p:cNvPr>
              <p:cNvGrpSpPr/>
              <p:nvPr/>
            </p:nvGrpSpPr>
            <p:grpSpPr>
              <a:xfrm>
                <a:off x="6478430" y="1582228"/>
                <a:ext cx="40849" cy="208079"/>
                <a:chOff x="880372" y="1910137"/>
                <a:chExt cx="45030" cy="229374"/>
              </a:xfrm>
            </p:grpSpPr>
            <p:sp>
              <p:nvSpPr>
                <p:cNvPr id="63" name="Rectangle 62">
                  <a:extLst>
                    <a:ext uri="{FF2B5EF4-FFF2-40B4-BE49-F238E27FC236}">
                      <a16:creationId xmlns:a16="http://schemas.microsoft.com/office/drawing/2014/main" id="{50C0A2AA-6DF0-4F4E-B198-415AEEFC6545}"/>
                    </a:ext>
                  </a:extLst>
                </p:cNvPr>
                <p:cNvSpPr/>
                <p:nvPr/>
              </p:nvSpPr>
              <p:spPr bwMode="gray">
                <a:xfrm flipH="1">
                  <a:off x="880372" y="1910137"/>
                  <a:ext cx="45030" cy="41433"/>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64" name="Rectangle 63">
                  <a:extLst>
                    <a:ext uri="{FF2B5EF4-FFF2-40B4-BE49-F238E27FC236}">
                      <a16:creationId xmlns:a16="http://schemas.microsoft.com/office/drawing/2014/main" id="{A7B03352-A5EC-482E-BC72-F687ED5651F2}"/>
                    </a:ext>
                  </a:extLst>
                </p:cNvPr>
                <p:cNvSpPr/>
                <p:nvPr/>
              </p:nvSpPr>
              <p:spPr bwMode="gray">
                <a:xfrm flipH="1">
                  <a:off x="880372" y="2004107"/>
                  <a:ext cx="45030" cy="41433"/>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65" name="Rectangle 64">
                  <a:extLst>
                    <a:ext uri="{FF2B5EF4-FFF2-40B4-BE49-F238E27FC236}">
                      <a16:creationId xmlns:a16="http://schemas.microsoft.com/office/drawing/2014/main" id="{227EA0F6-3F6D-4155-A7B9-B8A2370381F7}"/>
                    </a:ext>
                  </a:extLst>
                </p:cNvPr>
                <p:cNvSpPr/>
                <p:nvPr/>
              </p:nvSpPr>
              <p:spPr bwMode="gray">
                <a:xfrm flipH="1">
                  <a:off x="880372" y="2098078"/>
                  <a:ext cx="45030" cy="41433"/>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grpSp>
      </p:grpSp>
      <p:sp>
        <p:nvSpPr>
          <p:cNvPr id="31" name="Rectangle 30">
            <a:extLst>
              <a:ext uri="{FF2B5EF4-FFF2-40B4-BE49-F238E27FC236}">
                <a16:creationId xmlns:a16="http://schemas.microsoft.com/office/drawing/2014/main" id="{60971FC8-2159-4FE6-BBEC-CC9114D1C607}"/>
              </a:ext>
            </a:extLst>
          </p:cNvPr>
          <p:cNvSpPr/>
          <p:nvPr/>
        </p:nvSpPr>
        <p:spPr>
          <a:xfrm>
            <a:off x="609601" y="1135296"/>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kumimoji="0" lang="de-AT" sz="1600" b="0" i="0" u="none" strike="noStrike" kern="0" cap="none" spc="0" normalizeH="0" baseline="0" noProof="0" dirty="0" err="1">
                <a:ln>
                  <a:noFill/>
                </a:ln>
                <a:solidFill>
                  <a:schemeClr val="bg1"/>
                </a:solidFill>
                <a:effectLst/>
                <a:uLnTx/>
                <a:uFillTx/>
              </a:rPr>
              <a:t>Whic</a:t>
            </a:r>
            <a:r>
              <a:rPr lang="de-AT" sz="1600" kern="0" dirty="0">
                <a:solidFill>
                  <a:schemeClr val="bg1"/>
                </a:solidFill>
              </a:rPr>
              <a:t>h type </a:t>
            </a:r>
            <a:r>
              <a:rPr lang="de-AT" sz="1600" kern="0" dirty="0" err="1">
                <a:solidFill>
                  <a:schemeClr val="bg1"/>
                </a:solidFill>
              </a:rPr>
              <a:t>of</a:t>
            </a:r>
            <a:r>
              <a:rPr lang="de-AT" sz="1600" kern="0" dirty="0">
                <a:solidFill>
                  <a:schemeClr val="bg1"/>
                </a:solidFill>
              </a:rPr>
              <a:t> </a:t>
            </a:r>
            <a:r>
              <a:rPr lang="de-AT" sz="1600" b="1" kern="0" dirty="0">
                <a:solidFill>
                  <a:schemeClr val="bg1"/>
                </a:solidFill>
              </a:rPr>
              <a:t>Blockchain</a:t>
            </a:r>
            <a:r>
              <a:rPr lang="de-AT" sz="1600" kern="0" dirty="0">
                <a:solidFill>
                  <a:schemeClr val="bg1"/>
                </a:solidFill>
              </a:rPr>
              <a:t> and </a:t>
            </a:r>
            <a:r>
              <a:rPr lang="de-AT" sz="1600" kern="0" dirty="0" err="1">
                <a:solidFill>
                  <a:schemeClr val="bg1"/>
                </a:solidFill>
              </a:rPr>
              <a:t>which</a:t>
            </a:r>
            <a:r>
              <a:rPr lang="de-AT" sz="1600" kern="0" dirty="0">
                <a:solidFill>
                  <a:schemeClr val="bg1"/>
                </a:solidFill>
              </a:rPr>
              <a:t> type </a:t>
            </a:r>
            <a:r>
              <a:rPr lang="de-AT" sz="1600" kern="0" dirty="0" err="1">
                <a:solidFill>
                  <a:schemeClr val="bg1"/>
                </a:solidFill>
              </a:rPr>
              <a:t>of</a:t>
            </a:r>
            <a:r>
              <a:rPr lang="de-AT" sz="1600" kern="0" dirty="0">
                <a:solidFill>
                  <a:schemeClr val="bg1"/>
                </a:solidFill>
              </a:rPr>
              <a:t> </a:t>
            </a:r>
            <a:r>
              <a:rPr lang="de-AT" sz="1600" b="1" kern="0" dirty="0">
                <a:solidFill>
                  <a:schemeClr val="bg1"/>
                </a:solidFill>
              </a:rPr>
              <a:t>Smart </a:t>
            </a:r>
            <a:r>
              <a:rPr lang="de-AT" sz="1600" b="1" kern="0" dirty="0" err="1">
                <a:solidFill>
                  <a:schemeClr val="bg1"/>
                </a:solidFill>
              </a:rPr>
              <a:t>Contract</a:t>
            </a:r>
            <a:r>
              <a:rPr lang="de-AT" sz="1600" b="1" kern="0" dirty="0">
                <a:solidFill>
                  <a:schemeClr val="bg1"/>
                </a:solidFill>
              </a:rPr>
              <a:t> </a:t>
            </a:r>
            <a:r>
              <a:rPr lang="de-AT" sz="1600" kern="0" dirty="0" err="1">
                <a:solidFill>
                  <a:schemeClr val="bg1"/>
                </a:solidFill>
              </a:rPr>
              <a:t>is</a:t>
            </a:r>
            <a:r>
              <a:rPr lang="de-AT" sz="1600" kern="0" dirty="0">
                <a:solidFill>
                  <a:schemeClr val="bg1"/>
                </a:solidFill>
              </a:rPr>
              <a:t> </a:t>
            </a:r>
            <a:r>
              <a:rPr lang="de-AT" sz="1600" kern="0" dirty="0" err="1">
                <a:solidFill>
                  <a:schemeClr val="bg1"/>
                </a:solidFill>
              </a:rPr>
              <a:t>used</a:t>
            </a:r>
            <a:r>
              <a:rPr lang="de-AT" sz="1600" kern="0" dirty="0">
                <a:solidFill>
                  <a:schemeClr val="bg1"/>
                </a:solidFill>
              </a:rPr>
              <a:t> </a:t>
            </a:r>
            <a:r>
              <a:rPr lang="de-AT" sz="1600" kern="0" dirty="0" err="1">
                <a:solidFill>
                  <a:schemeClr val="bg1"/>
                </a:solidFill>
              </a:rPr>
              <a:t>should</a:t>
            </a:r>
            <a:r>
              <a:rPr lang="de-AT" sz="1600" kern="0" dirty="0">
                <a:solidFill>
                  <a:schemeClr val="bg1"/>
                </a:solidFill>
              </a:rPr>
              <a:t> </a:t>
            </a:r>
            <a:r>
              <a:rPr lang="de-AT" sz="1600" kern="0" dirty="0" err="1">
                <a:solidFill>
                  <a:schemeClr val="bg1"/>
                </a:solidFill>
              </a:rPr>
              <a:t>be</a:t>
            </a:r>
            <a:r>
              <a:rPr lang="de-AT" sz="1600" kern="0" dirty="0">
                <a:solidFill>
                  <a:schemeClr val="bg1"/>
                </a:solidFill>
              </a:rPr>
              <a:t> </a:t>
            </a:r>
            <a:r>
              <a:rPr lang="de-AT" sz="1600" kern="0" dirty="0" err="1">
                <a:solidFill>
                  <a:schemeClr val="bg1"/>
                </a:solidFill>
              </a:rPr>
              <a:t>considered</a:t>
            </a:r>
            <a:r>
              <a:rPr lang="de-AT" sz="1600" kern="0" dirty="0">
                <a:solidFill>
                  <a:schemeClr val="bg1"/>
                </a:solidFill>
              </a:rPr>
              <a:t> in </a:t>
            </a:r>
            <a:r>
              <a:rPr lang="de-AT" sz="1600" kern="0" dirty="0" err="1">
                <a:solidFill>
                  <a:schemeClr val="bg1"/>
                </a:solidFill>
              </a:rPr>
              <a:t>each</a:t>
            </a:r>
            <a:r>
              <a:rPr lang="de-AT" sz="1600" kern="0" dirty="0">
                <a:solidFill>
                  <a:schemeClr val="bg1"/>
                </a:solidFill>
              </a:rPr>
              <a:t> </a:t>
            </a:r>
            <a:r>
              <a:rPr lang="de-AT" sz="1600" kern="0" dirty="0" err="1">
                <a:solidFill>
                  <a:schemeClr val="bg1"/>
                </a:solidFill>
              </a:rPr>
              <a:t>specific</a:t>
            </a:r>
            <a:r>
              <a:rPr lang="de-AT" sz="1600" kern="0" dirty="0">
                <a:solidFill>
                  <a:schemeClr val="bg1"/>
                </a:solidFill>
              </a:rPr>
              <a:t> </a:t>
            </a:r>
            <a:r>
              <a:rPr lang="de-AT" sz="1600" kern="0" dirty="0" err="1">
                <a:solidFill>
                  <a:schemeClr val="bg1"/>
                </a:solidFill>
              </a:rPr>
              <a:t>case</a:t>
            </a:r>
            <a:r>
              <a:rPr lang="de-AT" sz="1600" kern="0" dirty="0">
                <a:solidFill>
                  <a:schemeClr val="bg1"/>
                </a:solidFill>
              </a:rPr>
              <a:t>/</a:t>
            </a:r>
            <a:r>
              <a:rPr lang="de-AT" sz="1600" kern="0" dirty="0" err="1">
                <a:solidFill>
                  <a:schemeClr val="bg1"/>
                </a:solidFill>
              </a:rPr>
              <a:t>principle</a:t>
            </a:r>
            <a:endParaRPr kumimoji="0" lang="de-AT" sz="1600" b="0" i="0" u="none" strike="noStrike" kern="0" cap="none" spc="0" normalizeH="0" baseline="0" noProof="0" dirty="0">
              <a:ln>
                <a:noFill/>
              </a:ln>
              <a:solidFill>
                <a:schemeClr val="bg1"/>
              </a:solidFill>
              <a:effectLst/>
              <a:uLnTx/>
              <a:uFillTx/>
            </a:endParaRPr>
          </a:p>
        </p:txBody>
      </p:sp>
      <p:grpSp>
        <p:nvGrpSpPr>
          <p:cNvPr id="37" name="Group 36">
            <a:extLst>
              <a:ext uri="{FF2B5EF4-FFF2-40B4-BE49-F238E27FC236}">
                <a16:creationId xmlns:a16="http://schemas.microsoft.com/office/drawing/2014/main" id="{F40BC1FE-0694-4381-8B36-485F475C6F57}"/>
              </a:ext>
            </a:extLst>
          </p:cNvPr>
          <p:cNvGrpSpPr/>
          <p:nvPr/>
        </p:nvGrpSpPr>
        <p:grpSpPr>
          <a:xfrm>
            <a:off x="11444402" y="1393610"/>
            <a:ext cx="146341" cy="239780"/>
            <a:chOff x="4011103" y="2105333"/>
            <a:chExt cx="146341" cy="239780"/>
          </a:xfrm>
        </p:grpSpPr>
        <p:grpSp>
          <p:nvGrpSpPr>
            <p:cNvPr id="38" name="Group 37">
              <a:extLst>
                <a:ext uri="{FF2B5EF4-FFF2-40B4-BE49-F238E27FC236}">
                  <a16:creationId xmlns:a16="http://schemas.microsoft.com/office/drawing/2014/main" id="{EAAD5552-0BAE-455F-9DB3-7D872BC782F7}"/>
                </a:ext>
              </a:extLst>
            </p:cNvPr>
            <p:cNvGrpSpPr/>
            <p:nvPr/>
          </p:nvGrpSpPr>
          <p:grpSpPr>
            <a:xfrm rot="10800000">
              <a:off x="4011103" y="2137035"/>
              <a:ext cx="40849" cy="208078"/>
              <a:chOff x="906170" y="2076504"/>
              <a:chExt cx="79774" cy="406348"/>
            </a:xfrm>
          </p:grpSpPr>
          <p:sp>
            <p:nvSpPr>
              <p:cNvPr id="49" name="Rectangle 48">
                <a:extLst>
                  <a:ext uri="{FF2B5EF4-FFF2-40B4-BE49-F238E27FC236}">
                    <a16:creationId xmlns:a16="http://schemas.microsoft.com/office/drawing/2014/main" id="{A3A63C09-2197-4E78-911C-8EEE1C0E1FCB}"/>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50" name="Rectangle 49">
                <a:extLst>
                  <a:ext uri="{FF2B5EF4-FFF2-40B4-BE49-F238E27FC236}">
                    <a16:creationId xmlns:a16="http://schemas.microsoft.com/office/drawing/2014/main" id="{63FA357F-95B4-4AE6-AC90-8EBB4FE99EF4}"/>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51" name="Rectangle 50">
                <a:extLst>
                  <a:ext uri="{FF2B5EF4-FFF2-40B4-BE49-F238E27FC236}">
                    <a16:creationId xmlns:a16="http://schemas.microsoft.com/office/drawing/2014/main" id="{3163191E-E2C8-4163-9395-6F462D5A6FB8}"/>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cxnSp>
          <p:nvCxnSpPr>
            <p:cNvPr id="39" name="Straight Connector 38">
              <a:extLst>
                <a:ext uri="{FF2B5EF4-FFF2-40B4-BE49-F238E27FC236}">
                  <a16:creationId xmlns:a16="http://schemas.microsoft.com/office/drawing/2014/main" id="{E7B56CF4-9748-45C2-9267-71E8CF253576}"/>
                </a:ext>
              </a:extLst>
            </p:cNvPr>
            <p:cNvCxnSpPr>
              <a:stCxn id="51"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FF0CB5C-5121-4F1D-8791-BDE8B8D75643}"/>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8213C98-5F3D-4EEA-AFB0-D35C68D5D339}"/>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42" name="Straight Connector 41">
              <a:extLst>
                <a:ext uri="{FF2B5EF4-FFF2-40B4-BE49-F238E27FC236}">
                  <a16:creationId xmlns:a16="http://schemas.microsoft.com/office/drawing/2014/main" id="{DFA7E588-30FD-4980-AE5C-42C041542F6D}"/>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D084BBB-684B-4814-A365-30AEE2D06A38}"/>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FC51305-760B-44C8-95B1-082D728E0176}"/>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31559DE-7DC9-43F4-A206-6DC5EEDB8C86}"/>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46" name="Group 45">
              <a:extLst>
                <a:ext uri="{FF2B5EF4-FFF2-40B4-BE49-F238E27FC236}">
                  <a16:creationId xmlns:a16="http://schemas.microsoft.com/office/drawing/2014/main" id="{B5D7C4B2-FD55-4EB7-9D2F-AC02F7D26DDA}"/>
                </a:ext>
              </a:extLst>
            </p:cNvPr>
            <p:cNvGrpSpPr/>
            <p:nvPr/>
          </p:nvGrpSpPr>
          <p:grpSpPr>
            <a:xfrm rot="10800000">
              <a:off x="4051953" y="2312907"/>
              <a:ext cx="105491" cy="26825"/>
              <a:chOff x="1476522" y="2083779"/>
              <a:chExt cx="206012" cy="52386"/>
            </a:xfrm>
          </p:grpSpPr>
          <p:cxnSp>
            <p:nvCxnSpPr>
              <p:cNvPr id="47" name="Straight Connector 46">
                <a:extLst>
                  <a:ext uri="{FF2B5EF4-FFF2-40B4-BE49-F238E27FC236}">
                    <a16:creationId xmlns:a16="http://schemas.microsoft.com/office/drawing/2014/main" id="{16D2BC84-5307-4C7D-816E-96128931CAFD}"/>
                  </a:ext>
                </a:extLst>
              </p:cNvPr>
              <p:cNvCxnSpPr>
                <a:stCxn id="49" idx="1"/>
                <a:endCxn id="48"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83E3957-E8E2-49CF-89FC-D3692F65675E}"/>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grpSp>
        <p:nvGrpSpPr>
          <p:cNvPr id="69" name="Group 68">
            <a:extLst>
              <a:ext uri="{FF2B5EF4-FFF2-40B4-BE49-F238E27FC236}">
                <a16:creationId xmlns:a16="http://schemas.microsoft.com/office/drawing/2014/main" id="{E014B801-D06B-4AFF-ABD4-8B959D4A8C65}"/>
              </a:ext>
            </a:extLst>
          </p:cNvPr>
          <p:cNvGrpSpPr/>
          <p:nvPr/>
        </p:nvGrpSpPr>
        <p:grpSpPr>
          <a:xfrm>
            <a:off x="10735874" y="1859016"/>
            <a:ext cx="384181" cy="55099"/>
            <a:chOff x="3609347" y="2150884"/>
            <a:chExt cx="323386" cy="72179"/>
          </a:xfrm>
        </p:grpSpPr>
        <p:sp>
          <p:nvSpPr>
            <p:cNvPr id="70" name="Rectangle: Rounded Corners 69">
              <a:extLst>
                <a:ext uri="{FF2B5EF4-FFF2-40B4-BE49-F238E27FC236}">
                  <a16:creationId xmlns:a16="http://schemas.microsoft.com/office/drawing/2014/main" id="{55DE9045-6C04-4B5A-8F2B-F88032B9499F}"/>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1" name="Rectangle: Rounded Corners 70">
              <a:extLst>
                <a:ext uri="{FF2B5EF4-FFF2-40B4-BE49-F238E27FC236}">
                  <a16:creationId xmlns:a16="http://schemas.microsoft.com/office/drawing/2014/main" id="{66294976-4D59-4BB1-B59A-23EA0226B87A}"/>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72" name="Rectangle 71">
              <a:extLst>
                <a:ext uri="{FF2B5EF4-FFF2-40B4-BE49-F238E27FC236}">
                  <a16:creationId xmlns:a16="http://schemas.microsoft.com/office/drawing/2014/main" id="{0DC1EA53-6A93-4EBF-905B-7ED07124AA62}"/>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nvGrpSpPr>
          <p:cNvPr id="32" name="Group 31">
            <a:extLst>
              <a:ext uri="{FF2B5EF4-FFF2-40B4-BE49-F238E27FC236}">
                <a16:creationId xmlns:a16="http://schemas.microsoft.com/office/drawing/2014/main" id="{CE3D2B4B-D260-4C54-9B3A-BF683EFE0E63}"/>
              </a:ext>
            </a:extLst>
          </p:cNvPr>
          <p:cNvGrpSpPr/>
          <p:nvPr/>
        </p:nvGrpSpPr>
        <p:grpSpPr>
          <a:xfrm>
            <a:off x="604597" y="4045158"/>
            <a:ext cx="5343919" cy="840217"/>
            <a:chOff x="604597" y="4369623"/>
            <a:chExt cx="5343919" cy="840217"/>
          </a:xfrm>
        </p:grpSpPr>
        <p:sp>
          <p:nvSpPr>
            <p:cNvPr id="73" name="Title 1">
              <a:extLst>
                <a:ext uri="{FF2B5EF4-FFF2-40B4-BE49-F238E27FC236}">
                  <a16:creationId xmlns:a16="http://schemas.microsoft.com/office/drawing/2014/main" id="{8BB6D43B-5F9C-4002-AE02-7A18E6FECB97}"/>
                </a:ext>
              </a:extLst>
            </p:cNvPr>
            <p:cNvSpPr txBox="1">
              <a:spLocks/>
            </p:cNvSpPr>
            <p:nvPr/>
          </p:nvSpPr>
          <p:spPr>
            <a:xfrm flipH="1">
              <a:off x="1325880" y="4590112"/>
              <a:ext cx="4622636" cy="399239"/>
            </a:xfrm>
            <a:prstGeom prst="rect">
              <a:avLst/>
            </a:prstGeom>
            <a:solidFill>
              <a:srgbClr val="747480"/>
            </a:solidFill>
            <a:ln w="0">
              <a:solidFill>
                <a:srgbClr val="747480"/>
              </a:solidFill>
            </a:ln>
          </p:spPr>
          <p:txBody>
            <a:bodyPr wrap="square" lIns="73025" tIns="73025" rIns="73025" bIns="73025" rtlCol="0" anchor="ctr">
              <a:noAutofit/>
            </a:bodyPr>
            <a:lstStyle>
              <a:defPPr>
                <a:defRPr lang="de-DE"/>
              </a:defPPr>
              <a:lvl1pPr algn="ctr" fontAlgn="base">
                <a:spcBef>
                  <a:spcPct val="0"/>
                </a:spcBef>
                <a:spcAft>
                  <a:spcPct val="0"/>
                </a:spcAft>
                <a:defRPr sz="1600"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l"/>
              <a:r>
                <a:rPr lang="de-AT" sz="1400" dirty="0">
                  <a:solidFill>
                    <a:srgbClr val="FFFFFF"/>
                  </a:solidFill>
                </a:rPr>
                <a:t>Public permissionless</a:t>
              </a:r>
            </a:p>
          </p:txBody>
        </p:sp>
        <p:grpSp>
          <p:nvGrpSpPr>
            <p:cNvPr id="74" name="Group 73">
              <a:extLst>
                <a:ext uri="{FF2B5EF4-FFF2-40B4-BE49-F238E27FC236}">
                  <a16:creationId xmlns:a16="http://schemas.microsoft.com/office/drawing/2014/main" id="{BB938D24-585E-4A6E-9523-F12BDA2C9B28}"/>
                </a:ext>
              </a:extLst>
            </p:cNvPr>
            <p:cNvGrpSpPr/>
            <p:nvPr/>
          </p:nvGrpSpPr>
          <p:grpSpPr>
            <a:xfrm>
              <a:off x="604597" y="4369623"/>
              <a:ext cx="778515" cy="840217"/>
              <a:chOff x="490271" y="1256372"/>
              <a:chExt cx="543256" cy="586312"/>
            </a:xfrm>
          </p:grpSpPr>
          <p:cxnSp>
            <p:nvCxnSpPr>
              <p:cNvPr id="75" name="Straight Connector 74">
                <a:extLst>
                  <a:ext uri="{FF2B5EF4-FFF2-40B4-BE49-F238E27FC236}">
                    <a16:creationId xmlns:a16="http://schemas.microsoft.com/office/drawing/2014/main" id="{6C563F35-C79B-4532-8A14-FB4D7C78D678}"/>
                  </a:ext>
                </a:extLst>
              </p:cNvPr>
              <p:cNvCxnSpPr>
                <a:cxnSpLocks/>
              </p:cNvCxnSpPr>
              <p:nvPr/>
            </p:nvCxnSpPr>
            <p:spPr>
              <a:xfrm>
                <a:off x="813446" y="1549105"/>
                <a:ext cx="220081" cy="113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91CC303A-C37C-4CF2-BD22-B0398637B0BA}"/>
                  </a:ext>
                </a:extLst>
              </p:cNvPr>
              <p:cNvGrpSpPr/>
              <p:nvPr/>
            </p:nvGrpSpPr>
            <p:grpSpPr>
              <a:xfrm flipV="1">
                <a:off x="882996" y="1720848"/>
                <a:ext cx="39755" cy="104813"/>
                <a:chOff x="982980" y="3001821"/>
                <a:chExt cx="77637" cy="204686"/>
              </a:xfrm>
            </p:grpSpPr>
            <p:cxnSp>
              <p:nvCxnSpPr>
                <p:cNvPr id="114" name="Straight Connector 113">
                  <a:extLst>
                    <a:ext uri="{FF2B5EF4-FFF2-40B4-BE49-F238E27FC236}">
                      <a16:creationId xmlns:a16="http://schemas.microsoft.com/office/drawing/2014/main" id="{86A4BEAD-2F97-40D3-9E0C-A7F681D79E29}"/>
                    </a:ext>
                  </a:extLst>
                </p:cNvPr>
                <p:cNvCxnSpPr/>
                <p:nvPr/>
              </p:nvCxnSpPr>
              <p:spPr>
                <a:xfrm flipV="1">
                  <a:off x="987481" y="3150406"/>
                  <a:ext cx="0" cy="5610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DA35842-FF79-4A75-B6BB-9547513FB06E}"/>
                    </a:ext>
                  </a:extLst>
                </p:cNvPr>
                <p:cNvCxnSpPr/>
                <p:nvPr/>
              </p:nvCxnSpPr>
              <p:spPr>
                <a:xfrm flipV="1">
                  <a:off x="982980" y="3106081"/>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E2B32E95-A765-464B-AD90-B4B57902D653}"/>
                    </a:ext>
                  </a:extLst>
                </p:cNvPr>
                <p:cNvCxnSpPr/>
                <p:nvPr/>
              </p:nvCxnSpPr>
              <p:spPr>
                <a:xfrm flipV="1">
                  <a:off x="1033482" y="3003239"/>
                  <a:ext cx="0" cy="10284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17" name="Oval 116">
                  <a:extLst>
                    <a:ext uri="{FF2B5EF4-FFF2-40B4-BE49-F238E27FC236}">
                      <a16:creationId xmlns:a16="http://schemas.microsoft.com/office/drawing/2014/main" id="{8B792803-57A4-4B96-8744-33DAAAA2B064}"/>
                    </a:ext>
                  </a:extLst>
                </p:cNvPr>
                <p:cNvSpPr/>
                <p:nvPr/>
              </p:nvSpPr>
              <p:spPr bwMode="gray">
                <a:xfrm>
                  <a:off x="1008231" y="3001821"/>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sp>
            <p:nvSpPr>
              <p:cNvPr id="77" name="Rectangle 76">
                <a:extLst>
                  <a:ext uri="{FF2B5EF4-FFF2-40B4-BE49-F238E27FC236}">
                    <a16:creationId xmlns:a16="http://schemas.microsoft.com/office/drawing/2014/main" id="{D1893C5D-E4F0-4FC2-AA36-5D3D03A919C7}"/>
                  </a:ext>
                </a:extLst>
              </p:cNvPr>
              <p:cNvSpPr/>
              <p:nvPr/>
            </p:nvSpPr>
            <p:spPr bwMode="gray">
              <a:xfrm>
                <a:off x="612869" y="1446807"/>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78" name="Rectangle 77">
                <a:extLst>
                  <a:ext uri="{FF2B5EF4-FFF2-40B4-BE49-F238E27FC236}">
                    <a16:creationId xmlns:a16="http://schemas.microsoft.com/office/drawing/2014/main" id="{4F108C6A-2796-4A12-AA06-8112AEA85022}"/>
                  </a:ext>
                </a:extLst>
              </p:cNvPr>
              <p:cNvSpPr/>
              <p:nvPr/>
            </p:nvSpPr>
            <p:spPr bwMode="gray">
              <a:xfrm>
                <a:off x="612869" y="1532053"/>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79" name="Rectangle 78">
                <a:extLst>
                  <a:ext uri="{FF2B5EF4-FFF2-40B4-BE49-F238E27FC236}">
                    <a16:creationId xmlns:a16="http://schemas.microsoft.com/office/drawing/2014/main" id="{D537C199-F60A-4A39-A5D4-BB5AC6AF86DA}"/>
                  </a:ext>
                </a:extLst>
              </p:cNvPr>
              <p:cNvSpPr/>
              <p:nvPr/>
            </p:nvSpPr>
            <p:spPr bwMode="gray">
              <a:xfrm>
                <a:off x="612869" y="1617299"/>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cxnSp>
            <p:nvCxnSpPr>
              <p:cNvPr id="80" name="Straight Connector 79">
                <a:extLst>
                  <a:ext uri="{FF2B5EF4-FFF2-40B4-BE49-F238E27FC236}">
                    <a16:creationId xmlns:a16="http://schemas.microsoft.com/office/drawing/2014/main" id="{35CCB17B-0C31-46CE-98D3-7F583224E92D}"/>
                  </a:ext>
                </a:extLst>
              </p:cNvPr>
              <p:cNvCxnSpPr>
                <a:stCxn id="77" idx="1"/>
                <a:endCxn id="81" idx="6"/>
              </p:cNvCxnSpPr>
              <p:nvPr/>
            </p:nvCxnSpPr>
            <p:spPr>
              <a:xfrm flipH="1" flipV="1">
                <a:off x="517096" y="1463945"/>
                <a:ext cx="95773" cy="165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F99FFF55-B75D-47B6-B87A-59353C846239}"/>
                  </a:ext>
                </a:extLst>
              </p:cNvPr>
              <p:cNvSpPr/>
              <p:nvPr/>
            </p:nvSpPr>
            <p:spPr bwMode="gray">
              <a:xfrm>
                <a:off x="490271" y="1450532"/>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82" name="Straight Connector 81">
                <a:extLst>
                  <a:ext uri="{FF2B5EF4-FFF2-40B4-BE49-F238E27FC236}">
                    <a16:creationId xmlns:a16="http://schemas.microsoft.com/office/drawing/2014/main" id="{1A7D0F53-5917-4909-8E45-B6D09F8141C8}"/>
                  </a:ext>
                </a:extLst>
              </p:cNvPr>
              <p:cNvCxnSpPr>
                <a:stCxn id="78" idx="1"/>
              </p:cNvCxnSpPr>
              <p:nvPr/>
            </p:nvCxnSpPr>
            <p:spPr>
              <a:xfrm flipH="1">
                <a:off x="557839" y="1550846"/>
                <a:ext cx="55031" cy="0"/>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F272CC12-E7D0-4F13-9352-18A1694721D7}"/>
                  </a:ext>
                </a:extLst>
              </p:cNvPr>
              <p:cNvSpPr/>
              <p:nvPr/>
            </p:nvSpPr>
            <p:spPr bwMode="gray">
              <a:xfrm>
                <a:off x="528828" y="153617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84" name="Straight Connector 83">
                <a:extLst>
                  <a:ext uri="{FF2B5EF4-FFF2-40B4-BE49-F238E27FC236}">
                    <a16:creationId xmlns:a16="http://schemas.microsoft.com/office/drawing/2014/main" id="{1C4F4AC8-359C-4128-99D6-AD708572BF3A}"/>
                  </a:ext>
                </a:extLst>
              </p:cNvPr>
              <p:cNvCxnSpPr>
                <a:stCxn id="79" idx="1"/>
                <a:endCxn id="85" idx="6"/>
              </p:cNvCxnSpPr>
              <p:nvPr/>
            </p:nvCxnSpPr>
            <p:spPr>
              <a:xfrm flipH="1">
                <a:off x="549556" y="1636092"/>
                <a:ext cx="63313" cy="113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92E76DA9-1490-45D1-9E6D-3F8F9DC224F3}"/>
                  </a:ext>
                </a:extLst>
              </p:cNvPr>
              <p:cNvSpPr/>
              <p:nvPr/>
            </p:nvSpPr>
            <p:spPr bwMode="gray">
              <a:xfrm>
                <a:off x="522731" y="162381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86" name="Group 85">
                <a:extLst>
                  <a:ext uri="{FF2B5EF4-FFF2-40B4-BE49-F238E27FC236}">
                    <a16:creationId xmlns:a16="http://schemas.microsoft.com/office/drawing/2014/main" id="{8F3D9956-6763-45D3-8ACB-C58CDF416F82}"/>
                  </a:ext>
                </a:extLst>
              </p:cNvPr>
              <p:cNvGrpSpPr/>
              <p:nvPr/>
            </p:nvGrpSpPr>
            <p:grpSpPr>
              <a:xfrm rot="5400000">
                <a:off x="780539" y="1278249"/>
                <a:ext cx="40849" cy="208078"/>
                <a:chOff x="906170" y="2076504"/>
                <a:chExt cx="79774" cy="406348"/>
              </a:xfrm>
            </p:grpSpPr>
            <p:sp>
              <p:nvSpPr>
                <p:cNvPr id="111" name="Rectangle 110">
                  <a:extLst>
                    <a:ext uri="{FF2B5EF4-FFF2-40B4-BE49-F238E27FC236}">
                      <a16:creationId xmlns:a16="http://schemas.microsoft.com/office/drawing/2014/main" id="{BAD2BDD6-DF21-4290-BD7B-C5001F03679E}"/>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12" name="Rectangle 111">
                  <a:extLst>
                    <a:ext uri="{FF2B5EF4-FFF2-40B4-BE49-F238E27FC236}">
                      <a16:creationId xmlns:a16="http://schemas.microsoft.com/office/drawing/2014/main" id="{1A91B40C-6FAB-4F60-BF2F-1A275DD090C9}"/>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13" name="Rectangle 112">
                  <a:extLst>
                    <a:ext uri="{FF2B5EF4-FFF2-40B4-BE49-F238E27FC236}">
                      <a16:creationId xmlns:a16="http://schemas.microsoft.com/office/drawing/2014/main" id="{1043581F-E171-4567-AD41-8992DA283F9B}"/>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cxnSp>
            <p:nvCxnSpPr>
              <p:cNvPr id="87" name="Straight Connector 86">
                <a:extLst>
                  <a:ext uri="{FF2B5EF4-FFF2-40B4-BE49-F238E27FC236}">
                    <a16:creationId xmlns:a16="http://schemas.microsoft.com/office/drawing/2014/main" id="{A1D53DC0-DCB1-402A-AFEA-BBF5D292BA09}"/>
                  </a:ext>
                </a:extLst>
              </p:cNvPr>
              <p:cNvCxnSpPr>
                <a:stCxn id="113" idx="1"/>
              </p:cNvCxnSpPr>
              <p:nvPr/>
            </p:nvCxnSpPr>
            <p:spPr>
              <a:xfrm flipH="1" flipV="1">
                <a:off x="714891" y="1318277"/>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5DE2A7B-8CBF-45E3-A783-8BCDE1164F28}"/>
                  </a:ext>
                </a:extLst>
              </p:cNvPr>
              <p:cNvCxnSpPr/>
              <p:nvPr/>
            </p:nvCxnSpPr>
            <p:spPr>
              <a:xfrm flipH="1" flipV="1">
                <a:off x="689030" y="129558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A0C91943-C877-415D-8C77-2A4F067CF055}"/>
                  </a:ext>
                </a:extLst>
              </p:cNvPr>
              <p:cNvSpPr/>
              <p:nvPr/>
            </p:nvSpPr>
            <p:spPr bwMode="gray">
              <a:xfrm>
                <a:off x="665222" y="1268755"/>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90" name="Straight Connector 89">
                <a:extLst>
                  <a:ext uri="{FF2B5EF4-FFF2-40B4-BE49-F238E27FC236}">
                    <a16:creationId xmlns:a16="http://schemas.microsoft.com/office/drawing/2014/main" id="{94662986-2025-40B4-B224-F1026026390D}"/>
                  </a:ext>
                </a:extLst>
              </p:cNvPr>
              <p:cNvCxnSpPr/>
              <p:nvPr/>
            </p:nvCxnSpPr>
            <p:spPr>
              <a:xfrm flipV="1">
                <a:off x="803268" y="1333138"/>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21506E2-2B83-4199-B1FA-18030D0636F2}"/>
                  </a:ext>
                </a:extLst>
              </p:cNvPr>
              <p:cNvCxnSpPr/>
              <p:nvPr/>
            </p:nvCxnSpPr>
            <p:spPr>
              <a:xfrm flipV="1">
                <a:off x="800964" y="131044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C6AC284-AD10-4A78-8A51-1DC159B08197}"/>
                  </a:ext>
                </a:extLst>
              </p:cNvPr>
              <p:cNvCxnSpPr/>
              <p:nvPr/>
            </p:nvCxnSpPr>
            <p:spPr>
              <a:xfrm flipV="1">
                <a:off x="826824" y="1257777"/>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A04D6CF0-F846-47DF-AB24-8C6C4D13A8C2}"/>
                  </a:ext>
                </a:extLst>
              </p:cNvPr>
              <p:cNvSpPr/>
              <p:nvPr/>
            </p:nvSpPr>
            <p:spPr bwMode="gray">
              <a:xfrm>
                <a:off x="813893" y="125705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94" name="Group 93">
                <a:extLst>
                  <a:ext uri="{FF2B5EF4-FFF2-40B4-BE49-F238E27FC236}">
                    <a16:creationId xmlns:a16="http://schemas.microsoft.com/office/drawing/2014/main" id="{DBB037B4-3BE3-4BA5-B4F6-C8477734CDDF}"/>
                  </a:ext>
                </a:extLst>
              </p:cNvPr>
              <p:cNvGrpSpPr/>
              <p:nvPr/>
            </p:nvGrpSpPr>
            <p:grpSpPr>
              <a:xfrm rot="5400000">
                <a:off x="833463" y="1295705"/>
                <a:ext cx="105491" cy="26825"/>
                <a:chOff x="1476522" y="2083779"/>
                <a:chExt cx="206012" cy="52386"/>
              </a:xfrm>
            </p:grpSpPr>
            <p:cxnSp>
              <p:nvCxnSpPr>
                <p:cNvPr id="109" name="Straight Connector 108">
                  <a:extLst>
                    <a:ext uri="{FF2B5EF4-FFF2-40B4-BE49-F238E27FC236}">
                      <a16:creationId xmlns:a16="http://schemas.microsoft.com/office/drawing/2014/main" id="{9018FC7B-B664-41B1-8630-5E3F0D2BE32F}"/>
                    </a:ext>
                  </a:extLst>
                </p:cNvPr>
                <p:cNvCxnSpPr>
                  <a:stCxn id="111" idx="1"/>
                  <a:endCxn id="110"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A97FD656-B9CD-49F2-A201-02B2EBC00702}"/>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95" name="Group 94">
                <a:extLst>
                  <a:ext uri="{FF2B5EF4-FFF2-40B4-BE49-F238E27FC236}">
                    <a16:creationId xmlns:a16="http://schemas.microsoft.com/office/drawing/2014/main" id="{8F0F9F86-D58A-4519-8FF1-1C2C591FBD04}"/>
                  </a:ext>
                </a:extLst>
              </p:cNvPr>
              <p:cNvGrpSpPr/>
              <p:nvPr/>
            </p:nvGrpSpPr>
            <p:grpSpPr>
              <a:xfrm rot="16200000" flipV="1">
                <a:off x="780539" y="1611271"/>
                <a:ext cx="40849" cy="208078"/>
                <a:chOff x="906170" y="2076504"/>
                <a:chExt cx="79774" cy="406348"/>
              </a:xfrm>
            </p:grpSpPr>
            <p:sp>
              <p:nvSpPr>
                <p:cNvPr id="106" name="Rectangle 105">
                  <a:extLst>
                    <a:ext uri="{FF2B5EF4-FFF2-40B4-BE49-F238E27FC236}">
                      <a16:creationId xmlns:a16="http://schemas.microsoft.com/office/drawing/2014/main" id="{E06B9531-256D-4606-BEC8-8FBACFECBE76}"/>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07" name="Rectangle 106">
                  <a:extLst>
                    <a:ext uri="{FF2B5EF4-FFF2-40B4-BE49-F238E27FC236}">
                      <a16:creationId xmlns:a16="http://schemas.microsoft.com/office/drawing/2014/main" id="{2391F7D5-125A-4BB0-A11D-F7BA2C91118B}"/>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08" name="Rectangle 107">
                  <a:extLst>
                    <a:ext uri="{FF2B5EF4-FFF2-40B4-BE49-F238E27FC236}">
                      <a16:creationId xmlns:a16="http://schemas.microsoft.com/office/drawing/2014/main" id="{F37C4825-4DA2-4B20-AA96-BB53F1A6DE73}"/>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grpSp>
            <p:nvGrpSpPr>
              <p:cNvPr id="96" name="Group 95">
                <a:extLst>
                  <a:ext uri="{FF2B5EF4-FFF2-40B4-BE49-F238E27FC236}">
                    <a16:creationId xmlns:a16="http://schemas.microsoft.com/office/drawing/2014/main" id="{9E3997AE-A0CD-4DDB-B8B0-4474D4ED7F14}"/>
                  </a:ext>
                </a:extLst>
              </p:cNvPr>
              <p:cNvGrpSpPr/>
              <p:nvPr/>
            </p:nvGrpSpPr>
            <p:grpSpPr>
              <a:xfrm flipV="1">
                <a:off x="662132" y="1739056"/>
                <a:ext cx="50496" cy="93109"/>
                <a:chOff x="717895" y="2924854"/>
                <a:chExt cx="98612" cy="181829"/>
              </a:xfrm>
            </p:grpSpPr>
            <p:cxnSp>
              <p:nvCxnSpPr>
                <p:cNvPr id="103" name="Straight Connector 102">
                  <a:extLst>
                    <a:ext uri="{FF2B5EF4-FFF2-40B4-BE49-F238E27FC236}">
                      <a16:creationId xmlns:a16="http://schemas.microsoft.com/office/drawing/2014/main" id="{EA2AFFF2-2279-45C4-9CFB-0B84C5CD72A8}"/>
                    </a:ext>
                  </a:extLst>
                </p:cNvPr>
                <p:cNvCxnSpPr/>
                <p:nvPr/>
              </p:nvCxnSpPr>
              <p:spPr>
                <a:xfrm flipH="1" flipV="1">
                  <a:off x="814891" y="3021564"/>
                  <a:ext cx="1616" cy="85119"/>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25FCA97-CBC7-43CC-A377-16632EECB909}"/>
                    </a:ext>
                  </a:extLst>
                </p:cNvPr>
                <p:cNvCxnSpPr/>
                <p:nvPr/>
              </p:nvCxnSpPr>
              <p:spPr>
                <a:xfrm flipH="1" flipV="1">
                  <a:off x="764389" y="2977239"/>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E15487B7-F276-42FC-939D-6C6AB16378FC}"/>
                    </a:ext>
                  </a:extLst>
                </p:cNvPr>
                <p:cNvSpPr/>
                <p:nvPr/>
              </p:nvSpPr>
              <p:spPr bwMode="gray">
                <a:xfrm>
                  <a:off x="717895" y="2924854"/>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97" name="Group 96">
                <a:extLst>
                  <a:ext uri="{FF2B5EF4-FFF2-40B4-BE49-F238E27FC236}">
                    <a16:creationId xmlns:a16="http://schemas.microsoft.com/office/drawing/2014/main" id="{779438C9-5C4E-4F2A-984E-B0313ED0A0E2}"/>
                  </a:ext>
                </a:extLst>
              </p:cNvPr>
              <p:cNvGrpSpPr/>
              <p:nvPr/>
            </p:nvGrpSpPr>
            <p:grpSpPr>
              <a:xfrm rot="16200000" flipV="1">
                <a:off x="747224" y="1776525"/>
                <a:ext cx="105492" cy="26825"/>
                <a:chOff x="1476522" y="2083779"/>
                <a:chExt cx="206011" cy="52386"/>
              </a:xfrm>
            </p:grpSpPr>
            <p:cxnSp>
              <p:nvCxnSpPr>
                <p:cNvPr id="101" name="Straight Connector 100">
                  <a:extLst>
                    <a:ext uri="{FF2B5EF4-FFF2-40B4-BE49-F238E27FC236}">
                      <a16:creationId xmlns:a16="http://schemas.microsoft.com/office/drawing/2014/main" id="{BD5F8308-9CC3-4B12-9657-DB3C37205A72}"/>
                    </a:ext>
                  </a:extLst>
                </p:cNvPr>
                <p:cNvCxnSpPr>
                  <a:endCxn id="102"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02" name="Oval 101">
                  <a:extLst>
                    <a:ext uri="{FF2B5EF4-FFF2-40B4-BE49-F238E27FC236}">
                      <a16:creationId xmlns:a16="http://schemas.microsoft.com/office/drawing/2014/main" id="{BD82973E-A1F7-4F37-9E47-3B9117F3F61E}"/>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cxnSp>
            <p:nvCxnSpPr>
              <p:cNvPr id="98" name="Straight Connector 97">
                <a:extLst>
                  <a:ext uri="{FF2B5EF4-FFF2-40B4-BE49-F238E27FC236}">
                    <a16:creationId xmlns:a16="http://schemas.microsoft.com/office/drawing/2014/main" id="{FB7D5C32-CE0B-4609-9D79-50B861340732}"/>
                  </a:ext>
                </a:extLst>
              </p:cNvPr>
              <p:cNvCxnSpPr/>
              <p:nvPr/>
            </p:nvCxnSpPr>
            <p:spPr>
              <a:xfrm>
                <a:off x="988393" y="1636092"/>
                <a:ext cx="45134" cy="1131"/>
              </a:xfrm>
              <a:prstGeom prst="line">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42FA7B69-9969-465B-BFD1-495CFA7BFBE4}"/>
                  </a:ext>
                </a:extLst>
              </p:cNvPr>
              <p:cNvSpPr/>
              <p:nvPr/>
            </p:nvSpPr>
            <p:spPr bwMode="gray">
              <a:xfrm>
                <a:off x="654384" y="1403439"/>
                <a:ext cx="293159" cy="293160"/>
              </a:xfrm>
              <a:prstGeom prst="rect">
                <a:avLst/>
              </a:prstGeom>
              <a:solidFill>
                <a:srgbClr val="747480"/>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r>
                  <a:rPr lang="en-GB" sz="1452" b="1" dirty="0">
                    <a:solidFill>
                      <a:prstClr val="white"/>
                    </a:solidFill>
                  </a:rPr>
                  <a:t>1</a:t>
                </a:r>
              </a:p>
            </p:txBody>
          </p:sp>
        </p:grpSp>
      </p:grpSp>
      <p:grpSp>
        <p:nvGrpSpPr>
          <p:cNvPr id="118" name="Group 117">
            <a:extLst>
              <a:ext uri="{FF2B5EF4-FFF2-40B4-BE49-F238E27FC236}">
                <a16:creationId xmlns:a16="http://schemas.microsoft.com/office/drawing/2014/main" id="{1A3D951F-6092-4EF0-8112-34BB63993AA2}"/>
              </a:ext>
            </a:extLst>
          </p:cNvPr>
          <p:cNvGrpSpPr/>
          <p:nvPr/>
        </p:nvGrpSpPr>
        <p:grpSpPr>
          <a:xfrm>
            <a:off x="604597" y="5064504"/>
            <a:ext cx="5343919" cy="840217"/>
            <a:chOff x="604597" y="4369623"/>
            <a:chExt cx="5343919" cy="840217"/>
          </a:xfrm>
        </p:grpSpPr>
        <p:sp>
          <p:nvSpPr>
            <p:cNvPr id="119" name="Title 1">
              <a:extLst>
                <a:ext uri="{FF2B5EF4-FFF2-40B4-BE49-F238E27FC236}">
                  <a16:creationId xmlns:a16="http://schemas.microsoft.com/office/drawing/2014/main" id="{A2FD3CC0-CD1F-4EFA-9FD3-4C3D24A5E86D}"/>
                </a:ext>
              </a:extLst>
            </p:cNvPr>
            <p:cNvSpPr txBox="1">
              <a:spLocks/>
            </p:cNvSpPr>
            <p:nvPr/>
          </p:nvSpPr>
          <p:spPr>
            <a:xfrm flipH="1">
              <a:off x="1325880" y="4590112"/>
              <a:ext cx="4622636" cy="399239"/>
            </a:xfrm>
            <a:prstGeom prst="rect">
              <a:avLst/>
            </a:prstGeom>
            <a:solidFill>
              <a:srgbClr val="747480"/>
            </a:solidFill>
            <a:ln w="0">
              <a:solidFill>
                <a:srgbClr val="747480"/>
              </a:solidFill>
            </a:ln>
          </p:spPr>
          <p:txBody>
            <a:bodyPr wrap="square" lIns="73025" tIns="73025" rIns="73025" bIns="73025" rtlCol="0" anchor="ctr">
              <a:noAutofit/>
            </a:bodyPr>
            <a:lstStyle>
              <a:defPPr>
                <a:defRPr lang="de-DE"/>
              </a:defPPr>
              <a:lvl1pPr algn="ctr" fontAlgn="base">
                <a:spcBef>
                  <a:spcPct val="0"/>
                </a:spcBef>
                <a:spcAft>
                  <a:spcPct val="0"/>
                </a:spcAft>
                <a:defRPr sz="1600"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l"/>
              <a:r>
                <a:rPr lang="de-AT" sz="1400" dirty="0">
                  <a:solidFill>
                    <a:srgbClr val="FFFFFF"/>
                  </a:solidFill>
                </a:rPr>
                <a:t>Public permissioned</a:t>
              </a:r>
            </a:p>
          </p:txBody>
        </p:sp>
        <p:grpSp>
          <p:nvGrpSpPr>
            <p:cNvPr id="120" name="Group 119">
              <a:extLst>
                <a:ext uri="{FF2B5EF4-FFF2-40B4-BE49-F238E27FC236}">
                  <a16:creationId xmlns:a16="http://schemas.microsoft.com/office/drawing/2014/main" id="{07E989B9-2C94-4FAD-8739-5349985338C1}"/>
                </a:ext>
              </a:extLst>
            </p:cNvPr>
            <p:cNvGrpSpPr/>
            <p:nvPr/>
          </p:nvGrpSpPr>
          <p:grpSpPr>
            <a:xfrm>
              <a:off x="604597" y="4369623"/>
              <a:ext cx="778515" cy="840217"/>
              <a:chOff x="490271" y="1256372"/>
              <a:chExt cx="543256" cy="586312"/>
            </a:xfrm>
          </p:grpSpPr>
          <p:cxnSp>
            <p:nvCxnSpPr>
              <p:cNvPr id="121" name="Straight Connector 120">
                <a:extLst>
                  <a:ext uri="{FF2B5EF4-FFF2-40B4-BE49-F238E27FC236}">
                    <a16:creationId xmlns:a16="http://schemas.microsoft.com/office/drawing/2014/main" id="{8072A794-C860-458A-8279-99C7B151624C}"/>
                  </a:ext>
                </a:extLst>
              </p:cNvPr>
              <p:cNvCxnSpPr>
                <a:cxnSpLocks/>
              </p:cNvCxnSpPr>
              <p:nvPr/>
            </p:nvCxnSpPr>
            <p:spPr>
              <a:xfrm>
                <a:off x="813446" y="1549105"/>
                <a:ext cx="220081" cy="113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0CF44F53-8B8D-405B-9D2A-E3306D583CD4}"/>
                  </a:ext>
                </a:extLst>
              </p:cNvPr>
              <p:cNvGrpSpPr/>
              <p:nvPr/>
            </p:nvGrpSpPr>
            <p:grpSpPr>
              <a:xfrm flipV="1">
                <a:off x="882996" y="1720848"/>
                <a:ext cx="39755" cy="104813"/>
                <a:chOff x="982980" y="3001821"/>
                <a:chExt cx="77637" cy="204686"/>
              </a:xfrm>
            </p:grpSpPr>
            <p:cxnSp>
              <p:nvCxnSpPr>
                <p:cNvPr id="159" name="Straight Connector 158">
                  <a:extLst>
                    <a:ext uri="{FF2B5EF4-FFF2-40B4-BE49-F238E27FC236}">
                      <a16:creationId xmlns:a16="http://schemas.microsoft.com/office/drawing/2014/main" id="{1EB2C034-8D4B-4911-8284-08B06B69A5E3}"/>
                    </a:ext>
                  </a:extLst>
                </p:cNvPr>
                <p:cNvCxnSpPr/>
                <p:nvPr/>
              </p:nvCxnSpPr>
              <p:spPr>
                <a:xfrm flipV="1">
                  <a:off x="987481" y="3150406"/>
                  <a:ext cx="0" cy="5610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842CA3E4-9F6F-4AD1-87D8-91414C82B8E8}"/>
                    </a:ext>
                  </a:extLst>
                </p:cNvPr>
                <p:cNvCxnSpPr/>
                <p:nvPr/>
              </p:nvCxnSpPr>
              <p:spPr>
                <a:xfrm flipV="1">
                  <a:off x="982980" y="3106081"/>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B6518A22-C862-4192-BE04-90E5BC1F2318}"/>
                    </a:ext>
                  </a:extLst>
                </p:cNvPr>
                <p:cNvCxnSpPr/>
                <p:nvPr/>
              </p:nvCxnSpPr>
              <p:spPr>
                <a:xfrm flipV="1">
                  <a:off x="1033482" y="3003239"/>
                  <a:ext cx="0" cy="10284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C59D7600-4557-468E-A6F7-ABD13AA2C49A}"/>
                    </a:ext>
                  </a:extLst>
                </p:cNvPr>
                <p:cNvSpPr/>
                <p:nvPr/>
              </p:nvSpPr>
              <p:spPr bwMode="gray">
                <a:xfrm>
                  <a:off x="1008231" y="3001821"/>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sp>
            <p:nvSpPr>
              <p:cNvPr id="123" name="Rectangle 122">
                <a:extLst>
                  <a:ext uri="{FF2B5EF4-FFF2-40B4-BE49-F238E27FC236}">
                    <a16:creationId xmlns:a16="http://schemas.microsoft.com/office/drawing/2014/main" id="{1911C16A-24CC-4D58-A99C-68F20163D56E}"/>
                  </a:ext>
                </a:extLst>
              </p:cNvPr>
              <p:cNvSpPr/>
              <p:nvPr/>
            </p:nvSpPr>
            <p:spPr bwMode="gray">
              <a:xfrm>
                <a:off x="612869" y="1446807"/>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24" name="Rectangle 123">
                <a:extLst>
                  <a:ext uri="{FF2B5EF4-FFF2-40B4-BE49-F238E27FC236}">
                    <a16:creationId xmlns:a16="http://schemas.microsoft.com/office/drawing/2014/main" id="{436D424F-B3AD-44A2-8C0B-0F1F9A54D6D8}"/>
                  </a:ext>
                </a:extLst>
              </p:cNvPr>
              <p:cNvSpPr/>
              <p:nvPr/>
            </p:nvSpPr>
            <p:spPr bwMode="gray">
              <a:xfrm>
                <a:off x="612869" y="1532053"/>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25" name="Rectangle 124">
                <a:extLst>
                  <a:ext uri="{FF2B5EF4-FFF2-40B4-BE49-F238E27FC236}">
                    <a16:creationId xmlns:a16="http://schemas.microsoft.com/office/drawing/2014/main" id="{79C8FECA-0ECB-4C4F-BB5D-ED40D119CA8D}"/>
                  </a:ext>
                </a:extLst>
              </p:cNvPr>
              <p:cNvSpPr/>
              <p:nvPr/>
            </p:nvSpPr>
            <p:spPr bwMode="gray">
              <a:xfrm>
                <a:off x="612869" y="1617299"/>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cxnSp>
            <p:nvCxnSpPr>
              <p:cNvPr id="126" name="Straight Connector 125">
                <a:extLst>
                  <a:ext uri="{FF2B5EF4-FFF2-40B4-BE49-F238E27FC236}">
                    <a16:creationId xmlns:a16="http://schemas.microsoft.com/office/drawing/2014/main" id="{CE1F8F37-B26C-42AF-8D2B-FC25281FDCCF}"/>
                  </a:ext>
                </a:extLst>
              </p:cNvPr>
              <p:cNvCxnSpPr>
                <a:stCxn id="123" idx="1"/>
                <a:endCxn id="127" idx="6"/>
              </p:cNvCxnSpPr>
              <p:nvPr/>
            </p:nvCxnSpPr>
            <p:spPr>
              <a:xfrm flipH="1" flipV="1">
                <a:off x="517096" y="1463945"/>
                <a:ext cx="95773" cy="165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2885AADA-7888-47CF-989A-1F58E518BBC9}"/>
                  </a:ext>
                </a:extLst>
              </p:cNvPr>
              <p:cNvSpPr/>
              <p:nvPr/>
            </p:nvSpPr>
            <p:spPr bwMode="gray">
              <a:xfrm>
                <a:off x="490271" y="1450532"/>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128" name="Straight Connector 127">
                <a:extLst>
                  <a:ext uri="{FF2B5EF4-FFF2-40B4-BE49-F238E27FC236}">
                    <a16:creationId xmlns:a16="http://schemas.microsoft.com/office/drawing/2014/main" id="{C8EB4BCF-777C-4924-A758-FFA4CF29624E}"/>
                  </a:ext>
                </a:extLst>
              </p:cNvPr>
              <p:cNvCxnSpPr>
                <a:stCxn id="124" idx="1"/>
              </p:cNvCxnSpPr>
              <p:nvPr/>
            </p:nvCxnSpPr>
            <p:spPr>
              <a:xfrm flipH="1">
                <a:off x="557839" y="1550846"/>
                <a:ext cx="55031" cy="0"/>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72839B1E-A671-4E78-B31F-852A5294B7B5}"/>
                  </a:ext>
                </a:extLst>
              </p:cNvPr>
              <p:cNvSpPr/>
              <p:nvPr/>
            </p:nvSpPr>
            <p:spPr bwMode="gray">
              <a:xfrm>
                <a:off x="528828" y="153617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130" name="Straight Connector 129">
                <a:extLst>
                  <a:ext uri="{FF2B5EF4-FFF2-40B4-BE49-F238E27FC236}">
                    <a16:creationId xmlns:a16="http://schemas.microsoft.com/office/drawing/2014/main" id="{CB44088C-2E72-4320-B6AB-E5E2DCAD8759}"/>
                  </a:ext>
                </a:extLst>
              </p:cNvPr>
              <p:cNvCxnSpPr>
                <a:stCxn id="125" idx="1"/>
                <a:endCxn id="131" idx="6"/>
              </p:cNvCxnSpPr>
              <p:nvPr/>
            </p:nvCxnSpPr>
            <p:spPr>
              <a:xfrm flipH="1">
                <a:off x="549556" y="1636092"/>
                <a:ext cx="63313" cy="113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3EFB02E7-2637-4517-9444-83CB3ECF774F}"/>
                  </a:ext>
                </a:extLst>
              </p:cNvPr>
              <p:cNvSpPr/>
              <p:nvPr/>
            </p:nvSpPr>
            <p:spPr bwMode="gray">
              <a:xfrm>
                <a:off x="522731" y="162381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132" name="Group 131">
                <a:extLst>
                  <a:ext uri="{FF2B5EF4-FFF2-40B4-BE49-F238E27FC236}">
                    <a16:creationId xmlns:a16="http://schemas.microsoft.com/office/drawing/2014/main" id="{001F17F6-E348-4468-BE1C-332600E3DC57}"/>
                  </a:ext>
                </a:extLst>
              </p:cNvPr>
              <p:cNvGrpSpPr/>
              <p:nvPr/>
            </p:nvGrpSpPr>
            <p:grpSpPr>
              <a:xfrm rot="5400000">
                <a:off x="780539" y="1278249"/>
                <a:ext cx="40849" cy="208078"/>
                <a:chOff x="906170" y="2076504"/>
                <a:chExt cx="79774" cy="406348"/>
              </a:xfrm>
            </p:grpSpPr>
            <p:sp>
              <p:nvSpPr>
                <p:cNvPr id="156" name="Rectangle 155">
                  <a:extLst>
                    <a:ext uri="{FF2B5EF4-FFF2-40B4-BE49-F238E27FC236}">
                      <a16:creationId xmlns:a16="http://schemas.microsoft.com/office/drawing/2014/main" id="{8BD73FDB-8C70-489C-8A33-3768BDD7F6B5}"/>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57" name="Rectangle 156">
                  <a:extLst>
                    <a:ext uri="{FF2B5EF4-FFF2-40B4-BE49-F238E27FC236}">
                      <a16:creationId xmlns:a16="http://schemas.microsoft.com/office/drawing/2014/main" id="{5B121076-AF28-4EB0-947F-A6C98D4F1C12}"/>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58" name="Rectangle 157">
                  <a:extLst>
                    <a:ext uri="{FF2B5EF4-FFF2-40B4-BE49-F238E27FC236}">
                      <a16:creationId xmlns:a16="http://schemas.microsoft.com/office/drawing/2014/main" id="{B90E5C48-AB52-419D-BDB6-78706B17A13E}"/>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cxnSp>
            <p:nvCxnSpPr>
              <p:cNvPr id="133" name="Straight Connector 132">
                <a:extLst>
                  <a:ext uri="{FF2B5EF4-FFF2-40B4-BE49-F238E27FC236}">
                    <a16:creationId xmlns:a16="http://schemas.microsoft.com/office/drawing/2014/main" id="{4AED6DBB-BD0E-49BE-B111-51D5F93159E3}"/>
                  </a:ext>
                </a:extLst>
              </p:cNvPr>
              <p:cNvCxnSpPr>
                <a:stCxn id="158" idx="1"/>
              </p:cNvCxnSpPr>
              <p:nvPr/>
            </p:nvCxnSpPr>
            <p:spPr>
              <a:xfrm flipH="1" flipV="1">
                <a:off x="714891" y="1318277"/>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4BBFEA73-058C-44C9-842A-FF6B86CB9C6D}"/>
                  </a:ext>
                </a:extLst>
              </p:cNvPr>
              <p:cNvCxnSpPr/>
              <p:nvPr/>
            </p:nvCxnSpPr>
            <p:spPr>
              <a:xfrm flipH="1" flipV="1">
                <a:off x="689030" y="129558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35" name="Oval 134">
                <a:extLst>
                  <a:ext uri="{FF2B5EF4-FFF2-40B4-BE49-F238E27FC236}">
                    <a16:creationId xmlns:a16="http://schemas.microsoft.com/office/drawing/2014/main" id="{D16F737F-F1E7-430B-85FE-093A0BADD350}"/>
                  </a:ext>
                </a:extLst>
              </p:cNvPr>
              <p:cNvSpPr/>
              <p:nvPr/>
            </p:nvSpPr>
            <p:spPr bwMode="gray">
              <a:xfrm>
                <a:off x="665222" y="1268755"/>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136" name="Straight Connector 135">
                <a:extLst>
                  <a:ext uri="{FF2B5EF4-FFF2-40B4-BE49-F238E27FC236}">
                    <a16:creationId xmlns:a16="http://schemas.microsoft.com/office/drawing/2014/main" id="{A82ED185-DF42-4366-A6A2-BA353079F799}"/>
                  </a:ext>
                </a:extLst>
              </p:cNvPr>
              <p:cNvCxnSpPr/>
              <p:nvPr/>
            </p:nvCxnSpPr>
            <p:spPr>
              <a:xfrm flipV="1">
                <a:off x="803268" y="1333138"/>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6438965-0204-4F43-9E8C-99386ECE3067}"/>
                  </a:ext>
                </a:extLst>
              </p:cNvPr>
              <p:cNvCxnSpPr/>
              <p:nvPr/>
            </p:nvCxnSpPr>
            <p:spPr>
              <a:xfrm flipV="1">
                <a:off x="800964" y="131044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F37CAE2-BDAE-4ED8-B0D8-142C1B8BDBF4}"/>
                  </a:ext>
                </a:extLst>
              </p:cNvPr>
              <p:cNvCxnSpPr/>
              <p:nvPr/>
            </p:nvCxnSpPr>
            <p:spPr>
              <a:xfrm flipV="1">
                <a:off x="826824" y="1257777"/>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39" name="Oval 138">
                <a:extLst>
                  <a:ext uri="{FF2B5EF4-FFF2-40B4-BE49-F238E27FC236}">
                    <a16:creationId xmlns:a16="http://schemas.microsoft.com/office/drawing/2014/main" id="{DB1C4100-9122-41EC-9CD3-17684C60F4E4}"/>
                  </a:ext>
                </a:extLst>
              </p:cNvPr>
              <p:cNvSpPr/>
              <p:nvPr/>
            </p:nvSpPr>
            <p:spPr bwMode="gray">
              <a:xfrm>
                <a:off x="813893" y="125705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140" name="Group 139">
                <a:extLst>
                  <a:ext uri="{FF2B5EF4-FFF2-40B4-BE49-F238E27FC236}">
                    <a16:creationId xmlns:a16="http://schemas.microsoft.com/office/drawing/2014/main" id="{C4329CC7-479D-4DEE-82DB-2419B088DF98}"/>
                  </a:ext>
                </a:extLst>
              </p:cNvPr>
              <p:cNvGrpSpPr/>
              <p:nvPr/>
            </p:nvGrpSpPr>
            <p:grpSpPr>
              <a:xfrm rot="5400000">
                <a:off x="833463" y="1295705"/>
                <a:ext cx="105491" cy="26825"/>
                <a:chOff x="1476522" y="2083779"/>
                <a:chExt cx="206012" cy="52386"/>
              </a:xfrm>
            </p:grpSpPr>
            <p:cxnSp>
              <p:nvCxnSpPr>
                <p:cNvPr id="154" name="Straight Connector 153">
                  <a:extLst>
                    <a:ext uri="{FF2B5EF4-FFF2-40B4-BE49-F238E27FC236}">
                      <a16:creationId xmlns:a16="http://schemas.microsoft.com/office/drawing/2014/main" id="{7D666BB8-4D7C-4292-9141-F7E57D560107}"/>
                    </a:ext>
                  </a:extLst>
                </p:cNvPr>
                <p:cNvCxnSpPr>
                  <a:stCxn id="156" idx="1"/>
                  <a:endCxn id="155"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55" name="Oval 154">
                  <a:extLst>
                    <a:ext uri="{FF2B5EF4-FFF2-40B4-BE49-F238E27FC236}">
                      <a16:creationId xmlns:a16="http://schemas.microsoft.com/office/drawing/2014/main" id="{35B42CCB-7725-4A2C-B583-91A3BA56318B}"/>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141" name="Group 140">
                <a:extLst>
                  <a:ext uri="{FF2B5EF4-FFF2-40B4-BE49-F238E27FC236}">
                    <a16:creationId xmlns:a16="http://schemas.microsoft.com/office/drawing/2014/main" id="{87A53925-0368-4E8F-AAFC-50D112C4C4BD}"/>
                  </a:ext>
                </a:extLst>
              </p:cNvPr>
              <p:cNvGrpSpPr/>
              <p:nvPr/>
            </p:nvGrpSpPr>
            <p:grpSpPr>
              <a:xfrm rot="16200000" flipV="1">
                <a:off x="780539" y="1611271"/>
                <a:ext cx="40849" cy="208078"/>
                <a:chOff x="906170" y="2076504"/>
                <a:chExt cx="79774" cy="406348"/>
              </a:xfrm>
            </p:grpSpPr>
            <p:sp>
              <p:nvSpPr>
                <p:cNvPr id="151" name="Rectangle 150">
                  <a:extLst>
                    <a:ext uri="{FF2B5EF4-FFF2-40B4-BE49-F238E27FC236}">
                      <a16:creationId xmlns:a16="http://schemas.microsoft.com/office/drawing/2014/main" id="{3ED26F22-9776-42D1-939F-A3418A91DB7A}"/>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52" name="Rectangle 151">
                  <a:extLst>
                    <a:ext uri="{FF2B5EF4-FFF2-40B4-BE49-F238E27FC236}">
                      <a16:creationId xmlns:a16="http://schemas.microsoft.com/office/drawing/2014/main" id="{EEF7D87C-B4D0-4E4F-B306-973E624BD51F}"/>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53" name="Rectangle 152">
                  <a:extLst>
                    <a:ext uri="{FF2B5EF4-FFF2-40B4-BE49-F238E27FC236}">
                      <a16:creationId xmlns:a16="http://schemas.microsoft.com/office/drawing/2014/main" id="{11D56829-EE8D-4022-B44C-3850CB84EB3C}"/>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grpSp>
            <p:nvGrpSpPr>
              <p:cNvPr id="142" name="Group 141">
                <a:extLst>
                  <a:ext uri="{FF2B5EF4-FFF2-40B4-BE49-F238E27FC236}">
                    <a16:creationId xmlns:a16="http://schemas.microsoft.com/office/drawing/2014/main" id="{BBA32151-D86F-4E6C-B2A6-7927CF607C61}"/>
                  </a:ext>
                </a:extLst>
              </p:cNvPr>
              <p:cNvGrpSpPr/>
              <p:nvPr/>
            </p:nvGrpSpPr>
            <p:grpSpPr>
              <a:xfrm flipV="1">
                <a:off x="662132" y="1739056"/>
                <a:ext cx="50496" cy="93109"/>
                <a:chOff x="717895" y="2924854"/>
                <a:chExt cx="98612" cy="181829"/>
              </a:xfrm>
            </p:grpSpPr>
            <p:cxnSp>
              <p:nvCxnSpPr>
                <p:cNvPr id="148" name="Straight Connector 147">
                  <a:extLst>
                    <a:ext uri="{FF2B5EF4-FFF2-40B4-BE49-F238E27FC236}">
                      <a16:creationId xmlns:a16="http://schemas.microsoft.com/office/drawing/2014/main" id="{E6646BEB-C683-47A4-83F3-97B45396D0DD}"/>
                    </a:ext>
                  </a:extLst>
                </p:cNvPr>
                <p:cNvCxnSpPr/>
                <p:nvPr/>
              </p:nvCxnSpPr>
              <p:spPr>
                <a:xfrm flipH="1" flipV="1">
                  <a:off x="814891" y="3021564"/>
                  <a:ext cx="1616" cy="85119"/>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78E7C20A-CC28-4E1D-A687-9DD6CD51D40E}"/>
                    </a:ext>
                  </a:extLst>
                </p:cNvPr>
                <p:cNvCxnSpPr/>
                <p:nvPr/>
              </p:nvCxnSpPr>
              <p:spPr>
                <a:xfrm flipH="1" flipV="1">
                  <a:off x="764389" y="2977239"/>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C6C9BF01-EFB4-4DE5-BE65-4FBF7D71C6E2}"/>
                    </a:ext>
                  </a:extLst>
                </p:cNvPr>
                <p:cNvSpPr/>
                <p:nvPr/>
              </p:nvSpPr>
              <p:spPr bwMode="gray">
                <a:xfrm>
                  <a:off x="717895" y="2924854"/>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143" name="Group 142">
                <a:extLst>
                  <a:ext uri="{FF2B5EF4-FFF2-40B4-BE49-F238E27FC236}">
                    <a16:creationId xmlns:a16="http://schemas.microsoft.com/office/drawing/2014/main" id="{0050FAD0-D374-47F2-A750-42AC4A48C21D}"/>
                  </a:ext>
                </a:extLst>
              </p:cNvPr>
              <p:cNvGrpSpPr/>
              <p:nvPr/>
            </p:nvGrpSpPr>
            <p:grpSpPr>
              <a:xfrm rot="16200000" flipV="1">
                <a:off x="747224" y="1776525"/>
                <a:ext cx="105492" cy="26825"/>
                <a:chOff x="1476522" y="2083779"/>
                <a:chExt cx="206011" cy="52386"/>
              </a:xfrm>
            </p:grpSpPr>
            <p:cxnSp>
              <p:nvCxnSpPr>
                <p:cNvPr id="146" name="Straight Connector 145">
                  <a:extLst>
                    <a:ext uri="{FF2B5EF4-FFF2-40B4-BE49-F238E27FC236}">
                      <a16:creationId xmlns:a16="http://schemas.microsoft.com/office/drawing/2014/main" id="{FE0ECF13-7BF4-4C3A-A1B0-0D6DDA4B214C}"/>
                    </a:ext>
                  </a:extLst>
                </p:cNvPr>
                <p:cNvCxnSpPr>
                  <a:endCxn id="147"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47" name="Oval 146">
                  <a:extLst>
                    <a:ext uri="{FF2B5EF4-FFF2-40B4-BE49-F238E27FC236}">
                      <a16:creationId xmlns:a16="http://schemas.microsoft.com/office/drawing/2014/main" id="{03D1F299-17FC-4DD2-BEEA-E1E540B29541}"/>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cxnSp>
            <p:nvCxnSpPr>
              <p:cNvPr id="144" name="Straight Connector 143">
                <a:extLst>
                  <a:ext uri="{FF2B5EF4-FFF2-40B4-BE49-F238E27FC236}">
                    <a16:creationId xmlns:a16="http://schemas.microsoft.com/office/drawing/2014/main" id="{89CB3C47-C487-40CC-B1B9-5E15717D04EF}"/>
                  </a:ext>
                </a:extLst>
              </p:cNvPr>
              <p:cNvCxnSpPr/>
              <p:nvPr/>
            </p:nvCxnSpPr>
            <p:spPr>
              <a:xfrm>
                <a:off x="988393" y="1636092"/>
                <a:ext cx="45134" cy="1131"/>
              </a:xfrm>
              <a:prstGeom prst="line">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D2D30CD4-3D98-4A43-BDB5-626C7947AD92}"/>
                  </a:ext>
                </a:extLst>
              </p:cNvPr>
              <p:cNvSpPr/>
              <p:nvPr/>
            </p:nvSpPr>
            <p:spPr bwMode="gray">
              <a:xfrm>
                <a:off x="654384" y="1403439"/>
                <a:ext cx="293159" cy="293160"/>
              </a:xfrm>
              <a:prstGeom prst="rect">
                <a:avLst/>
              </a:prstGeom>
              <a:solidFill>
                <a:srgbClr val="747480"/>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r>
                  <a:rPr lang="en-GB" sz="1452" b="1" dirty="0">
                    <a:solidFill>
                      <a:prstClr val="white"/>
                    </a:solidFill>
                  </a:rPr>
                  <a:t>2</a:t>
                </a:r>
              </a:p>
            </p:txBody>
          </p:sp>
        </p:grpSp>
      </p:grpSp>
      <p:grpSp>
        <p:nvGrpSpPr>
          <p:cNvPr id="163" name="Group 162">
            <a:extLst>
              <a:ext uri="{FF2B5EF4-FFF2-40B4-BE49-F238E27FC236}">
                <a16:creationId xmlns:a16="http://schemas.microsoft.com/office/drawing/2014/main" id="{309A9D35-C1F3-42E8-9AD4-E721756CD873}"/>
              </a:ext>
            </a:extLst>
          </p:cNvPr>
          <p:cNvGrpSpPr/>
          <p:nvPr/>
        </p:nvGrpSpPr>
        <p:grpSpPr>
          <a:xfrm>
            <a:off x="6134633" y="4045158"/>
            <a:ext cx="5343919" cy="840217"/>
            <a:chOff x="604597" y="4369623"/>
            <a:chExt cx="5343919" cy="840217"/>
          </a:xfrm>
        </p:grpSpPr>
        <p:sp>
          <p:nvSpPr>
            <p:cNvPr id="164" name="Title 1">
              <a:extLst>
                <a:ext uri="{FF2B5EF4-FFF2-40B4-BE49-F238E27FC236}">
                  <a16:creationId xmlns:a16="http://schemas.microsoft.com/office/drawing/2014/main" id="{4AE50B13-A886-4EC2-BC91-7EF1A3D86C68}"/>
                </a:ext>
              </a:extLst>
            </p:cNvPr>
            <p:cNvSpPr txBox="1">
              <a:spLocks/>
            </p:cNvSpPr>
            <p:nvPr/>
          </p:nvSpPr>
          <p:spPr>
            <a:xfrm flipH="1">
              <a:off x="1325880" y="4590112"/>
              <a:ext cx="4622636" cy="399239"/>
            </a:xfrm>
            <a:prstGeom prst="rect">
              <a:avLst/>
            </a:prstGeom>
            <a:solidFill>
              <a:srgbClr val="747480"/>
            </a:solidFill>
            <a:ln w="0">
              <a:solidFill>
                <a:srgbClr val="747480"/>
              </a:solidFill>
            </a:ln>
          </p:spPr>
          <p:txBody>
            <a:bodyPr wrap="square" lIns="73025" tIns="73025" rIns="73025" bIns="73025" rtlCol="0" anchor="ctr">
              <a:noAutofit/>
            </a:bodyPr>
            <a:lstStyle>
              <a:defPPr>
                <a:defRPr lang="de-DE"/>
              </a:defPPr>
              <a:lvl1pPr algn="ctr" fontAlgn="base">
                <a:spcBef>
                  <a:spcPct val="0"/>
                </a:spcBef>
                <a:spcAft>
                  <a:spcPct val="0"/>
                </a:spcAft>
                <a:defRPr sz="1600"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l"/>
              <a:r>
                <a:rPr lang="de-AT" sz="1400" dirty="0">
                  <a:solidFill>
                    <a:srgbClr val="FFFFFF"/>
                  </a:solidFill>
                </a:rPr>
                <a:t>Private permissionless</a:t>
              </a:r>
            </a:p>
          </p:txBody>
        </p:sp>
        <p:grpSp>
          <p:nvGrpSpPr>
            <p:cNvPr id="165" name="Group 164">
              <a:extLst>
                <a:ext uri="{FF2B5EF4-FFF2-40B4-BE49-F238E27FC236}">
                  <a16:creationId xmlns:a16="http://schemas.microsoft.com/office/drawing/2014/main" id="{3B3F7B74-1802-49D9-8E81-8D0C8A61821B}"/>
                </a:ext>
              </a:extLst>
            </p:cNvPr>
            <p:cNvGrpSpPr/>
            <p:nvPr/>
          </p:nvGrpSpPr>
          <p:grpSpPr>
            <a:xfrm>
              <a:off x="604597" y="4369623"/>
              <a:ext cx="778515" cy="840217"/>
              <a:chOff x="490271" y="1256372"/>
              <a:chExt cx="543256" cy="586312"/>
            </a:xfrm>
          </p:grpSpPr>
          <p:cxnSp>
            <p:nvCxnSpPr>
              <p:cNvPr id="166" name="Straight Connector 165">
                <a:extLst>
                  <a:ext uri="{FF2B5EF4-FFF2-40B4-BE49-F238E27FC236}">
                    <a16:creationId xmlns:a16="http://schemas.microsoft.com/office/drawing/2014/main" id="{486B0CA0-5484-4EDA-A9FD-10ACB9F08402}"/>
                  </a:ext>
                </a:extLst>
              </p:cNvPr>
              <p:cNvCxnSpPr>
                <a:cxnSpLocks/>
              </p:cNvCxnSpPr>
              <p:nvPr/>
            </p:nvCxnSpPr>
            <p:spPr>
              <a:xfrm>
                <a:off x="813446" y="1549105"/>
                <a:ext cx="220081" cy="113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7F2255FC-A0C2-463D-B440-CC9360E2391B}"/>
                  </a:ext>
                </a:extLst>
              </p:cNvPr>
              <p:cNvGrpSpPr/>
              <p:nvPr/>
            </p:nvGrpSpPr>
            <p:grpSpPr>
              <a:xfrm flipV="1">
                <a:off x="882996" y="1720848"/>
                <a:ext cx="39755" cy="104813"/>
                <a:chOff x="982980" y="3001821"/>
                <a:chExt cx="77637" cy="204686"/>
              </a:xfrm>
            </p:grpSpPr>
            <p:cxnSp>
              <p:nvCxnSpPr>
                <p:cNvPr id="204" name="Straight Connector 203">
                  <a:extLst>
                    <a:ext uri="{FF2B5EF4-FFF2-40B4-BE49-F238E27FC236}">
                      <a16:creationId xmlns:a16="http://schemas.microsoft.com/office/drawing/2014/main" id="{F2EE7F8D-597F-4195-BB2A-C2F4DDCAB5F5}"/>
                    </a:ext>
                  </a:extLst>
                </p:cNvPr>
                <p:cNvCxnSpPr/>
                <p:nvPr/>
              </p:nvCxnSpPr>
              <p:spPr>
                <a:xfrm flipV="1">
                  <a:off x="987481" y="3150406"/>
                  <a:ext cx="0" cy="5610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FA0EFB9F-7281-40B5-AD43-E740DBCB485D}"/>
                    </a:ext>
                  </a:extLst>
                </p:cNvPr>
                <p:cNvCxnSpPr/>
                <p:nvPr/>
              </p:nvCxnSpPr>
              <p:spPr>
                <a:xfrm flipV="1">
                  <a:off x="982980" y="3106081"/>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FE2FEAFE-17D4-4B9D-8062-05B0BD10F605}"/>
                    </a:ext>
                  </a:extLst>
                </p:cNvPr>
                <p:cNvCxnSpPr/>
                <p:nvPr/>
              </p:nvCxnSpPr>
              <p:spPr>
                <a:xfrm flipV="1">
                  <a:off x="1033482" y="3003239"/>
                  <a:ext cx="0" cy="10284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07" name="Oval 206">
                  <a:extLst>
                    <a:ext uri="{FF2B5EF4-FFF2-40B4-BE49-F238E27FC236}">
                      <a16:creationId xmlns:a16="http://schemas.microsoft.com/office/drawing/2014/main" id="{F7D84DD7-C944-4BF0-8136-77AA23994E7F}"/>
                    </a:ext>
                  </a:extLst>
                </p:cNvPr>
                <p:cNvSpPr/>
                <p:nvPr/>
              </p:nvSpPr>
              <p:spPr bwMode="gray">
                <a:xfrm>
                  <a:off x="1008231" y="3001821"/>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sp>
            <p:nvSpPr>
              <p:cNvPr id="168" name="Rectangle 167">
                <a:extLst>
                  <a:ext uri="{FF2B5EF4-FFF2-40B4-BE49-F238E27FC236}">
                    <a16:creationId xmlns:a16="http://schemas.microsoft.com/office/drawing/2014/main" id="{C092D895-965C-49FA-BB44-F57B1198227B}"/>
                  </a:ext>
                </a:extLst>
              </p:cNvPr>
              <p:cNvSpPr/>
              <p:nvPr/>
            </p:nvSpPr>
            <p:spPr bwMode="gray">
              <a:xfrm>
                <a:off x="612869" y="1446807"/>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69" name="Rectangle 168">
                <a:extLst>
                  <a:ext uri="{FF2B5EF4-FFF2-40B4-BE49-F238E27FC236}">
                    <a16:creationId xmlns:a16="http://schemas.microsoft.com/office/drawing/2014/main" id="{772AA9B2-6284-4957-9FDE-8DE1AE0762C7}"/>
                  </a:ext>
                </a:extLst>
              </p:cNvPr>
              <p:cNvSpPr/>
              <p:nvPr/>
            </p:nvSpPr>
            <p:spPr bwMode="gray">
              <a:xfrm>
                <a:off x="612869" y="1532053"/>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70" name="Rectangle 169">
                <a:extLst>
                  <a:ext uri="{FF2B5EF4-FFF2-40B4-BE49-F238E27FC236}">
                    <a16:creationId xmlns:a16="http://schemas.microsoft.com/office/drawing/2014/main" id="{59E68D0F-A40E-4A19-8AAE-ACB2C4F62F34}"/>
                  </a:ext>
                </a:extLst>
              </p:cNvPr>
              <p:cNvSpPr/>
              <p:nvPr/>
            </p:nvSpPr>
            <p:spPr bwMode="gray">
              <a:xfrm>
                <a:off x="612869" y="1617299"/>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cxnSp>
            <p:nvCxnSpPr>
              <p:cNvPr id="171" name="Straight Connector 170">
                <a:extLst>
                  <a:ext uri="{FF2B5EF4-FFF2-40B4-BE49-F238E27FC236}">
                    <a16:creationId xmlns:a16="http://schemas.microsoft.com/office/drawing/2014/main" id="{845D1E06-74C3-4955-B4DF-83757DCCF709}"/>
                  </a:ext>
                </a:extLst>
              </p:cNvPr>
              <p:cNvCxnSpPr>
                <a:stCxn id="168" idx="1"/>
                <a:endCxn id="172" idx="6"/>
              </p:cNvCxnSpPr>
              <p:nvPr/>
            </p:nvCxnSpPr>
            <p:spPr>
              <a:xfrm flipH="1" flipV="1">
                <a:off x="517096" y="1463945"/>
                <a:ext cx="95773" cy="165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72" name="Oval 171">
                <a:extLst>
                  <a:ext uri="{FF2B5EF4-FFF2-40B4-BE49-F238E27FC236}">
                    <a16:creationId xmlns:a16="http://schemas.microsoft.com/office/drawing/2014/main" id="{65743033-F8CA-4ADA-817D-CC9460D79DBE}"/>
                  </a:ext>
                </a:extLst>
              </p:cNvPr>
              <p:cNvSpPr/>
              <p:nvPr/>
            </p:nvSpPr>
            <p:spPr bwMode="gray">
              <a:xfrm>
                <a:off x="490271" y="1450532"/>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173" name="Straight Connector 172">
                <a:extLst>
                  <a:ext uri="{FF2B5EF4-FFF2-40B4-BE49-F238E27FC236}">
                    <a16:creationId xmlns:a16="http://schemas.microsoft.com/office/drawing/2014/main" id="{793D4D46-1D0B-4C64-B003-1880BEE54CE5}"/>
                  </a:ext>
                </a:extLst>
              </p:cNvPr>
              <p:cNvCxnSpPr>
                <a:stCxn id="169" idx="1"/>
              </p:cNvCxnSpPr>
              <p:nvPr/>
            </p:nvCxnSpPr>
            <p:spPr>
              <a:xfrm flipH="1">
                <a:off x="557839" y="1550846"/>
                <a:ext cx="55031" cy="0"/>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74" name="Oval 173">
                <a:extLst>
                  <a:ext uri="{FF2B5EF4-FFF2-40B4-BE49-F238E27FC236}">
                    <a16:creationId xmlns:a16="http://schemas.microsoft.com/office/drawing/2014/main" id="{F128B9B1-477D-4DDC-BA60-5BC3EAA9F7E1}"/>
                  </a:ext>
                </a:extLst>
              </p:cNvPr>
              <p:cNvSpPr/>
              <p:nvPr/>
            </p:nvSpPr>
            <p:spPr bwMode="gray">
              <a:xfrm>
                <a:off x="528828" y="153617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175" name="Straight Connector 174">
                <a:extLst>
                  <a:ext uri="{FF2B5EF4-FFF2-40B4-BE49-F238E27FC236}">
                    <a16:creationId xmlns:a16="http://schemas.microsoft.com/office/drawing/2014/main" id="{B50F7B66-1075-44BC-A159-00C8C8E088AD}"/>
                  </a:ext>
                </a:extLst>
              </p:cNvPr>
              <p:cNvCxnSpPr>
                <a:stCxn id="170" idx="1"/>
                <a:endCxn id="176" idx="6"/>
              </p:cNvCxnSpPr>
              <p:nvPr/>
            </p:nvCxnSpPr>
            <p:spPr>
              <a:xfrm flipH="1">
                <a:off x="549556" y="1636092"/>
                <a:ext cx="63313" cy="113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E5D34E81-4240-436F-B642-A3576A4531B6}"/>
                  </a:ext>
                </a:extLst>
              </p:cNvPr>
              <p:cNvSpPr/>
              <p:nvPr/>
            </p:nvSpPr>
            <p:spPr bwMode="gray">
              <a:xfrm>
                <a:off x="522731" y="162381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177" name="Group 176">
                <a:extLst>
                  <a:ext uri="{FF2B5EF4-FFF2-40B4-BE49-F238E27FC236}">
                    <a16:creationId xmlns:a16="http://schemas.microsoft.com/office/drawing/2014/main" id="{A2ACD0E0-BCFC-45DF-B094-CC5B0218BD90}"/>
                  </a:ext>
                </a:extLst>
              </p:cNvPr>
              <p:cNvGrpSpPr/>
              <p:nvPr/>
            </p:nvGrpSpPr>
            <p:grpSpPr>
              <a:xfrm rot="5400000">
                <a:off x="780539" y="1278249"/>
                <a:ext cx="40849" cy="208078"/>
                <a:chOff x="906170" y="2076504"/>
                <a:chExt cx="79774" cy="406348"/>
              </a:xfrm>
            </p:grpSpPr>
            <p:sp>
              <p:nvSpPr>
                <p:cNvPr id="201" name="Rectangle 200">
                  <a:extLst>
                    <a:ext uri="{FF2B5EF4-FFF2-40B4-BE49-F238E27FC236}">
                      <a16:creationId xmlns:a16="http://schemas.microsoft.com/office/drawing/2014/main" id="{6862C881-3A57-4D10-AD17-6ED9AE24AF48}"/>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02" name="Rectangle 201">
                  <a:extLst>
                    <a:ext uri="{FF2B5EF4-FFF2-40B4-BE49-F238E27FC236}">
                      <a16:creationId xmlns:a16="http://schemas.microsoft.com/office/drawing/2014/main" id="{571EA2BB-9AC0-4B0F-BB28-C898C3CA8EDE}"/>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03" name="Rectangle 202">
                  <a:extLst>
                    <a:ext uri="{FF2B5EF4-FFF2-40B4-BE49-F238E27FC236}">
                      <a16:creationId xmlns:a16="http://schemas.microsoft.com/office/drawing/2014/main" id="{4805AF7A-B230-4E00-9ABD-51D8A1A46835}"/>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cxnSp>
            <p:nvCxnSpPr>
              <p:cNvPr id="178" name="Straight Connector 177">
                <a:extLst>
                  <a:ext uri="{FF2B5EF4-FFF2-40B4-BE49-F238E27FC236}">
                    <a16:creationId xmlns:a16="http://schemas.microsoft.com/office/drawing/2014/main" id="{38CC3F94-ABEC-4E77-A8C4-3CFF7687046F}"/>
                  </a:ext>
                </a:extLst>
              </p:cNvPr>
              <p:cNvCxnSpPr>
                <a:stCxn id="203" idx="1"/>
              </p:cNvCxnSpPr>
              <p:nvPr/>
            </p:nvCxnSpPr>
            <p:spPr>
              <a:xfrm flipH="1" flipV="1">
                <a:off x="714891" y="1318277"/>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53ED660C-66E7-4338-9676-9D8579465983}"/>
                  </a:ext>
                </a:extLst>
              </p:cNvPr>
              <p:cNvCxnSpPr/>
              <p:nvPr/>
            </p:nvCxnSpPr>
            <p:spPr>
              <a:xfrm flipH="1" flipV="1">
                <a:off x="689030" y="129558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80" name="Oval 179">
                <a:extLst>
                  <a:ext uri="{FF2B5EF4-FFF2-40B4-BE49-F238E27FC236}">
                    <a16:creationId xmlns:a16="http://schemas.microsoft.com/office/drawing/2014/main" id="{00912305-3B0F-445A-877D-F734E485304F}"/>
                  </a:ext>
                </a:extLst>
              </p:cNvPr>
              <p:cNvSpPr/>
              <p:nvPr/>
            </p:nvSpPr>
            <p:spPr bwMode="gray">
              <a:xfrm>
                <a:off x="665222" y="1268755"/>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181" name="Straight Connector 180">
                <a:extLst>
                  <a:ext uri="{FF2B5EF4-FFF2-40B4-BE49-F238E27FC236}">
                    <a16:creationId xmlns:a16="http://schemas.microsoft.com/office/drawing/2014/main" id="{17EFA585-45B7-43EF-835D-558E6A144814}"/>
                  </a:ext>
                </a:extLst>
              </p:cNvPr>
              <p:cNvCxnSpPr/>
              <p:nvPr/>
            </p:nvCxnSpPr>
            <p:spPr>
              <a:xfrm flipV="1">
                <a:off x="803268" y="1333138"/>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BF36D179-3E2B-42C9-B2EC-D696803527B8}"/>
                  </a:ext>
                </a:extLst>
              </p:cNvPr>
              <p:cNvCxnSpPr/>
              <p:nvPr/>
            </p:nvCxnSpPr>
            <p:spPr>
              <a:xfrm flipV="1">
                <a:off x="800964" y="131044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355AFE4D-18DC-471E-93BA-84917CCE91E9}"/>
                  </a:ext>
                </a:extLst>
              </p:cNvPr>
              <p:cNvCxnSpPr/>
              <p:nvPr/>
            </p:nvCxnSpPr>
            <p:spPr>
              <a:xfrm flipV="1">
                <a:off x="826824" y="1257777"/>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84" name="Oval 183">
                <a:extLst>
                  <a:ext uri="{FF2B5EF4-FFF2-40B4-BE49-F238E27FC236}">
                    <a16:creationId xmlns:a16="http://schemas.microsoft.com/office/drawing/2014/main" id="{869980F8-79BA-4C6F-8551-0E477359B54E}"/>
                  </a:ext>
                </a:extLst>
              </p:cNvPr>
              <p:cNvSpPr/>
              <p:nvPr/>
            </p:nvSpPr>
            <p:spPr bwMode="gray">
              <a:xfrm>
                <a:off x="813893" y="125705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185" name="Group 184">
                <a:extLst>
                  <a:ext uri="{FF2B5EF4-FFF2-40B4-BE49-F238E27FC236}">
                    <a16:creationId xmlns:a16="http://schemas.microsoft.com/office/drawing/2014/main" id="{DA365D8D-1681-4210-8F4A-B3F23839760E}"/>
                  </a:ext>
                </a:extLst>
              </p:cNvPr>
              <p:cNvGrpSpPr/>
              <p:nvPr/>
            </p:nvGrpSpPr>
            <p:grpSpPr>
              <a:xfrm rot="5400000">
                <a:off x="833463" y="1295705"/>
                <a:ext cx="105491" cy="26825"/>
                <a:chOff x="1476522" y="2083779"/>
                <a:chExt cx="206012" cy="52386"/>
              </a:xfrm>
            </p:grpSpPr>
            <p:cxnSp>
              <p:nvCxnSpPr>
                <p:cNvPr id="199" name="Straight Connector 198">
                  <a:extLst>
                    <a:ext uri="{FF2B5EF4-FFF2-40B4-BE49-F238E27FC236}">
                      <a16:creationId xmlns:a16="http://schemas.microsoft.com/office/drawing/2014/main" id="{B131969F-6CF6-42C8-B29A-1824B9ED1B43}"/>
                    </a:ext>
                  </a:extLst>
                </p:cNvPr>
                <p:cNvCxnSpPr>
                  <a:stCxn id="201" idx="1"/>
                  <a:endCxn id="200"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00" name="Oval 199">
                  <a:extLst>
                    <a:ext uri="{FF2B5EF4-FFF2-40B4-BE49-F238E27FC236}">
                      <a16:creationId xmlns:a16="http://schemas.microsoft.com/office/drawing/2014/main" id="{E40F9E1D-E799-4E14-80A9-0C64790B77E4}"/>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186" name="Group 185">
                <a:extLst>
                  <a:ext uri="{FF2B5EF4-FFF2-40B4-BE49-F238E27FC236}">
                    <a16:creationId xmlns:a16="http://schemas.microsoft.com/office/drawing/2014/main" id="{E8DE9BAE-E528-4707-AE7A-D01B8EEEF462}"/>
                  </a:ext>
                </a:extLst>
              </p:cNvPr>
              <p:cNvGrpSpPr/>
              <p:nvPr/>
            </p:nvGrpSpPr>
            <p:grpSpPr>
              <a:xfrm rot="16200000" flipV="1">
                <a:off x="780539" y="1611271"/>
                <a:ext cx="40849" cy="208078"/>
                <a:chOff x="906170" y="2076504"/>
                <a:chExt cx="79774" cy="406348"/>
              </a:xfrm>
            </p:grpSpPr>
            <p:sp>
              <p:nvSpPr>
                <p:cNvPr id="196" name="Rectangle 195">
                  <a:extLst>
                    <a:ext uri="{FF2B5EF4-FFF2-40B4-BE49-F238E27FC236}">
                      <a16:creationId xmlns:a16="http://schemas.microsoft.com/office/drawing/2014/main" id="{7F7410CF-8BDA-41FD-9215-9568E659EB6A}"/>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97" name="Rectangle 196">
                  <a:extLst>
                    <a:ext uri="{FF2B5EF4-FFF2-40B4-BE49-F238E27FC236}">
                      <a16:creationId xmlns:a16="http://schemas.microsoft.com/office/drawing/2014/main" id="{39D3E4DE-CD30-4BB9-B4DA-455217BEE947}"/>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198" name="Rectangle 197">
                  <a:extLst>
                    <a:ext uri="{FF2B5EF4-FFF2-40B4-BE49-F238E27FC236}">
                      <a16:creationId xmlns:a16="http://schemas.microsoft.com/office/drawing/2014/main" id="{308781F9-404B-42B9-B626-80C981D2CF85}"/>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grpSp>
            <p:nvGrpSpPr>
              <p:cNvPr id="187" name="Group 186">
                <a:extLst>
                  <a:ext uri="{FF2B5EF4-FFF2-40B4-BE49-F238E27FC236}">
                    <a16:creationId xmlns:a16="http://schemas.microsoft.com/office/drawing/2014/main" id="{5665C204-D95E-4A01-A89F-8FA1E94C27BA}"/>
                  </a:ext>
                </a:extLst>
              </p:cNvPr>
              <p:cNvGrpSpPr/>
              <p:nvPr/>
            </p:nvGrpSpPr>
            <p:grpSpPr>
              <a:xfrm flipV="1">
                <a:off x="662132" y="1739056"/>
                <a:ext cx="50496" cy="93109"/>
                <a:chOff x="717895" y="2924854"/>
                <a:chExt cx="98612" cy="181829"/>
              </a:xfrm>
            </p:grpSpPr>
            <p:cxnSp>
              <p:nvCxnSpPr>
                <p:cNvPr id="193" name="Straight Connector 192">
                  <a:extLst>
                    <a:ext uri="{FF2B5EF4-FFF2-40B4-BE49-F238E27FC236}">
                      <a16:creationId xmlns:a16="http://schemas.microsoft.com/office/drawing/2014/main" id="{7859B43D-0463-4532-B80B-86DC675F15C1}"/>
                    </a:ext>
                  </a:extLst>
                </p:cNvPr>
                <p:cNvCxnSpPr/>
                <p:nvPr/>
              </p:nvCxnSpPr>
              <p:spPr>
                <a:xfrm flipH="1" flipV="1">
                  <a:off x="814891" y="3021564"/>
                  <a:ext cx="1616" cy="85119"/>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BDE12C69-488C-45FB-A21C-5D336FC6567C}"/>
                    </a:ext>
                  </a:extLst>
                </p:cNvPr>
                <p:cNvCxnSpPr/>
                <p:nvPr/>
              </p:nvCxnSpPr>
              <p:spPr>
                <a:xfrm flipH="1" flipV="1">
                  <a:off x="764389" y="2977239"/>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95" name="Oval 194">
                  <a:extLst>
                    <a:ext uri="{FF2B5EF4-FFF2-40B4-BE49-F238E27FC236}">
                      <a16:creationId xmlns:a16="http://schemas.microsoft.com/office/drawing/2014/main" id="{1E158AD9-2FD5-4E1E-991B-4107C9C8489F}"/>
                    </a:ext>
                  </a:extLst>
                </p:cNvPr>
                <p:cNvSpPr/>
                <p:nvPr/>
              </p:nvSpPr>
              <p:spPr bwMode="gray">
                <a:xfrm>
                  <a:off x="717895" y="2924854"/>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188" name="Group 187">
                <a:extLst>
                  <a:ext uri="{FF2B5EF4-FFF2-40B4-BE49-F238E27FC236}">
                    <a16:creationId xmlns:a16="http://schemas.microsoft.com/office/drawing/2014/main" id="{77CA0E25-AB33-4B08-9A78-C9DF40F20DE6}"/>
                  </a:ext>
                </a:extLst>
              </p:cNvPr>
              <p:cNvGrpSpPr/>
              <p:nvPr/>
            </p:nvGrpSpPr>
            <p:grpSpPr>
              <a:xfrm rot="16200000" flipV="1">
                <a:off x="747224" y="1776525"/>
                <a:ext cx="105492" cy="26825"/>
                <a:chOff x="1476522" y="2083779"/>
                <a:chExt cx="206011" cy="52386"/>
              </a:xfrm>
            </p:grpSpPr>
            <p:cxnSp>
              <p:nvCxnSpPr>
                <p:cNvPr id="191" name="Straight Connector 190">
                  <a:extLst>
                    <a:ext uri="{FF2B5EF4-FFF2-40B4-BE49-F238E27FC236}">
                      <a16:creationId xmlns:a16="http://schemas.microsoft.com/office/drawing/2014/main" id="{0302D477-86B1-443D-92D3-E41210AABAC6}"/>
                    </a:ext>
                  </a:extLst>
                </p:cNvPr>
                <p:cNvCxnSpPr>
                  <a:endCxn id="192"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31B28F7E-1D1A-430C-91E2-A9B22D0BA974}"/>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cxnSp>
            <p:nvCxnSpPr>
              <p:cNvPr id="189" name="Straight Connector 188">
                <a:extLst>
                  <a:ext uri="{FF2B5EF4-FFF2-40B4-BE49-F238E27FC236}">
                    <a16:creationId xmlns:a16="http://schemas.microsoft.com/office/drawing/2014/main" id="{C08E744E-1E0B-4CAE-BDB8-54E1775557A8}"/>
                  </a:ext>
                </a:extLst>
              </p:cNvPr>
              <p:cNvCxnSpPr/>
              <p:nvPr/>
            </p:nvCxnSpPr>
            <p:spPr>
              <a:xfrm>
                <a:off x="988393" y="1636092"/>
                <a:ext cx="45134" cy="1131"/>
              </a:xfrm>
              <a:prstGeom prst="line">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7F7F5559-5BCD-4D87-9A39-946B6FC16001}"/>
                  </a:ext>
                </a:extLst>
              </p:cNvPr>
              <p:cNvSpPr/>
              <p:nvPr/>
            </p:nvSpPr>
            <p:spPr bwMode="gray">
              <a:xfrm>
                <a:off x="654384" y="1403439"/>
                <a:ext cx="293159" cy="293160"/>
              </a:xfrm>
              <a:prstGeom prst="rect">
                <a:avLst/>
              </a:prstGeom>
              <a:solidFill>
                <a:srgbClr val="747480"/>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r>
                  <a:rPr lang="en-GB" sz="1452" b="1" dirty="0">
                    <a:solidFill>
                      <a:prstClr val="white"/>
                    </a:solidFill>
                  </a:rPr>
                  <a:t>3</a:t>
                </a:r>
              </a:p>
            </p:txBody>
          </p:sp>
        </p:grpSp>
      </p:grpSp>
      <p:grpSp>
        <p:nvGrpSpPr>
          <p:cNvPr id="208" name="Group 207">
            <a:extLst>
              <a:ext uri="{FF2B5EF4-FFF2-40B4-BE49-F238E27FC236}">
                <a16:creationId xmlns:a16="http://schemas.microsoft.com/office/drawing/2014/main" id="{10FE54FB-DD1F-4629-A930-2E368A1542C5}"/>
              </a:ext>
            </a:extLst>
          </p:cNvPr>
          <p:cNvGrpSpPr/>
          <p:nvPr/>
        </p:nvGrpSpPr>
        <p:grpSpPr>
          <a:xfrm>
            <a:off x="6134633" y="5064504"/>
            <a:ext cx="5343919" cy="840217"/>
            <a:chOff x="604597" y="4369623"/>
            <a:chExt cx="5343919" cy="840217"/>
          </a:xfrm>
        </p:grpSpPr>
        <p:sp>
          <p:nvSpPr>
            <p:cNvPr id="209" name="Title 1">
              <a:extLst>
                <a:ext uri="{FF2B5EF4-FFF2-40B4-BE49-F238E27FC236}">
                  <a16:creationId xmlns:a16="http://schemas.microsoft.com/office/drawing/2014/main" id="{2277D639-4583-425C-85CD-A6D68683EC7B}"/>
                </a:ext>
              </a:extLst>
            </p:cNvPr>
            <p:cNvSpPr txBox="1">
              <a:spLocks/>
            </p:cNvSpPr>
            <p:nvPr/>
          </p:nvSpPr>
          <p:spPr>
            <a:xfrm flipH="1">
              <a:off x="1325880" y="4590112"/>
              <a:ext cx="4622636" cy="399239"/>
            </a:xfrm>
            <a:prstGeom prst="rect">
              <a:avLst/>
            </a:prstGeom>
            <a:solidFill>
              <a:srgbClr val="747480"/>
            </a:solidFill>
            <a:ln w="0">
              <a:solidFill>
                <a:srgbClr val="747480"/>
              </a:solidFill>
            </a:ln>
          </p:spPr>
          <p:txBody>
            <a:bodyPr wrap="square" lIns="73025" tIns="73025" rIns="73025" bIns="73025" rtlCol="0" anchor="ctr">
              <a:noAutofit/>
            </a:bodyPr>
            <a:lstStyle>
              <a:defPPr>
                <a:defRPr lang="de-DE"/>
              </a:defPPr>
              <a:lvl1pPr algn="ctr" fontAlgn="base">
                <a:spcBef>
                  <a:spcPct val="0"/>
                </a:spcBef>
                <a:spcAft>
                  <a:spcPct val="0"/>
                </a:spcAft>
                <a:defRPr sz="1600"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l"/>
              <a:r>
                <a:rPr lang="de-AT" sz="1400" dirty="0">
                  <a:solidFill>
                    <a:srgbClr val="FFFFFF"/>
                  </a:solidFill>
                </a:rPr>
                <a:t>Private permissioned</a:t>
              </a:r>
            </a:p>
          </p:txBody>
        </p:sp>
        <p:grpSp>
          <p:nvGrpSpPr>
            <p:cNvPr id="210" name="Group 209">
              <a:extLst>
                <a:ext uri="{FF2B5EF4-FFF2-40B4-BE49-F238E27FC236}">
                  <a16:creationId xmlns:a16="http://schemas.microsoft.com/office/drawing/2014/main" id="{675A0160-BFA8-4FD0-9514-5B76436AC03E}"/>
                </a:ext>
              </a:extLst>
            </p:cNvPr>
            <p:cNvGrpSpPr/>
            <p:nvPr/>
          </p:nvGrpSpPr>
          <p:grpSpPr>
            <a:xfrm>
              <a:off x="604597" y="4369623"/>
              <a:ext cx="778515" cy="840217"/>
              <a:chOff x="490271" y="1256372"/>
              <a:chExt cx="543256" cy="586312"/>
            </a:xfrm>
          </p:grpSpPr>
          <p:cxnSp>
            <p:nvCxnSpPr>
              <p:cNvPr id="211" name="Straight Connector 210">
                <a:extLst>
                  <a:ext uri="{FF2B5EF4-FFF2-40B4-BE49-F238E27FC236}">
                    <a16:creationId xmlns:a16="http://schemas.microsoft.com/office/drawing/2014/main" id="{3B4067DA-F294-43DB-8798-C43A5A517849}"/>
                  </a:ext>
                </a:extLst>
              </p:cNvPr>
              <p:cNvCxnSpPr>
                <a:cxnSpLocks/>
              </p:cNvCxnSpPr>
              <p:nvPr/>
            </p:nvCxnSpPr>
            <p:spPr>
              <a:xfrm>
                <a:off x="813446" y="1549105"/>
                <a:ext cx="220081" cy="113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grpSp>
            <p:nvGrpSpPr>
              <p:cNvPr id="212" name="Group 211">
                <a:extLst>
                  <a:ext uri="{FF2B5EF4-FFF2-40B4-BE49-F238E27FC236}">
                    <a16:creationId xmlns:a16="http://schemas.microsoft.com/office/drawing/2014/main" id="{9012D886-49FE-468F-B8BF-50A0288ED439}"/>
                  </a:ext>
                </a:extLst>
              </p:cNvPr>
              <p:cNvGrpSpPr/>
              <p:nvPr/>
            </p:nvGrpSpPr>
            <p:grpSpPr>
              <a:xfrm flipV="1">
                <a:off x="882996" y="1720848"/>
                <a:ext cx="39755" cy="104813"/>
                <a:chOff x="982980" y="3001821"/>
                <a:chExt cx="77637" cy="204686"/>
              </a:xfrm>
            </p:grpSpPr>
            <p:cxnSp>
              <p:nvCxnSpPr>
                <p:cNvPr id="249" name="Straight Connector 248">
                  <a:extLst>
                    <a:ext uri="{FF2B5EF4-FFF2-40B4-BE49-F238E27FC236}">
                      <a16:creationId xmlns:a16="http://schemas.microsoft.com/office/drawing/2014/main" id="{6E8EB586-3E69-4695-865C-9858FA8815DA}"/>
                    </a:ext>
                  </a:extLst>
                </p:cNvPr>
                <p:cNvCxnSpPr/>
                <p:nvPr/>
              </p:nvCxnSpPr>
              <p:spPr>
                <a:xfrm flipV="1">
                  <a:off x="987481" y="3150406"/>
                  <a:ext cx="0" cy="5610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2C4B337A-5FB9-455D-8712-09F240CB5289}"/>
                    </a:ext>
                  </a:extLst>
                </p:cNvPr>
                <p:cNvCxnSpPr/>
                <p:nvPr/>
              </p:nvCxnSpPr>
              <p:spPr>
                <a:xfrm flipV="1">
                  <a:off x="982980" y="3106081"/>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BA7141BD-2E3D-44C3-85E2-2849FA4A97E6}"/>
                    </a:ext>
                  </a:extLst>
                </p:cNvPr>
                <p:cNvCxnSpPr/>
                <p:nvPr/>
              </p:nvCxnSpPr>
              <p:spPr>
                <a:xfrm flipV="1">
                  <a:off x="1033482" y="3003239"/>
                  <a:ext cx="0" cy="10284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52" name="Oval 251">
                  <a:extLst>
                    <a:ext uri="{FF2B5EF4-FFF2-40B4-BE49-F238E27FC236}">
                      <a16:creationId xmlns:a16="http://schemas.microsoft.com/office/drawing/2014/main" id="{1D7A86A1-C968-48E7-B402-B1ADA603F11F}"/>
                    </a:ext>
                  </a:extLst>
                </p:cNvPr>
                <p:cNvSpPr/>
                <p:nvPr/>
              </p:nvSpPr>
              <p:spPr bwMode="gray">
                <a:xfrm>
                  <a:off x="1008231" y="3001821"/>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sp>
            <p:nvSpPr>
              <p:cNvPr id="213" name="Rectangle 212">
                <a:extLst>
                  <a:ext uri="{FF2B5EF4-FFF2-40B4-BE49-F238E27FC236}">
                    <a16:creationId xmlns:a16="http://schemas.microsoft.com/office/drawing/2014/main" id="{41C72983-438D-4E68-AE7A-2502647BEAAD}"/>
                  </a:ext>
                </a:extLst>
              </p:cNvPr>
              <p:cNvSpPr/>
              <p:nvPr/>
            </p:nvSpPr>
            <p:spPr bwMode="gray">
              <a:xfrm>
                <a:off x="612869" y="1446807"/>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14" name="Rectangle 213">
                <a:extLst>
                  <a:ext uri="{FF2B5EF4-FFF2-40B4-BE49-F238E27FC236}">
                    <a16:creationId xmlns:a16="http://schemas.microsoft.com/office/drawing/2014/main" id="{8CC6577F-0AA6-454C-BF1F-1D504FFC4F14}"/>
                  </a:ext>
                </a:extLst>
              </p:cNvPr>
              <p:cNvSpPr/>
              <p:nvPr/>
            </p:nvSpPr>
            <p:spPr bwMode="gray">
              <a:xfrm>
                <a:off x="612869" y="1532053"/>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15" name="Rectangle 214">
                <a:extLst>
                  <a:ext uri="{FF2B5EF4-FFF2-40B4-BE49-F238E27FC236}">
                    <a16:creationId xmlns:a16="http://schemas.microsoft.com/office/drawing/2014/main" id="{06C54EDF-C99A-4A3D-912E-793CD1E9A97C}"/>
                  </a:ext>
                </a:extLst>
              </p:cNvPr>
              <p:cNvSpPr/>
              <p:nvPr/>
            </p:nvSpPr>
            <p:spPr bwMode="gray">
              <a:xfrm>
                <a:off x="612869" y="1617299"/>
                <a:ext cx="40850" cy="37586"/>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cxnSp>
            <p:nvCxnSpPr>
              <p:cNvPr id="216" name="Straight Connector 215">
                <a:extLst>
                  <a:ext uri="{FF2B5EF4-FFF2-40B4-BE49-F238E27FC236}">
                    <a16:creationId xmlns:a16="http://schemas.microsoft.com/office/drawing/2014/main" id="{87BCCBC2-06F9-46C8-B265-74438F2F26A1}"/>
                  </a:ext>
                </a:extLst>
              </p:cNvPr>
              <p:cNvCxnSpPr>
                <a:stCxn id="213" idx="1"/>
                <a:endCxn id="217" idx="6"/>
              </p:cNvCxnSpPr>
              <p:nvPr/>
            </p:nvCxnSpPr>
            <p:spPr>
              <a:xfrm flipH="1" flipV="1">
                <a:off x="517096" y="1463945"/>
                <a:ext cx="95773" cy="165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17" name="Oval 216">
                <a:extLst>
                  <a:ext uri="{FF2B5EF4-FFF2-40B4-BE49-F238E27FC236}">
                    <a16:creationId xmlns:a16="http://schemas.microsoft.com/office/drawing/2014/main" id="{F4C37B36-CB29-4523-B4DA-E3F603144897}"/>
                  </a:ext>
                </a:extLst>
              </p:cNvPr>
              <p:cNvSpPr/>
              <p:nvPr/>
            </p:nvSpPr>
            <p:spPr bwMode="gray">
              <a:xfrm>
                <a:off x="490271" y="1450532"/>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218" name="Straight Connector 217">
                <a:extLst>
                  <a:ext uri="{FF2B5EF4-FFF2-40B4-BE49-F238E27FC236}">
                    <a16:creationId xmlns:a16="http://schemas.microsoft.com/office/drawing/2014/main" id="{A8078433-A4B0-4FA5-AA93-F37EB09FBA31}"/>
                  </a:ext>
                </a:extLst>
              </p:cNvPr>
              <p:cNvCxnSpPr>
                <a:stCxn id="214" idx="1"/>
              </p:cNvCxnSpPr>
              <p:nvPr/>
            </p:nvCxnSpPr>
            <p:spPr>
              <a:xfrm flipH="1">
                <a:off x="557839" y="1550846"/>
                <a:ext cx="55031" cy="0"/>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19" name="Oval 218">
                <a:extLst>
                  <a:ext uri="{FF2B5EF4-FFF2-40B4-BE49-F238E27FC236}">
                    <a16:creationId xmlns:a16="http://schemas.microsoft.com/office/drawing/2014/main" id="{2F594468-328D-4223-B375-5D3062E18239}"/>
                  </a:ext>
                </a:extLst>
              </p:cNvPr>
              <p:cNvSpPr/>
              <p:nvPr/>
            </p:nvSpPr>
            <p:spPr bwMode="gray">
              <a:xfrm>
                <a:off x="528828" y="153617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220" name="Straight Connector 219">
                <a:extLst>
                  <a:ext uri="{FF2B5EF4-FFF2-40B4-BE49-F238E27FC236}">
                    <a16:creationId xmlns:a16="http://schemas.microsoft.com/office/drawing/2014/main" id="{8E95B838-24D4-4208-B6D9-CFA6CF5ED641}"/>
                  </a:ext>
                </a:extLst>
              </p:cNvPr>
              <p:cNvCxnSpPr>
                <a:stCxn id="215" idx="1"/>
                <a:endCxn id="221" idx="6"/>
              </p:cNvCxnSpPr>
              <p:nvPr/>
            </p:nvCxnSpPr>
            <p:spPr>
              <a:xfrm flipH="1">
                <a:off x="549556" y="1636092"/>
                <a:ext cx="63313" cy="1132"/>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21" name="Oval 220">
                <a:extLst>
                  <a:ext uri="{FF2B5EF4-FFF2-40B4-BE49-F238E27FC236}">
                    <a16:creationId xmlns:a16="http://schemas.microsoft.com/office/drawing/2014/main" id="{BBF5AEC4-C6EF-43E0-B4BD-4513BB0132A1}"/>
                  </a:ext>
                </a:extLst>
              </p:cNvPr>
              <p:cNvSpPr/>
              <p:nvPr/>
            </p:nvSpPr>
            <p:spPr bwMode="gray">
              <a:xfrm>
                <a:off x="522731" y="162381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222" name="Group 221">
                <a:extLst>
                  <a:ext uri="{FF2B5EF4-FFF2-40B4-BE49-F238E27FC236}">
                    <a16:creationId xmlns:a16="http://schemas.microsoft.com/office/drawing/2014/main" id="{ED3A00A6-5900-4E65-ADEA-08337F8BF512}"/>
                  </a:ext>
                </a:extLst>
              </p:cNvPr>
              <p:cNvGrpSpPr/>
              <p:nvPr/>
            </p:nvGrpSpPr>
            <p:grpSpPr>
              <a:xfrm rot="5400000">
                <a:off x="780539" y="1278249"/>
                <a:ext cx="40849" cy="208078"/>
                <a:chOff x="906170" y="2076504"/>
                <a:chExt cx="79774" cy="406348"/>
              </a:xfrm>
            </p:grpSpPr>
            <p:sp>
              <p:nvSpPr>
                <p:cNvPr id="246" name="Rectangle 245">
                  <a:extLst>
                    <a:ext uri="{FF2B5EF4-FFF2-40B4-BE49-F238E27FC236}">
                      <a16:creationId xmlns:a16="http://schemas.microsoft.com/office/drawing/2014/main" id="{C44D615A-08CE-4064-BAEF-335EE4012A92}"/>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47" name="Rectangle 246">
                  <a:extLst>
                    <a:ext uri="{FF2B5EF4-FFF2-40B4-BE49-F238E27FC236}">
                      <a16:creationId xmlns:a16="http://schemas.microsoft.com/office/drawing/2014/main" id="{F897730F-2434-459E-9052-E615B92889A0}"/>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48" name="Rectangle 247">
                  <a:extLst>
                    <a:ext uri="{FF2B5EF4-FFF2-40B4-BE49-F238E27FC236}">
                      <a16:creationId xmlns:a16="http://schemas.microsoft.com/office/drawing/2014/main" id="{F2682366-4B0F-4074-B47E-9176FFA892DA}"/>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cxnSp>
            <p:nvCxnSpPr>
              <p:cNvPr id="223" name="Straight Connector 222">
                <a:extLst>
                  <a:ext uri="{FF2B5EF4-FFF2-40B4-BE49-F238E27FC236}">
                    <a16:creationId xmlns:a16="http://schemas.microsoft.com/office/drawing/2014/main" id="{0A5A2CFC-4E71-4CEB-AE58-7A6A5451F29B}"/>
                  </a:ext>
                </a:extLst>
              </p:cNvPr>
              <p:cNvCxnSpPr>
                <a:stCxn id="248" idx="1"/>
              </p:cNvCxnSpPr>
              <p:nvPr/>
            </p:nvCxnSpPr>
            <p:spPr>
              <a:xfrm flipH="1" flipV="1">
                <a:off x="714891" y="1318277"/>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92482ABB-FD2E-4BFD-8116-EB73527A440F}"/>
                  </a:ext>
                </a:extLst>
              </p:cNvPr>
              <p:cNvCxnSpPr/>
              <p:nvPr/>
            </p:nvCxnSpPr>
            <p:spPr>
              <a:xfrm flipH="1" flipV="1">
                <a:off x="689030" y="129558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25" name="Oval 224">
                <a:extLst>
                  <a:ext uri="{FF2B5EF4-FFF2-40B4-BE49-F238E27FC236}">
                    <a16:creationId xmlns:a16="http://schemas.microsoft.com/office/drawing/2014/main" id="{6C93220C-A390-4CB8-BE0C-7BA31B52992A}"/>
                  </a:ext>
                </a:extLst>
              </p:cNvPr>
              <p:cNvSpPr/>
              <p:nvPr/>
            </p:nvSpPr>
            <p:spPr bwMode="gray">
              <a:xfrm>
                <a:off x="665222" y="1268755"/>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cxnSp>
            <p:nvCxnSpPr>
              <p:cNvPr id="226" name="Straight Connector 225">
                <a:extLst>
                  <a:ext uri="{FF2B5EF4-FFF2-40B4-BE49-F238E27FC236}">
                    <a16:creationId xmlns:a16="http://schemas.microsoft.com/office/drawing/2014/main" id="{28D6D492-6EDD-4481-AC03-66829C05981D}"/>
                  </a:ext>
                </a:extLst>
              </p:cNvPr>
              <p:cNvCxnSpPr/>
              <p:nvPr/>
            </p:nvCxnSpPr>
            <p:spPr>
              <a:xfrm flipV="1">
                <a:off x="803268" y="1333138"/>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44B57906-CA25-451F-A59A-DE481E05A265}"/>
                  </a:ext>
                </a:extLst>
              </p:cNvPr>
              <p:cNvCxnSpPr/>
              <p:nvPr/>
            </p:nvCxnSpPr>
            <p:spPr>
              <a:xfrm flipV="1">
                <a:off x="800964" y="1310440"/>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37BBDC4F-5D94-4C3A-9710-3E727CE319BC}"/>
                  </a:ext>
                </a:extLst>
              </p:cNvPr>
              <p:cNvCxnSpPr/>
              <p:nvPr/>
            </p:nvCxnSpPr>
            <p:spPr>
              <a:xfrm flipV="1">
                <a:off x="826824" y="1257777"/>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29" name="Oval 228">
                <a:extLst>
                  <a:ext uri="{FF2B5EF4-FFF2-40B4-BE49-F238E27FC236}">
                    <a16:creationId xmlns:a16="http://schemas.microsoft.com/office/drawing/2014/main" id="{D9D7492D-5403-4A66-8757-08FDB5EA6F23}"/>
                  </a:ext>
                </a:extLst>
              </p:cNvPr>
              <p:cNvSpPr/>
              <p:nvPr/>
            </p:nvSpPr>
            <p:spPr bwMode="gray">
              <a:xfrm>
                <a:off x="813893" y="125705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nvGrpSpPr>
              <p:cNvPr id="230" name="Group 229">
                <a:extLst>
                  <a:ext uri="{FF2B5EF4-FFF2-40B4-BE49-F238E27FC236}">
                    <a16:creationId xmlns:a16="http://schemas.microsoft.com/office/drawing/2014/main" id="{1247E2B6-BB05-48C7-B78F-1CABB551620B}"/>
                  </a:ext>
                </a:extLst>
              </p:cNvPr>
              <p:cNvGrpSpPr/>
              <p:nvPr/>
            </p:nvGrpSpPr>
            <p:grpSpPr>
              <a:xfrm rot="5400000">
                <a:off x="833463" y="1295705"/>
                <a:ext cx="105491" cy="26825"/>
                <a:chOff x="1476522" y="2083779"/>
                <a:chExt cx="206012" cy="52386"/>
              </a:xfrm>
            </p:grpSpPr>
            <p:cxnSp>
              <p:nvCxnSpPr>
                <p:cNvPr id="244" name="Straight Connector 243">
                  <a:extLst>
                    <a:ext uri="{FF2B5EF4-FFF2-40B4-BE49-F238E27FC236}">
                      <a16:creationId xmlns:a16="http://schemas.microsoft.com/office/drawing/2014/main" id="{0C98FEC0-B72E-4542-A0E6-00567DB963D1}"/>
                    </a:ext>
                  </a:extLst>
                </p:cNvPr>
                <p:cNvCxnSpPr>
                  <a:stCxn id="246" idx="1"/>
                  <a:endCxn id="245"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45" name="Oval 244">
                  <a:extLst>
                    <a:ext uri="{FF2B5EF4-FFF2-40B4-BE49-F238E27FC236}">
                      <a16:creationId xmlns:a16="http://schemas.microsoft.com/office/drawing/2014/main" id="{CA6C6BF0-BC18-4B7E-9CA4-DF5DF8897B6E}"/>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231" name="Group 230">
                <a:extLst>
                  <a:ext uri="{FF2B5EF4-FFF2-40B4-BE49-F238E27FC236}">
                    <a16:creationId xmlns:a16="http://schemas.microsoft.com/office/drawing/2014/main" id="{782D2716-C305-4B37-BD09-8131ACA68423}"/>
                  </a:ext>
                </a:extLst>
              </p:cNvPr>
              <p:cNvGrpSpPr/>
              <p:nvPr/>
            </p:nvGrpSpPr>
            <p:grpSpPr>
              <a:xfrm rot="16200000" flipV="1">
                <a:off x="780539" y="1611271"/>
                <a:ext cx="40849" cy="208078"/>
                <a:chOff x="906170" y="2076504"/>
                <a:chExt cx="79774" cy="406348"/>
              </a:xfrm>
            </p:grpSpPr>
            <p:sp>
              <p:nvSpPr>
                <p:cNvPr id="241" name="Rectangle 240">
                  <a:extLst>
                    <a:ext uri="{FF2B5EF4-FFF2-40B4-BE49-F238E27FC236}">
                      <a16:creationId xmlns:a16="http://schemas.microsoft.com/office/drawing/2014/main" id="{5BA59019-2092-480B-B7DB-AFD4B417E9BC}"/>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42" name="Rectangle 241">
                  <a:extLst>
                    <a:ext uri="{FF2B5EF4-FFF2-40B4-BE49-F238E27FC236}">
                      <a16:creationId xmlns:a16="http://schemas.microsoft.com/office/drawing/2014/main" id="{629C3736-98C9-469E-9EA6-9612BDC0F115}"/>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sp>
              <p:nvSpPr>
                <p:cNvPr id="243" name="Rectangle 242">
                  <a:extLst>
                    <a:ext uri="{FF2B5EF4-FFF2-40B4-BE49-F238E27FC236}">
                      <a16:creationId xmlns:a16="http://schemas.microsoft.com/office/drawing/2014/main" id="{AF2B5766-4994-494B-B8E6-A7DD36AC2118}"/>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452" b="1" dirty="0">
                    <a:solidFill>
                      <a:srgbClr val="2E2E38"/>
                    </a:solidFill>
                  </a:endParaRPr>
                </a:p>
              </p:txBody>
            </p:sp>
          </p:grpSp>
          <p:grpSp>
            <p:nvGrpSpPr>
              <p:cNvPr id="232" name="Group 231">
                <a:extLst>
                  <a:ext uri="{FF2B5EF4-FFF2-40B4-BE49-F238E27FC236}">
                    <a16:creationId xmlns:a16="http://schemas.microsoft.com/office/drawing/2014/main" id="{81E35E33-54C8-4D15-9922-209E4EA2C62B}"/>
                  </a:ext>
                </a:extLst>
              </p:cNvPr>
              <p:cNvGrpSpPr/>
              <p:nvPr/>
            </p:nvGrpSpPr>
            <p:grpSpPr>
              <a:xfrm flipV="1">
                <a:off x="662132" y="1739056"/>
                <a:ext cx="50496" cy="93109"/>
                <a:chOff x="717895" y="2924854"/>
                <a:chExt cx="98612" cy="181829"/>
              </a:xfrm>
            </p:grpSpPr>
            <p:cxnSp>
              <p:nvCxnSpPr>
                <p:cNvPr id="238" name="Straight Connector 237">
                  <a:extLst>
                    <a:ext uri="{FF2B5EF4-FFF2-40B4-BE49-F238E27FC236}">
                      <a16:creationId xmlns:a16="http://schemas.microsoft.com/office/drawing/2014/main" id="{2FB05694-BEDC-4A5C-AC35-535D0DE35CDB}"/>
                    </a:ext>
                  </a:extLst>
                </p:cNvPr>
                <p:cNvCxnSpPr/>
                <p:nvPr/>
              </p:nvCxnSpPr>
              <p:spPr>
                <a:xfrm flipH="1" flipV="1">
                  <a:off x="814891" y="3021564"/>
                  <a:ext cx="1616" cy="85119"/>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CEA11523-3412-4233-AE18-39DE86A59103}"/>
                    </a:ext>
                  </a:extLst>
                </p:cNvPr>
                <p:cNvCxnSpPr/>
                <p:nvPr/>
              </p:nvCxnSpPr>
              <p:spPr>
                <a:xfrm flipH="1" flipV="1">
                  <a:off x="764389" y="2977239"/>
                  <a:ext cx="50502" cy="44325"/>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40" name="Oval 239">
                  <a:extLst>
                    <a:ext uri="{FF2B5EF4-FFF2-40B4-BE49-F238E27FC236}">
                      <a16:creationId xmlns:a16="http://schemas.microsoft.com/office/drawing/2014/main" id="{28999AFD-9E23-4225-ADBA-A79EA538CD7F}"/>
                    </a:ext>
                  </a:extLst>
                </p:cNvPr>
                <p:cNvSpPr/>
                <p:nvPr/>
              </p:nvSpPr>
              <p:spPr bwMode="gray">
                <a:xfrm>
                  <a:off x="717895" y="2924854"/>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grpSp>
            <p:nvGrpSpPr>
              <p:cNvPr id="233" name="Group 232">
                <a:extLst>
                  <a:ext uri="{FF2B5EF4-FFF2-40B4-BE49-F238E27FC236}">
                    <a16:creationId xmlns:a16="http://schemas.microsoft.com/office/drawing/2014/main" id="{B9CC13B3-C089-4C20-A38C-ECDAC40BD7EC}"/>
                  </a:ext>
                </a:extLst>
              </p:cNvPr>
              <p:cNvGrpSpPr/>
              <p:nvPr/>
            </p:nvGrpSpPr>
            <p:grpSpPr>
              <a:xfrm rot="16200000" flipV="1">
                <a:off x="747224" y="1776525"/>
                <a:ext cx="105492" cy="26825"/>
                <a:chOff x="1476522" y="2083779"/>
                <a:chExt cx="206011" cy="52386"/>
              </a:xfrm>
            </p:grpSpPr>
            <p:cxnSp>
              <p:nvCxnSpPr>
                <p:cNvPr id="236" name="Straight Connector 235">
                  <a:extLst>
                    <a:ext uri="{FF2B5EF4-FFF2-40B4-BE49-F238E27FC236}">
                      <a16:creationId xmlns:a16="http://schemas.microsoft.com/office/drawing/2014/main" id="{1D20A7CB-E819-45A0-8384-9DFCCBBD3D38}"/>
                    </a:ext>
                  </a:extLst>
                </p:cNvPr>
                <p:cNvCxnSpPr>
                  <a:endCxn id="237"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37" name="Oval 236">
                  <a:extLst>
                    <a:ext uri="{FF2B5EF4-FFF2-40B4-BE49-F238E27FC236}">
                      <a16:creationId xmlns:a16="http://schemas.microsoft.com/office/drawing/2014/main" id="{95E85C2A-1A76-449F-A872-0AAEF723B68F}"/>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452" b="1" dirty="0">
                    <a:solidFill>
                      <a:prstClr val="white"/>
                    </a:solidFill>
                  </a:endParaRPr>
                </a:p>
              </p:txBody>
            </p:sp>
          </p:grpSp>
          <p:cxnSp>
            <p:nvCxnSpPr>
              <p:cNvPr id="234" name="Straight Connector 233">
                <a:extLst>
                  <a:ext uri="{FF2B5EF4-FFF2-40B4-BE49-F238E27FC236}">
                    <a16:creationId xmlns:a16="http://schemas.microsoft.com/office/drawing/2014/main" id="{A8E35335-1D36-47E1-B949-F566C148B4D2}"/>
                  </a:ext>
                </a:extLst>
              </p:cNvPr>
              <p:cNvCxnSpPr/>
              <p:nvPr/>
            </p:nvCxnSpPr>
            <p:spPr>
              <a:xfrm>
                <a:off x="988393" y="1636092"/>
                <a:ext cx="45134" cy="1131"/>
              </a:xfrm>
              <a:prstGeom prst="line">
                <a:avLst/>
              </a:prstGeom>
              <a:solidFill>
                <a:srgbClr val="FFE600"/>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1">
                <a:schemeClr val="accent1"/>
              </a:lnRef>
              <a:fillRef idx="0">
                <a:schemeClr val="accent1"/>
              </a:fillRef>
              <a:effectRef idx="0">
                <a:schemeClr val="accent1"/>
              </a:effectRef>
              <a:fontRef idx="minor">
                <a:schemeClr val="tx1"/>
              </a:fontRef>
            </p:style>
          </p:cxnSp>
          <p:sp>
            <p:nvSpPr>
              <p:cNvPr id="235" name="Rectangle 234">
                <a:extLst>
                  <a:ext uri="{FF2B5EF4-FFF2-40B4-BE49-F238E27FC236}">
                    <a16:creationId xmlns:a16="http://schemas.microsoft.com/office/drawing/2014/main" id="{73C8473A-21FD-46AE-826E-F2589B23C7A4}"/>
                  </a:ext>
                </a:extLst>
              </p:cNvPr>
              <p:cNvSpPr/>
              <p:nvPr/>
            </p:nvSpPr>
            <p:spPr bwMode="gray">
              <a:xfrm>
                <a:off x="654384" y="1403439"/>
                <a:ext cx="293159" cy="293160"/>
              </a:xfrm>
              <a:prstGeom prst="rect">
                <a:avLst/>
              </a:prstGeom>
              <a:solidFill>
                <a:srgbClr val="747480"/>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r>
                  <a:rPr lang="en-GB" sz="1452" b="1" dirty="0">
                    <a:solidFill>
                      <a:prstClr val="white"/>
                    </a:solidFill>
                  </a:rPr>
                  <a:t>4</a:t>
                </a:r>
              </a:p>
            </p:txBody>
          </p:sp>
        </p:grpSp>
      </p:grpSp>
    </p:spTree>
    <p:extLst>
      <p:ext uri="{BB962C8B-B14F-4D97-AF65-F5344CB8AC3E}">
        <p14:creationId xmlns:p14="http://schemas.microsoft.com/office/powerpoint/2010/main" val="32217442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F92CF-A819-42DB-A6DD-7899F13C1EA0}"/>
              </a:ext>
            </a:extLst>
          </p:cNvPr>
          <p:cNvSpPr>
            <a:spLocks noGrp="1"/>
          </p:cNvSpPr>
          <p:nvPr>
            <p:ph type="title"/>
          </p:nvPr>
        </p:nvSpPr>
        <p:spPr/>
        <p:txBody>
          <a:bodyPr/>
          <a:lstStyle/>
          <a:p>
            <a:r>
              <a:rPr lang="de-AT" dirty="0" err="1"/>
              <a:t>Principle</a:t>
            </a:r>
            <a:r>
              <a:rPr lang="de-AT" dirty="0"/>
              <a:t> 5</a:t>
            </a:r>
          </a:p>
        </p:txBody>
      </p:sp>
      <p:sp>
        <p:nvSpPr>
          <p:cNvPr id="3" name="Text Placeholder 2">
            <a:extLst>
              <a:ext uri="{FF2B5EF4-FFF2-40B4-BE49-F238E27FC236}">
                <a16:creationId xmlns:a16="http://schemas.microsoft.com/office/drawing/2014/main" id="{22FAD44F-B5CD-4DA7-81AA-FAC5535314E5}"/>
              </a:ext>
            </a:extLst>
          </p:cNvPr>
          <p:cNvSpPr>
            <a:spLocks noGrp="1"/>
          </p:cNvSpPr>
          <p:nvPr>
            <p:ph type="body" sz="quarter" idx="15"/>
          </p:nvPr>
        </p:nvSpPr>
        <p:spPr/>
        <p:txBody>
          <a:bodyPr>
            <a:normAutofit/>
          </a:bodyPr>
          <a:lstStyle/>
          <a:p>
            <a:r>
              <a:rPr lang="de-AT" dirty="0"/>
              <a:t>Legal Nature </a:t>
            </a:r>
            <a:r>
              <a:rPr lang="de-AT" dirty="0" err="1"/>
              <a:t>of</a:t>
            </a:r>
            <a:r>
              <a:rPr lang="de-AT" dirty="0"/>
              <a:t> </a:t>
            </a:r>
            <a:r>
              <a:rPr lang="de-AT" dirty="0" err="1"/>
              <a:t>blockchain</a:t>
            </a:r>
            <a:r>
              <a:rPr lang="de-AT" dirty="0"/>
              <a:t> </a:t>
            </a:r>
            <a:r>
              <a:rPr lang="de-AT" dirty="0" err="1"/>
              <a:t>transactions</a:t>
            </a:r>
            <a:endParaRPr lang="de-AT" dirty="0"/>
          </a:p>
        </p:txBody>
      </p:sp>
      <p:sp>
        <p:nvSpPr>
          <p:cNvPr id="4" name="Slide Number Placeholder 3">
            <a:extLst>
              <a:ext uri="{FF2B5EF4-FFF2-40B4-BE49-F238E27FC236}">
                <a16:creationId xmlns:a16="http://schemas.microsoft.com/office/drawing/2014/main" id="{5EA38192-EB6D-44AB-9089-73D22076DAA0}"/>
              </a:ext>
            </a:extLst>
          </p:cNvPr>
          <p:cNvSpPr>
            <a:spLocks noGrp="1"/>
          </p:cNvSpPr>
          <p:nvPr>
            <p:ph type="sldNum" sz="quarter" idx="4"/>
          </p:nvPr>
        </p:nvSpPr>
        <p:spPr/>
        <p:txBody>
          <a:bodyPr/>
          <a:lstStyle/>
          <a:p>
            <a:r>
              <a:rPr lang="en-US">
                <a:latin typeface="EYInterstate Light" panose="02000506000000020004" pitchFamily="2" charset="0"/>
              </a:rPr>
              <a:t>Page </a:t>
            </a:r>
            <a:fld id="{F1BC30E3-FFE5-4B91-AA19-87A149EBB9EE}" type="slidenum">
              <a:rPr lang="en-US" smtClean="0">
                <a:latin typeface="EYInterstate Light" panose="02000506000000020004" pitchFamily="2" charset="0"/>
              </a:rPr>
              <a:pPr/>
              <a:t>8</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F418F99C-761A-45EB-A4A7-5F361E1946C9}"/>
              </a:ext>
            </a:extLst>
          </p:cNvPr>
          <p:cNvSpPr>
            <a:spLocks noGrp="1"/>
          </p:cNvSpPr>
          <p:nvPr>
            <p:ph type="dt" sz="half" idx="2"/>
          </p:nvPr>
        </p:nvSpPr>
        <p:spPr/>
        <p:txBody>
          <a:bodyPr/>
          <a:lstStyle/>
          <a:p>
            <a:r>
              <a:rPr lang="de-DE">
                <a:latin typeface="EYInterstate Light" panose="02000506000000020004" pitchFamily="2" charset="0"/>
              </a:rPr>
              <a:t>28 September 2021</a:t>
            </a:r>
            <a:endParaRPr lang="en-US" dirty="0">
              <a:latin typeface="EYInterstate Light" panose="02000506000000020004" pitchFamily="2" charset="0"/>
            </a:endParaRPr>
          </a:p>
        </p:txBody>
      </p:sp>
      <p:graphicFrame>
        <p:nvGraphicFramePr>
          <p:cNvPr id="8" name="Content Placeholder 3">
            <a:extLst>
              <a:ext uri="{FF2B5EF4-FFF2-40B4-BE49-F238E27FC236}">
                <a16:creationId xmlns:a16="http://schemas.microsoft.com/office/drawing/2014/main" id="{DA9C1462-6410-478C-B490-4C8548489B31}"/>
              </a:ext>
            </a:extLst>
          </p:cNvPr>
          <p:cNvGraphicFramePr>
            <a:graphicFrameLocks/>
          </p:cNvGraphicFramePr>
          <p:nvPr>
            <p:extLst>
              <p:ext uri="{D42A27DB-BD31-4B8C-83A1-F6EECF244321}">
                <p14:modId xmlns:p14="http://schemas.microsoft.com/office/powerpoint/2010/main" val="1656417894"/>
              </p:ext>
            </p:extLst>
          </p:nvPr>
        </p:nvGraphicFramePr>
        <p:xfrm>
          <a:off x="6423499" y="2108907"/>
          <a:ext cx="4450697" cy="25374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14B92FA1-2ED6-4286-96E5-0F1A8B4E758E}"/>
              </a:ext>
            </a:extLst>
          </p:cNvPr>
          <p:cNvGrpSpPr/>
          <p:nvPr/>
        </p:nvGrpSpPr>
        <p:grpSpPr>
          <a:xfrm>
            <a:off x="609601" y="1135296"/>
            <a:ext cx="10981142" cy="778819"/>
            <a:chOff x="609601" y="1135296"/>
            <a:chExt cx="10981142" cy="778819"/>
          </a:xfrm>
        </p:grpSpPr>
        <p:sp>
          <p:nvSpPr>
            <p:cNvPr id="11" name="Rectangle 10">
              <a:extLst>
                <a:ext uri="{FF2B5EF4-FFF2-40B4-BE49-F238E27FC236}">
                  <a16:creationId xmlns:a16="http://schemas.microsoft.com/office/drawing/2014/main" id="{74F43A7E-67BC-4FEC-B55C-BDF7EE2F8916}"/>
                </a:ext>
              </a:extLst>
            </p:cNvPr>
            <p:cNvSpPr/>
            <p:nvPr/>
          </p:nvSpPr>
          <p:spPr>
            <a:xfrm>
              <a:off x="609601" y="1135296"/>
              <a:ext cx="10834060" cy="756408"/>
            </a:xfrm>
            <a:prstGeom prst="rect">
              <a:avLst/>
            </a:prstGeom>
            <a:solidFill>
              <a:schemeClr val="tx1"/>
            </a:solidFill>
            <a:ln w="6350" cap="sq" cmpd="sng" algn="ctr">
              <a:solidFill>
                <a:srgbClr val="FFE600"/>
              </a:solidFill>
              <a:prstDash val="solid"/>
              <a:miter lim="800000"/>
              <a:tailEnd type="none"/>
            </a:ln>
            <a:effectLst/>
          </p:spPr>
          <p:txBody>
            <a:bodyPr rot="0" spcFirstLastPara="0" vertOverflow="overflow" horzOverflow="overflow" vert="horz" wrap="square" lIns="73025" tIns="73025" rIns="73025" bIns="73025" numCol="1" spcCol="0" rtlCol="0" fromWordArt="0" anchor="ctr" anchorCtr="0" forceAA="0" compatLnSpc="1">
              <a:prstTxWarp prst="textNoShape">
                <a:avLst/>
              </a:prstTxWarp>
              <a:noAutofit/>
            </a:bodyPr>
            <a:lstStyle/>
            <a:p>
              <a:r>
                <a:rPr lang="en-GB" sz="1600" kern="0" dirty="0">
                  <a:solidFill>
                    <a:schemeClr val="bg1"/>
                  </a:solidFill>
                </a:rPr>
                <a:t>Triggering of transactions performed on a blockchain may amount to an </a:t>
              </a:r>
              <a:r>
                <a:rPr lang="en-GB" sz="1600" b="1" kern="0" dirty="0">
                  <a:solidFill>
                    <a:schemeClr val="bg1"/>
                  </a:solidFill>
                </a:rPr>
                <a:t>offer, acceptance </a:t>
              </a:r>
              <a:r>
                <a:rPr lang="en-GB" sz="1600" kern="0" dirty="0">
                  <a:solidFill>
                    <a:schemeClr val="bg1"/>
                  </a:solidFill>
                </a:rPr>
                <a:t>or any other </a:t>
              </a:r>
              <a:br>
                <a:rPr lang="en-GB" sz="1600" kern="0" dirty="0">
                  <a:solidFill>
                    <a:schemeClr val="bg1"/>
                  </a:solidFill>
                </a:rPr>
              </a:br>
              <a:r>
                <a:rPr lang="en-GB" sz="1600" b="1" kern="0" dirty="0">
                  <a:solidFill>
                    <a:schemeClr val="bg1"/>
                  </a:solidFill>
                </a:rPr>
                <a:t>contractual declaration</a:t>
              </a:r>
              <a:endParaRPr lang="de-AT" sz="1600" b="1" kern="0" dirty="0">
                <a:solidFill>
                  <a:schemeClr val="bg1"/>
                </a:solidFill>
              </a:endParaRPr>
            </a:p>
          </p:txBody>
        </p:sp>
        <p:grpSp>
          <p:nvGrpSpPr>
            <p:cNvPr id="12" name="Group 11">
              <a:extLst>
                <a:ext uri="{FF2B5EF4-FFF2-40B4-BE49-F238E27FC236}">
                  <a16:creationId xmlns:a16="http://schemas.microsoft.com/office/drawing/2014/main" id="{C4EB7AD2-FA3E-4699-A9B7-900753E007C6}"/>
                </a:ext>
              </a:extLst>
            </p:cNvPr>
            <p:cNvGrpSpPr/>
            <p:nvPr/>
          </p:nvGrpSpPr>
          <p:grpSpPr>
            <a:xfrm>
              <a:off x="11444402" y="1393610"/>
              <a:ext cx="146341" cy="239780"/>
              <a:chOff x="4011103" y="2105333"/>
              <a:chExt cx="146341" cy="239780"/>
            </a:xfrm>
          </p:grpSpPr>
          <p:grpSp>
            <p:nvGrpSpPr>
              <p:cNvPr id="17" name="Group 16">
                <a:extLst>
                  <a:ext uri="{FF2B5EF4-FFF2-40B4-BE49-F238E27FC236}">
                    <a16:creationId xmlns:a16="http://schemas.microsoft.com/office/drawing/2014/main" id="{7684BB9D-9F81-4AC4-81EF-426CC303DC58}"/>
                  </a:ext>
                </a:extLst>
              </p:cNvPr>
              <p:cNvGrpSpPr/>
              <p:nvPr/>
            </p:nvGrpSpPr>
            <p:grpSpPr>
              <a:xfrm rot="10800000">
                <a:off x="4011103" y="2137035"/>
                <a:ext cx="40849" cy="208078"/>
                <a:chOff x="906170" y="2076504"/>
                <a:chExt cx="79774" cy="406348"/>
              </a:xfrm>
            </p:grpSpPr>
            <p:sp>
              <p:nvSpPr>
                <p:cNvPr id="28" name="Rectangle 27">
                  <a:extLst>
                    <a:ext uri="{FF2B5EF4-FFF2-40B4-BE49-F238E27FC236}">
                      <a16:creationId xmlns:a16="http://schemas.microsoft.com/office/drawing/2014/main" id="{BFB70135-36E5-4FD6-B689-97BA71055C11}"/>
                    </a:ext>
                  </a:extLst>
                </p:cNvPr>
                <p:cNvSpPr/>
                <p:nvPr/>
              </p:nvSpPr>
              <p:spPr bwMode="gray">
                <a:xfrm>
                  <a:off x="906170" y="2076504"/>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29" name="Rectangle 28">
                  <a:extLst>
                    <a:ext uri="{FF2B5EF4-FFF2-40B4-BE49-F238E27FC236}">
                      <a16:creationId xmlns:a16="http://schemas.microsoft.com/office/drawing/2014/main" id="{9BDF814D-C77B-414D-9021-D49097B28C2B}"/>
                    </a:ext>
                  </a:extLst>
                </p:cNvPr>
                <p:cNvSpPr/>
                <p:nvPr/>
              </p:nvSpPr>
              <p:spPr bwMode="gray">
                <a:xfrm>
                  <a:off x="906170" y="2242977"/>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sp>
              <p:nvSpPr>
                <p:cNvPr id="30" name="Rectangle 29">
                  <a:extLst>
                    <a:ext uri="{FF2B5EF4-FFF2-40B4-BE49-F238E27FC236}">
                      <a16:creationId xmlns:a16="http://schemas.microsoft.com/office/drawing/2014/main" id="{C7C0CE05-5211-41AE-BBF0-224F7D79D20E}"/>
                    </a:ext>
                  </a:extLst>
                </p:cNvPr>
                <p:cNvSpPr/>
                <p:nvPr/>
              </p:nvSpPr>
              <p:spPr bwMode="gray">
                <a:xfrm>
                  <a:off x="906170" y="2409451"/>
                  <a:ext cx="79774" cy="73401"/>
                </a:xfrm>
                <a:prstGeom prst="rect">
                  <a:avLst/>
                </a:prstGeom>
                <a:solidFill>
                  <a:srgbClr val="FFE600"/>
                </a:solid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defTabSz="714403">
                    <a:lnSpc>
                      <a:spcPct val="106000"/>
                    </a:lnSpc>
                  </a:pPr>
                  <a:endParaRPr lang="en-GB" sz="1452" b="1" dirty="0">
                    <a:solidFill>
                      <a:srgbClr val="2E2E38"/>
                    </a:solidFill>
                  </a:endParaRPr>
                </a:p>
              </p:txBody>
            </p:sp>
          </p:grpSp>
          <p:cxnSp>
            <p:nvCxnSpPr>
              <p:cNvPr id="18" name="Straight Connector 17">
                <a:extLst>
                  <a:ext uri="{FF2B5EF4-FFF2-40B4-BE49-F238E27FC236}">
                    <a16:creationId xmlns:a16="http://schemas.microsoft.com/office/drawing/2014/main" id="{EF29053B-36E6-4134-AEC4-D19BECD21702}"/>
                  </a:ext>
                </a:extLst>
              </p:cNvPr>
              <p:cNvCxnSpPr>
                <a:stCxn id="30" idx="1"/>
              </p:cNvCxnSpPr>
              <p:nvPr/>
            </p:nvCxnSpPr>
            <p:spPr>
              <a:xfrm rot="5400000" flipH="1" flipV="1">
                <a:off x="4073332" y="2133623"/>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2EAAF9E-C24E-4065-8342-E7D518B21FFC}"/>
                  </a:ext>
                </a:extLst>
              </p:cNvPr>
              <p:cNvCxnSpPr/>
              <p:nvPr/>
            </p:nvCxnSpPr>
            <p:spPr>
              <a:xfrm rot="5400000" flipH="1" flipV="1">
                <a:off x="4093957" y="2130722"/>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D6DC9A8E-F9B8-4640-8F46-11DD1690A48C}"/>
                  </a:ext>
                </a:extLst>
              </p:cNvPr>
              <p:cNvSpPr/>
              <p:nvPr/>
            </p:nvSpPr>
            <p:spPr bwMode="gray">
              <a:xfrm rot="5400000">
                <a:off x="4118236" y="2105333"/>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cxnSp>
            <p:nvCxnSpPr>
              <p:cNvPr id="21" name="Straight Connector 20">
                <a:extLst>
                  <a:ext uri="{FF2B5EF4-FFF2-40B4-BE49-F238E27FC236}">
                    <a16:creationId xmlns:a16="http://schemas.microsoft.com/office/drawing/2014/main" id="{C4DB5E63-BBB1-4EEA-A55E-41D5C9BB04C1}"/>
                  </a:ext>
                </a:extLst>
              </p:cNvPr>
              <p:cNvCxnSpPr/>
              <p:nvPr/>
            </p:nvCxnSpPr>
            <p:spPr>
              <a:xfrm rot="5400000" flipV="1">
                <a:off x="4066314" y="2229015"/>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BAF294C-B811-4E1B-B9DE-086361A828F5}"/>
                  </a:ext>
                </a:extLst>
              </p:cNvPr>
              <p:cNvCxnSpPr/>
              <p:nvPr/>
            </p:nvCxnSpPr>
            <p:spPr>
              <a:xfrm rot="5400000" flipV="1">
                <a:off x="4078356" y="2242657"/>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ED6BAC-A93D-44E0-A7D1-BE05E046DF9B}"/>
                  </a:ext>
                </a:extLst>
              </p:cNvPr>
              <p:cNvCxnSpPr/>
              <p:nvPr/>
            </p:nvCxnSpPr>
            <p:spPr>
              <a:xfrm rot="5400000" flipV="1">
                <a:off x="4129708" y="2240604"/>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89DBC440-EB54-4FBC-B8C6-5EA4FE062D69}"/>
                  </a:ext>
                </a:extLst>
              </p:cNvPr>
              <p:cNvSpPr/>
              <p:nvPr/>
            </p:nvSpPr>
            <p:spPr bwMode="gray">
              <a:xfrm rot="5400000">
                <a:off x="4129940" y="2254004"/>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nvGrpSpPr>
              <p:cNvPr id="25" name="Group 24">
                <a:extLst>
                  <a:ext uri="{FF2B5EF4-FFF2-40B4-BE49-F238E27FC236}">
                    <a16:creationId xmlns:a16="http://schemas.microsoft.com/office/drawing/2014/main" id="{87D2ACA0-E51B-4EE0-8E79-9CF1EECFF695}"/>
                  </a:ext>
                </a:extLst>
              </p:cNvPr>
              <p:cNvGrpSpPr/>
              <p:nvPr/>
            </p:nvGrpSpPr>
            <p:grpSpPr>
              <a:xfrm rot="10800000">
                <a:off x="4051953" y="2312907"/>
                <a:ext cx="105491" cy="26825"/>
                <a:chOff x="1476522" y="2083779"/>
                <a:chExt cx="206012" cy="52386"/>
              </a:xfrm>
            </p:grpSpPr>
            <p:cxnSp>
              <p:nvCxnSpPr>
                <p:cNvPr id="26" name="Straight Connector 25">
                  <a:extLst>
                    <a:ext uri="{FF2B5EF4-FFF2-40B4-BE49-F238E27FC236}">
                      <a16:creationId xmlns:a16="http://schemas.microsoft.com/office/drawing/2014/main" id="{8A4A91E8-D8F0-4EEF-8F5C-613F0E558847}"/>
                    </a:ext>
                  </a:extLst>
                </p:cNvPr>
                <p:cNvCxnSpPr>
                  <a:stCxn id="28" idx="1"/>
                  <a:endCxn id="27"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85B801A-9FFD-4DA5-A017-5D0713A66E0E}"/>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defTabSz="714403">
                    <a:lnSpc>
                      <a:spcPct val="106000"/>
                    </a:lnSpc>
                  </a:pPr>
                  <a:endParaRPr lang="en-GB" sz="1452" b="1" dirty="0">
                    <a:solidFill>
                      <a:prstClr val="white"/>
                    </a:solidFill>
                  </a:endParaRPr>
                </a:p>
              </p:txBody>
            </p:sp>
          </p:grpSp>
        </p:grpSp>
        <p:grpSp>
          <p:nvGrpSpPr>
            <p:cNvPr id="13" name="Group 12">
              <a:extLst>
                <a:ext uri="{FF2B5EF4-FFF2-40B4-BE49-F238E27FC236}">
                  <a16:creationId xmlns:a16="http://schemas.microsoft.com/office/drawing/2014/main" id="{03B67685-D926-40AD-B507-78B51A6363B0}"/>
                </a:ext>
              </a:extLst>
            </p:cNvPr>
            <p:cNvGrpSpPr/>
            <p:nvPr/>
          </p:nvGrpSpPr>
          <p:grpSpPr>
            <a:xfrm>
              <a:off x="10735874" y="1859016"/>
              <a:ext cx="384181" cy="55099"/>
              <a:chOff x="3609347" y="2150884"/>
              <a:chExt cx="323386" cy="72179"/>
            </a:xfrm>
          </p:grpSpPr>
          <p:sp>
            <p:nvSpPr>
              <p:cNvPr id="14" name="Rectangle: Rounded Corners 13">
                <a:extLst>
                  <a:ext uri="{FF2B5EF4-FFF2-40B4-BE49-F238E27FC236}">
                    <a16:creationId xmlns:a16="http://schemas.microsoft.com/office/drawing/2014/main" id="{137F461D-24EC-467B-B660-DDEFAF6EE9FD}"/>
                  </a:ext>
                </a:extLst>
              </p:cNvPr>
              <p:cNvSpPr/>
              <p:nvPr/>
            </p:nvSpPr>
            <p:spPr>
              <a:xfrm>
                <a:off x="3794767" y="2150884"/>
                <a:ext cx="137966" cy="72179"/>
              </a:xfrm>
              <a:prstGeom prst="roundRect">
                <a:avLst/>
              </a:prstGeom>
              <a:solidFill>
                <a:srgbClr val="2E2E38"/>
              </a:solidFill>
              <a:ln w="19050" cap="flat" cmpd="sng" algn="ctr">
                <a:solidFill>
                  <a:srgbClr val="747480"/>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15" name="Rectangle: Rounded Corners 14">
                <a:extLst>
                  <a:ext uri="{FF2B5EF4-FFF2-40B4-BE49-F238E27FC236}">
                    <a16:creationId xmlns:a16="http://schemas.microsoft.com/office/drawing/2014/main" id="{8FB4CA4D-CD0A-47CF-A01A-46C72F6848E2}"/>
                  </a:ext>
                </a:extLst>
              </p:cNvPr>
              <p:cNvSpPr/>
              <p:nvPr/>
            </p:nvSpPr>
            <p:spPr>
              <a:xfrm>
                <a:off x="3609347" y="2150884"/>
                <a:ext cx="137966" cy="72179"/>
              </a:xfrm>
              <a:prstGeom prst="roundRect">
                <a:avLst/>
              </a:prstGeom>
              <a:solidFill>
                <a:srgbClr val="2E2E38"/>
              </a:solidFill>
              <a:ln w="19050" cap="flat" cmpd="sng" algn="ctr">
                <a:solidFill>
                  <a:srgbClr val="C4C4CD"/>
                </a:solidFill>
                <a:prstDash val="solid"/>
              </a:ln>
              <a:effec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sp>
            <p:nvSpPr>
              <p:cNvPr id="16" name="Rectangle 15">
                <a:extLst>
                  <a:ext uri="{FF2B5EF4-FFF2-40B4-BE49-F238E27FC236}">
                    <a16:creationId xmlns:a16="http://schemas.microsoft.com/office/drawing/2014/main" id="{4954FE33-655D-488A-9154-A0191F9BFC7F}"/>
                  </a:ext>
                </a:extLst>
              </p:cNvPr>
              <p:cNvSpPr/>
              <p:nvPr/>
            </p:nvSpPr>
            <p:spPr>
              <a:xfrm>
                <a:off x="3730114" y="2167676"/>
                <a:ext cx="81852" cy="38595"/>
              </a:xfrm>
              <a:prstGeom prst="rect">
                <a:avLst/>
              </a:prstGeom>
              <a:solidFill>
                <a:srgbClr val="747480"/>
              </a:solidFill>
              <a:ln w="0" cap="flat" cmpd="sng" algn="ctr">
                <a:noFill/>
                <a:prstDash val="solid"/>
              </a:ln>
              <a:effectLst/>
              <a:extLst>
                <a:ext uri="{91240B29-F687-4F45-9708-019B960494DF}">
                  <a14:hiddenLine xmlns:a14="http://schemas.microsoft.com/office/drawing/2010/main" w="0" cap="flat" cmpd="sng" algn="ctr">
                    <a:solidFill>
                      <a:schemeClr val="accent1"/>
                    </a:solidFill>
                    <a:prstDash val="solid"/>
                  </a14:hiddenLine>
                </a:ext>
              </a:extLst>
            </p:spPr>
            <p:txBody>
              <a:bodyPr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2E2E38"/>
                  </a:solidFill>
                  <a:effectLst/>
                  <a:uLnTx/>
                  <a:uFillTx/>
                  <a:ea typeface="+mn-ea"/>
                  <a:cs typeface="+mn-cs"/>
                </a:endParaRPr>
              </a:p>
            </p:txBody>
          </p:sp>
        </p:grpSp>
      </p:grpSp>
      <p:sp>
        <p:nvSpPr>
          <p:cNvPr id="31" name="TextBox 30">
            <a:extLst>
              <a:ext uri="{FF2B5EF4-FFF2-40B4-BE49-F238E27FC236}">
                <a16:creationId xmlns:a16="http://schemas.microsoft.com/office/drawing/2014/main" id="{18981DB7-1AE6-49A7-BE53-DC37CE075FC3}"/>
              </a:ext>
            </a:extLst>
          </p:cNvPr>
          <p:cNvSpPr txBox="1"/>
          <p:nvPr/>
        </p:nvSpPr>
        <p:spPr>
          <a:xfrm>
            <a:off x="609600" y="2465559"/>
            <a:ext cx="5272236" cy="1824149"/>
          </a:xfrm>
          <a:prstGeom prst="rect">
            <a:avLst/>
          </a:prstGeom>
          <a:solidFill>
            <a:srgbClr val="747480">
              <a:alpha val="21000"/>
            </a:srgbClr>
          </a:solidFill>
          <a:ln w="0" cap="flat">
            <a:noFill/>
            <a:prstDash val="solid"/>
            <a:miter/>
          </a:ln>
        </p:spPr>
        <p:txBody>
          <a:bodyPr lIns="73025" tIns="73025" rIns="73025" bIns="73025" rtlCol="0" anchor="ctr"/>
          <a:lstStyle>
            <a:defPPr>
              <a:defRPr lang="en-US"/>
            </a:defPPr>
            <a:lvl1pPr algn="ctr">
              <a:defRPr sz="1100"/>
            </a:lvl1pPr>
          </a:lstStyle>
          <a:p>
            <a:pPr marL="216000" indent="-216000" algn="l">
              <a:buClr>
                <a:schemeClr val="tx2"/>
              </a:buClr>
              <a:buFont typeface="EYInterstate Light" panose="02000506000000020004" pitchFamily="2" charset="0"/>
              <a:buChar char="•"/>
            </a:pPr>
            <a:r>
              <a:rPr lang="en-IN" sz="1400" dirty="0">
                <a:solidFill>
                  <a:schemeClr val="bg1"/>
                </a:solidFill>
              </a:rPr>
              <a:t>Main question: Can a Smart Contract as such create a </a:t>
            </a:r>
            <a:r>
              <a:rPr lang="en-IN" sz="1400" b="1" dirty="0">
                <a:solidFill>
                  <a:schemeClr val="bg1"/>
                </a:solidFill>
              </a:rPr>
              <a:t>legally binding contract?</a:t>
            </a:r>
          </a:p>
          <a:p>
            <a:pPr marL="216000" indent="-216000" algn="l">
              <a:buClr>
                <a:schemeClr val="tx2"/>
              </a:buClr>
              <a:buFont typeface="EYInterstate Light" panose="02000506000000020004" pitchFamily="2" charset="0"/>
              <a:buChar char="•"/>
            </a:pPr>
            <a:endParaRPr lang="en-IN" sz="1400" dirty="0">
              <a:solidFill>
                <a:schemeClr val="bg1"/>
              </a:solidFill>
            </a:endParaRPr>
          </a:p>
          <a:p>
            <a:pPr marL="216000" indent="-216000" algn="l">
              <a:buClr>
                <a:schemeClr val="tx2"/>
              </a:buClr>
              <a:buFont typeface="EYInterstate Light" panose="02000506000000020004" pitchFamily="2" charset="0"/>
              <a:buChar char="•"/>
            </a:pPr>
            <a:r>
              <a:rPr lang="en-IN" sz="1400" dirty="0">
                <a:solidFill>
                  <a:schemeClr val="bg1"/>
                </a:solidFill>
              </a:rPr>
              <a:t>Depending on the specific nature of the Smart Contract, triggering of transactions on the blockchain can reasonably be understood as a </a:t>
            </a:r>
            <a:r>
              <a:rPr lang="en-IN" sz="1400" b="1" dirty="0">
                <a:solidFill>
                  <a:schemeClr val="bg1"/>
                </a:solidFill>
              </a:rPr>
              <a:t>declaration of will </a:t>
            </a:r>
          </a:p>
          <a:p>
            <a:pPr marL="285750" indent="-285750" algn="l">
              <a:buClr>
                <a:schemeClr val="tx2"/>
              </a:buClr>
              <a:buFont typeface="EYInterstate Light" panose="02000506000000020004" pitchFamily="2" charset="0"/>
              <a:buChar char="•"/>
            </a:pPr>
            <a:endParaRPr lang="en-IN" sz="1400" dirty="0">
              <a:solidFill>
                <a:schemeClr val="bg1"/>
              </a:solidFill>
            </a:endParaRPr>
          </a:p>
        </p:txBody>
      </p:sp>
    </p:spTree>
    <p:extLst>
      <p:ext uri="{BB962C8B-B14F-4D97-AF65-F5344CB8AC3E}">
        <p14:creationId xmlns:p14="http://schemas.microsoft.com/office/powerpoint/2010/main" val="2675035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B56A5-BDF3-4BF6-A171-A3FAF5980A25}"/>
              </a:ext>
            </a:extLst>
          </p:cNvPr>
          <p:cNvSpPr>
            <a:spLocks noGrp="1"/>
          </p:cNvSpPr>
          <p:nvPr>
            <p:ph type="title"/>
          </p:nvPr>
        </p:nvSpPr>
        <p:spPr/>
        <p:txBody>
          <a:bodyPr/>
          <a:lstStyle/>
          <a:p>
            <a:r>
              <a:rPr lang="de-AT" dirty="0" err="1"/>
              <a:t>Types</a:t>
            </a:r>
            <a:r>
              <a:rPr lang="de-AT" dirty="0"/>
              <a:t> </a:t>
            </a:r>
            <a:r>
              <a:rPr lang="de-AT" dirty="0" err="1"/>
              <a:t>of</a:t>
            </a:r>
            <a:r>
              <a:rPr lang="de-AT" dirty="0"/>
              <a:t> Smart </a:t>
            </a:r>
            <a:r>
              <a:rPr lang="de-AT" dirty="0" err="1"/>
              <a:t>Contracts</a:t>
            </a:r>
            <a:endParaRPr lang="de-AT" dirty="0"/>
          </a:p>
        </p:txBody>
      </p:sp>
      <p:sp>
        <p:nvSpPr>
          <p:cNvPr id="4" name="Slide Number Placeholder 3">
            <a:extLst>
              <a:ext uri="{FF2B5EF4-FFF2-40B4-BE49-F238E27FC236}">
                <a16:creationId xmlns:a16="http://schemas.microsoft.com/office/drawing/2014/main" id="{BCAF5A16-C0B2-46A0-A7FD-79EB560E2CCD}"/>
              </a:ext>
            </a:extLst>
          </p:cNvPr>
          <p:cNvSpPr>
            <a:spLocks noGrp="1"/>
          </p:cNvSpPr>
          <p:nvPr>
            <p:ph type="sldNum" sz="quarter" idx="4"/>
          </p:nvPr>
        </p:nvSpPr>
        <p:spPr/>
        <p:txBody>
          <a:bodyPr/>
          <a:lstStyle/>
          <a:p>
            <a:r>
              <a:rPr lang="en-US" dirty="0">
                <a:latin typeface="EYInterstate Light" panose="02000506000000020004" pitchFamily="2" charset="0"/>
              </a:rPr>
              <a:t>Page </a:t>
            </a:r>
            <a:fld id="{F1BC30E3-FFE5-4B91-AA19-87A149EBB9EE}" type="slidenum">
              <a:rPr lang="en-US" smtClean="0">
                <a:latin typeface="EYInterstate Light" panose="02000506000000020004" pitchFamily="2" charset="0"/>
              </a:rPr>
              <a:pPr/>
              <a:t>9</a:t>
            </a:fld>
            <a:endParaRPr lang="en-US" dirty="0">
              <a:latin typeface="EYInterstate Light" panose="02000506000000020004" pitchFamily="2" charset="0"/>
            </a:endParaRPr>
          </a:p>
        </p:txBody>
      </p:sp>
      <p:sp>
        <p:nvSpPr>
          <p:cNvPr id="5" name="Date Placeholder 4">
            <a:extLst>
              <a:ext uri="{FF2B5EF4-FFF2-40B4-BE49-F238E27FC236}">
                <a16:creationId xmlns:a16="http://schemas.microsoft.com/office/drawing/2014/main" id="{C86637C4-9F98-43E6-A2C7-8FEC8600206A}"/>
              </a:ext>
            </a:extLst>
          </p:cNvPr>
          <p:cNvSpPr>
            <a:spLocks noGrp="1"/>
          </p:cNvSpPr>
          <p:nvPr>
            <p:ph type="dt" sz="half" idx="2"/>
          </p:nvPr>
        </p:nvSpPr>
        <p:spPr/>
        <p:txBody>
          <a:bodyPr/>
          <a:lstStyle/>
          <a:p>
            <a:r>
              <a:rPr lang="de-DE" dirty="0">
                <a:latin typeface="EYInterstate Light" panose="02000506000000020004" pitchFamily="2" charset="0"/>
              </a:rPr>
              <a:t>28 September 2021</a:t>
            </a:r>
            <a:endParaRPr lang="en-US" dirty="0">
              <a:latin typeface="EYInterstate Light" panose="02000506000000020004" pitchFamily="2" charset="0"/>
            </a:endParaRPr>
          </a:p>
        </p:txBody>
      </p:sp>
      <p:sp>
        <p:nvSpPr>
          <p:cNvPr id="12" name="Rectangle 11">
            <a:extLst>
              <a:ext uri="{FF2B5EF4-FFF2-40B4-BE49-F238E27FC236}">
                <a16:creationId xmlns:a16="http://schemas.microsoft.com/office/drawing/2014/main" id="{258D008E-8244-47DF-A6BC-8E36ABF5D6B9}"/>
              </a:ext>
            </a:extLst>
          </p:cNvPr>
          <p:cNvSpPr/>
          <p:nvPr/>
        </p:nvSpPr>
        <p:spPr>
          <a:xfrm>
            <a:off x="608012" y="1560517"/>
            <a:ext cx="4939348" cy="1727398"/>
          </a:xfrm>
          <a:prstGeom prst="rect">
            <a:avLst/>
          </a:prstGeom>
          <a:solidFill>
            <a:srgbClr val="747480">
              <a:alpha val="21000"/>
            </a:srgbClr>
          </a:solidFill>
          <a:ln w="0" cap="flat">
            <a:noFill/>
            <a:prstDash val="solid"/>
            <a:miter/>
          </a:ln>
        </p:spPr>
        <p:txBody>
          <a:bodyPr lIns="73025" tIns="73025" rIns="73025" bIns="73025" rtlCol="0" anchor="ctr"/>
          <a:lstStyle/>
          <a:p>
            <a:pPr marL="285750" indent="-285750">
              <a:buClr>
                <a:schemeClr val="tx2"/>
              </a:buClr>
              <a:buFont typeface="EYInterstate Light" panose="02000506000000020004" pitchFamily="2" charset="0"/>
              <a:buChar char="•"/>
            </a:pPr>
            <a:endParaRPr lang="de-AT" sz="1400" dirty="0">
              <a:solidFill>
                <a:schemeClr val="bg1"/>
              </a:solidFill>
            </a:endParaRPr>
          </a:p>
          <a:p>
            <a:pPr marL="285750" indent="-285750">
              <a:buClr>
                <a:schemeClr val="tx2"/>
              </a:buClr>
              <a:buFont typeface="EYInterstate Light" panose="02000506000000020004" pitchFamily="2" charset="0"/>
              <a:buChar char="•"/>
            </a:pPr>
            <a:r>
              <a:rPr lang="en-IE" sz="1400" dirty="0">
                <a:solidFill>
                  <a:schemeClr val="bg1"/>
                </a:solidFill>
              </a:rPr>
              <a:t>A legally binding declaration of will, such as an offer or acceptance or constitute a legal agreement itself</a:t>
            </a:r>
          </a:p>
          <a:p>
            <a:pPr marL="285750" indent="-285750">
              <a:buClr>
                <a:schemeClr val="tx2"/>
              </a:buClr>
              <a:buFont typeface="EYInterstate Light" panose="02000506000000020004" pitchFamily="2" charset="0"/>
              <a:buChar char="•"/>
            </a:pPr>
            <a:endParaRPr lang="de-AT" sz="1400" dirty="0">
              <a:solidFill>
                <a:schemeClr val="bg1"/>
              </a:solidFill>
            </a:endParaRPr>
          </a:p>
        </p:txBody>
      </p:sp>
      <p:sp>
        <p:nvSpPr>
          <p:cNvPr id="13" name="Rectangle 12">
            <a:extLst>
              <a:ext uri="{FF2B5EF4-FFF2-40B4-BE49-F238E27FC236}">
                <a16:creationId xmlns:a16="http://schemas.microsoft.com/office/drawing/2014/main" id="{DA802665-EDB5-4646-9F8D-A3C91A674CDC}"/>
              </a:ext>
            </a:extLst>
          </p:cNvPr>
          <p:cNvSpPr/>
          <p:nvPr/>
        </p:nvSpPr>
        <p:spPr>
          <a:xfrm>
            <a:off x="6502110" y="4122830"/>
            <a:ext cx="4939348" cy="1727398"/>
          </a:xfrm>
          <a:prstGeom prst="rect">
            <a:avLst/>
          </a:prstGeom>
          <a:solidFill>
            <a:srgbClr val="747480">
              <a:alpha val="21000"/>
            </a:srgbClr>
          </a:solidFill>
          <a:ln w="0" cap="flat">
            <a:noFill/>
            <a:prstDash val="solid"/>
            <a:miter/>
          </a:ln>
        </p:spPr>
        <p:txBody>
          <a:bodyPr lIns="73025" tIns="73025" rIns="73025" bIns="73025" rtlCol="0" anchor="ctr"/>
          <a:lstStyle/>
          <a:p>
            <a:pPr marL="285750" indent="-285750">
              <a:buClr>
                <a:schemeClr val="tx2"/>
              </a:buClr>
              <a:buFont typeface="EYInterstate Light" panose="02000506000000020004" pitchFamily="2" charset="0"/>
              <a:buChar char="•"/>
            </a:pPr>
            <a:endParaRPr lang="de-AT" sz="1400" dirty="0">
              <a:solidFill>
                <a:schemeClr val="bg1"/>
              </a:solidFill>
            </a:endParaRPr>
          </a:p>
          <a:p>
            <a:pPr marL="285750" indent="-285750">
              <a:buClr>
                <a:schemeClr val="tx2"/>
              </a:buClr>
              <a:buFont typeface="EYInterstate Light" panose="02000506000000020004" pitchFamily="2" charset="0"/>
              <a:buChar char="•"/>
            </a:pPr>
            <a:r>
              <a:rPr lang="en-IE" sz="1400">
                <a:solidFill>
                  <a:schemeClr val="bg1"/>
                </a:solidFill>
              </a:rPr>
              <a:t>A</a:t>
            </a:r>
            <a:r>
              <a:rPr lang="en-IE" sz="1400" dirty="0">
                <a:solidFill>
                  <a:schemeClr val="bg1"/>
                </a:solidFill>
              </a:rPr>
              <a:t> tool to execute a legal agreement; the legal agreement exists off-chain</a:t>
            </a:r>
          </a:p>
          <a:p>
            <a:pPr marL="285750" indent="-285750">
              <a:buClr>
                <a:schemeClr val="tx2"/>
              </a:buClr>
              <a:buFont typeface="EYInterstate Light" panose="02000506000000020004" pitchFamily="2" charset="0"/>
              <a:buChar char="•"/>
            </a:pPr>
            <a:endParaRPr lang="de-AT" sz="1400" dirty="0">
              <a:solidFill>
                <a:schemeClr val="bg1"/>
              </a:solidFill>
            </a:endParaRPr>
          </a:p>
        </p:txBody>
      </p:sp>
      <p:sp>
        <p:nvSpPr>
          <p:cNvPr id="10" name="Rectangle 9">
            <a:extLst>
              <a:ext uri="{FF2B5EF4-FFF2-40B4-BE49-F238E27FC236}">
                <a16:creationId xmlns:a16="http://schemas.microsoft.com/office/drawing/2014/main" id="{84A0081E-E7A1-415B-B12C-62109DBEDA52}"/>
              </a:ext>
            </a:extLst>
          </p:cNvPr>
          <p:cNvSpPr/>
          <p:nvPr/>
        </p:nvSpPr>
        <p:spPr>
          <a:xfrm>
            <a:off x="6502110" y="1560517"/>
            <a:ext cx="4939348" cy="1727398"/>
          </a:xfrm>
          <a:prstGeom prst="rect">
            <a:avLst/>
          </a:prstGeom>
          <a:solidFill>
            <a:srgbClr val="747480">
              <a:alpha val="21000"/>
            </a:srgbClr>
          </a:solidFill>
          <a:ln w="0" cap="flat">
            <a:noFill/>
            <a:prstDash val="solid"/>
            <a:miter/>
          </a:ln>
        </p:spPr>
        <p:txBody>
          <a:bodyPr lIns="73025" tIns="73025" rIns="73025" bIns="73025" rtlCol="0" anchor="ctr"/>
          <a:lstStyle/>
          <a:p>
            <a:pPr marL="285750" indent="-285750">
              <a:buClr>
                <a:schemeClr val="tx2"/>
              </a:buClr>
              <a:buFont typeface="EYInterstate Light" panose="02000506000000020004" pitchFamily="2" charset="0"/>
              <a:buChar char="•"/>
            </a:pPr>
            <a:endParaRPr lang="de-AT" sz="1400" dirty="0">
              <a:solidFill>
                <a:schemeClr val="bg1"/>
              </a:solidFill>
            </a:endParaRPr>
          </a:p>
          <a:p>
            <a:pPr marL="285750" indent="-285750">
              <a:buClr>
                <a:schemeClr val="tx2"/>
              </a:buClr>
              <a:buFont typeface="EYInterstate Light" panose="02000506000000020004" pitchFamily="2" charset="0"/>
              <a:buChar char="•"/>
            </a:pPr>
            <a:r>
              <a:rPr lang="en-IE" sz="1400" dirty="0">
                <a:solidFill>
                  <a:schemeClr val="bg1"/>
                </a:solidFill>
              </a:rPr>
              <a:t>Mere code and no legal agreement exists </a:t>
            </a:r>
          </a:p>
          <a:p>
            <a:pPr marL="285750" indent="-285750">
              <a:buClr>
                <a:schemeClr val="tx2"/>
              </a:buClr>
              <a:buFont typeface="EYInterstate Light" panose="02000506000000020004" pitchFamily="2" charset="0"/>
              <a:buChar char="•"/>
            </a:pPr>
            <a:endParaRPr lang="de-AT" sz="1400" dirty="0">
              <a:solidFill>
                <a:schemeClr val="bg1"/>
              </a:solidFill>
            </a:endParaRPr>
          </a:p>
        </p:txBody>
      </p:sp>
      <p:sp>
        <p:nvSpPr>
          <p:cNvPr id="16" name="Rectangle 15">
            <a:extLst>
              <a:ext uri="{FF2B5EF4-FFF2-40B4-BE49-F238E27FC236}">
                <a16:creationId xmlns:a16="http://schemas.microsoft.com/office/drawing/2014/main" id="{F00239FF-29ED-4202-8EE8-D04AE9116D4D}"/>
              </a:ext>
            </a:extLst>
          </p:cNvPr>
          <p:cNvSpPr/>
          <p:nvPr/>
        </p:nvSpPr>
        <p:spPr>
          <a:xfrm>
            <a:off x="608012" y="4122830"/>
            <a:ext cx="4939348" cy="1727398"/>
          </a:xfrm>
          <a:prstGeom prst="rect">
            <a:avLst/>
          </a:prstGeom>
          <a:solidFill>
            <a:srgbClr val="747480">
              <a:alpha val="21000"/>
            </a:srgbClr>
          </a:solidFill>
          <a:ln w="0" cap="flat">
            <a:noFill/>
            <a:prstDash val="solid"/>
            <a:miter/>
          </a:ln>
        </p:spPr>
        <p:txBody>
          <a:bodyPr lIns="73025" tIns="73025" rIns="73025" bIns="73025" rtlCol="0" anchor="ctr"/>
          <a:lstStyle/>
          <a:p>
            <a:pPr marL="285750" indent="-285750">
              <a:buClr>
                <a:schemeClr val="tx2"/>
              </a:buClr>
              <a:buFont typeface="EYInterstate Light" panose="02000506000000020004" pitchFamily="2" charset="0"/>
              <a:buChar char="•"/>
            </a:pPr>
            <a:endParaRPr lang="de-AT" sz="1400" dirty="0">
              <a:solidFill>
                <a:schemeClr val="bg1"/>
              </a:solidFill>
            </a:endParaRPr>
          </a:p>
          <a:p>
            <a:pPr marL="285750" indent="-285750">
              <a:buClr>
                <a:schemeClr val="tx2"/>
              </a:buClr>
              <a:buFont typeface="EYInterstate Light" panose="02000506000000020004" pitchFamily="2" charset="0"/>
              <a:buChar char="•"/>
            </a:pPr>
            <a:r>
              <a:rPr lang="en-IE" sz="1400" dirty="0">
                <a:solidFill>
                  <a:schemeClr val="bg1"/>
                </a:solidFill>
              </a:rPr>
              <a:t>Merged with the legal agreement and therefore exists simultaneously both on-chain </a:t>
            </a:r>
            <a:r>
              <a:rPr lang="en-IE" sz="1400">
                <a:solidFill>
                  <a:schemeClr val="bg1"/>
                </a:solidFill>
              </a:rPr>
              <a:t>and off-chain</a:t>
            </a:r>
            <a:endParaRPr lang="en-IE" sz="1400" dirty="0">
              <a:solidFill>
                <a:schemeClr val="bg1"/>
              </a:solidFill>
            </a:endParaRPr>
          </a:p>
          <a:p>
            <a:pPr marL="285750" indent="-285750">
              <a:buClr>
                <a:schemeClr val="tx2"/>
              </a:buClr>
              <a:buFont typeface="EYInterstate Light" panose="02000506000000020004" pitchFamily="2" charset="0"/>
              <a:buChar char="•"/>
            </a:pPr>
            <a:endParaRPr lang="de-AT" sz="1400" dirty="0">
              <a:solidFill>
                <a:schemeClr val="bg1"/>
              </a:solidFill>
            </a:endParaRPr>
          </a:p>
        </p:txBody>
      </p:sp>
      <p:sp>
        <p:nvSpPr>
          <p:cNvPr id="6" name="TextBox 5">
            <a:extLst>
              <a:ext uri="{FF2B5EF4-FFF2-40B4-BE49-F238E27FC236}">
                <a16:creationId xmlns:a16="http://schemas.microsoft.com/office/drawing/2014/main" id="{A677C56F-A341-47C8-B991-9347AB71B9EF}"/>
              </a:ext>
            </a:extLst>
          </p:cNvPr>
          <p:cNvSpPr txBox="1"/>
          <p:nvPr/>
        </p:nvSpPr>
        <p:spPr>
          <a:xfrm>
            <a:off x="6574808" y="3547555"/>
            <a:ext cx="5006320" cy="315635"/>
          </a:xfrm>
          <a:prstGeom prst="rect">
            <a:avLst/>
          </a:prstGeom>
          <a:noFill/>
          <a:ln w="12700" cap="sq">
            <a:noFill/>
            <a:miter lim="800000"/>
          </a:ln>
        </p:spPr>
        <p:txBody>
          <a:bodyPr wrap="square" lIns="61200" tIns="36576"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AT" b="1" i="0" u="none" strike="noStrike" kern="0" cap="none" spc="0" normalizeH="0" baseline="0" noProof="0" dirty="0">
                <a:ln>
                  <a:noFill/>
                </a:ln>
                <a:solidFill>
                  <a:schemeClr val="bg1"/>
                </a:solidFill>
                <a:effectLst/>
                <a:uLnTx/>
                <a:uFillTx/>
              </a:rPr>
              <a:t>OR</a:t>
            </a:r>
            <a:endParaRPr kumimoji="0" lang="de-AT" sz="1400" b="1" i="0" u="none" strike="noStrike" kern="0" cap="none" spc="0" normalizeH="0" baseline="0" noProof="0" dirty="0">
              <a:ln>
                <a:noFill/>
              </a:ln>
              <a:solidFill>
                <a:schemeClr val="bg1"/>
              </a:solidFill>
              <a:effectLst/>
              <a:uLnTx/>
              <a:uFillTx/>
            </a:endParaRPr>
          </a:p>
        </p:txBody>
      </p:sp>
      <p:sp>
        <p:nvSpPr>
          <p:cNvPr id="17" name="TextBox 16">
            <a:extLst>
              <a:ext uri="{FF2B5EF4-FFF2-40B4-BE49-F238E27FC236}">
                <a16:creationId xmlns:a16="http://schemas.microsoft.com/office/drawing/2014/main" id="{AB1736EF-0BEC-4CEC-8044-F6D8F021CB6E}"/>
              </a:ext>
            </a:extLst>
          </p:cNvPr>
          <p:cNvSpPr txBox="1"/>
          <p:nvPr/>
        </p:nvSpPr>
        <p:spPr>
          <a:xfrm>
            <a:off x="617222" y="3520707"/>
            <a:ext cx="5032188" cy="369332"/>
          </a:xfrm>
          <a:prstGeom prst="rect">
            <a:avLst/>
          </a:prstGeom>
          <a:noFill/>
          <a:ln w="12700" cap="sq">
            <a:noFill/>
            <a:miter lim="800000"/>
          </a:ln>
        </p:spPr>
        <p:txBody>
          <a:bodyPr wrap="square">
            <a:spAutoFit/>
          </a:bodyPr>
          <a:lstStyle/>
          <a:p>
            <a:pPr algn="ctr"/>
            <a:r>
              <a:rPr kumimoji="0" lang="de-AT" b="1" i="0" u="none" strike="noStrike" kern="0" cap="none" spc="0" normalizeH="0" baseline="0" noProof="0" dirty="0">
                <a:ln>
                  <a:noFill/>
                </a:ln>
                <a:solidFill>
                  <a:schemeClr val="bg1"/>
                </a:solidFill>
                <a:effectLst/>
                <a:uLnTx/>
                <a:uFillTx/>
              </a:rPr>
              <a:t>OR</a:t>
            </a:r>
            <a:endParaRPr lang="de-AT" dirty="0">
              <a:solidFill>
                <a:schemeClr val="bg1"/>
              </a:solidFill>
            </a:endParaRPr>
          </a:p>
        </p:txBody>
      </p:sp>
      <p:grpSp>
        <p:nvGrpSpPr>
          <p:cNvPr id="26" name="Group 25">
            <a:extLst>
              <a:ext uri="{FF2B5EF4-FFF2-40B4-BE49-F238E27FC236}">
                <a16:creationId xmlns:a16="http://schemas.microsoft.com/office/drawing/2014/main" id="{E4A944CF-7F3A-4719-9E70-7BAF0D34F461}"/>
              </a:ext>
            </a:extLst>
          </p:cNvPr>
          <p:cNvGrpSpPr/>
          <p:nvPr/>
        </p:nvGrpSpPr>
        <p:grpSpPr>
          <a:xfrm>
            <a:off x="608012" y="1142078"/>
            <a:ext cx="5091417" cy="341282"/>
            <a:chOff x="608012" y="1142078"/>
            <a:chExt cx="5091417" cy="341282"/>
          </a:xfrm>
        </p:grpSpPr>
        <p:grpSp>
          <p:nvGrpSpPr>
            <p:cNvPr id="27" name="Group 26">
              <a:extLst>
                <a:ext uri="{FF2B5EF4-FFF2-40B4-BE49-F238E27FC236}">
                  <a16:creationId xmlns:a16="http://schemas.microsoft.com/office/drawing/2014/main" id="{11E8050E-0DC2-47D0-B855-F09D06FB7908}"/>
                </a:ext>
              </a:extLst>
            </p:cNvPr>
            <p:cNvGrpSpPr/>
            <p:nvPr/>
          </p:nvGrpSpPr>
          <p:grpSpPr>
            <a:xfrm>
              <a:off x="5553088" y="1192829"/>
              <a:ext cx="146341" cy="239780"/>
              <a:chOff x="11193475" y="1154420"/>
              <a:chExt cx="146341" cy="239780"/>
            </a:xfrm>
          </p:grpSpPr>
          <p:grpSp>
            <p:nvGrpSpPr>
              <p:cNvPr id="29" name="Group 28">
                <a:extLst>
                  <a:ext uri="{FF2B5EF4-FFF2-40B4-BE49-F238E27FC236}">
                    <a16:creationId xmlns:a16="http://schemas.microsoft.com/office/drawing/2014/main" id="{542BA662-452D-4483-AFE5-42D6076253AD}"/>
                  </a:ext>
                </a:extLst>
              </p:cNvPr>
              <p:cNvGrpSpPr/>
              <p:nvPr/>
            </p:nvGrpSpPr>
            <p:grpSpPr>
              <a:xfrm rot="10800000">
                <a:off x="11193475" y="1186122"/>
                <a:ext cx="40849" cy="208078"/>
                <a:chOff x="906170" y="2076504"/>
                <a:chExt cx="79774" cy="406348"/>
              </a:xfrm>
              <a:solidFill>
                <a:srgbClr val="747480"/>
              </a:solidFill>
            </p:grpSpPr>
            <p:sp>
              <p:nvSpPr>
                <p:cNvPr id="40" name="Rectangle 39">
                  <a:extLst>
                    <a:ext uri="{FF2B5EF4-FFF2-40B4-BE49-F238E27FC236}">
                      <a16:creationId xmlns:a16="http://schemas.microsoft.com/office/drawing/2014/main" id="{58280124-B649-4940-9E28-8C7FA9D6AA6C}"/>
                    </a:ext>
                  </a:extLst>
                </p:cNvPr>
                <p:cNvSpPr/>
                <p:nvPr/>
              </p:nvSpPr>
              <p:spPr bwMode="gray">
                <a:xfrm>
                  <a:off x="906170" y="2076504"/>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sp>
              <p:nvSpPr>
                <p:cNvPr id="41" name="Rectangle 40">
                  <a:extLst>
                    <a:ext uri="{FF2B5EF4-FFF2-40B4-BE49-F238E27FC236}">
                      <a16:creationId xmlns:a16="http://schemas.microsoft.com/office/drawing/2014/main" id="{E910149D-86B6-4CFC-8DAB-7410B28C726F}"/>
                    </a:ext>
                  </a:extLst>
                </p:cNvPr>
                <p:cNvSpPr/>
                <p:nvPr/>
              </p:nvSpPr>
              <p:spPr bwMode="gray">
                <a:xfrm>
                  <a:off x="906170" y="2242977"/>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sp>
              <p:nvSpPr>
                <p:cNvPr id="42" name="Rectangle 41">
                  <a:extLst>
                    <a:ext uri="{FF2B5EF4-FFF2-40B4-BE49-F238E27FC236}">
                      <a16:creationId xmlns:a16="http://schemas.microsoft.com/office/drawing/2014/main" id="{6E001E0A-08FD-4397-86B2-EEFEEF552D83}"/>
                    </a:ext>
                  </a:extLst>
                </p:cNvPr>
                <p:cNvSpPr/>
                <p:nvPr/>
              </p:nvSpPr>
              <p:spPr bwMode="gray">
                <a:xfrm>
                  <a:off x="906170" y="2409451"/>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grpSp>
          <p:cxnSp>
            <p:nvCxnSpPr>
              <p:cNvPr id="30" name="Straight Connector 29">
                <a:extLst>
                  <a:ext uri="{FF2B5EF4-FFF2-40B4-BE49-F238E27FC236}">
                    <a16:creationId xmlns:a16="http://schemas.microsoft.com/office/drawing/2014/main" id="{C4317D39-B07F-4844-B541-FB75004351FD}"/>
                  </a:ext>
                </a:extLst>
              </p:cNvPr>
              <p:cNvCxnSpPr>
                <a:stCxn id="42" idx="1"/>
              </p:cNvCxnSpPr>
              <p:nvPr/>
            </p:nvCxnSpPr>
            <p:spPr>
              <a:xfrm rot="5400000" flipH="1" flipV="1">
                <a:off x="11255704" y="1182710"/>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DB96979-250B-4BE6-A573-0FA2F1D3F2AE}"/>
                  </a:ext>
                </a:extLst>
              </p:cNvPr>
              <p:cNvCxnSpPr/>
              <p:nvPr/>
            </p:nvCxnSpPr>
            <p:spPr>
              <a:xfrm rot="5400000" flipH="1" flipV="1">
                <a:off x="11276329" y="1179809"/>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2A8F3FA7-F2FF-4FF6-A02F-7FBC81B1C358}"/>
                  </a:ext>
                </a:extLst>
              </p:cNvPr>
              <p:cNvSpPr/>
              <p:nvPr/>
            </p:nvSpPr>
            <p:spPr bwMode="gray">
              <a:xfrm rot="5400000">
                <a:off x="11300608" y="115442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cxnSp>
            <p:nvCxnSpPr>
              <p:cNvPr id="33" name="Straight Connector 32">
                <a:extLst>
                  <a:ext uri="{FF2B5EF4-FFF2-40B4-BE49-F238E27FC236}">
                    <a16:creationId xmlns:a16="http://schemas.microsoft.com/office/drawing/2014/main" id="{10CB0EF9-9F73-4FC7-B36B-ADA83A1D90C0}"/>
                  </a:ext>
                </a:extLst>
              </p:cNvPr>
              <p:cNvCxnSpPr/>
              <p:nvPr/>
            </p:nvCxnSpPr>
            <p:spPr>
              <a:xfrm rot="5400000" flipV="1">
                <a:off x="11248686" y="1278102"/>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37F4D7C-F804-4ACF-80E8-7B45911BAED7}"/>
                  </a:ext>
                </a:extLst>
              </p:cNvPr>
              <p:cNvCxnSpPr/>
              <p:nvPr/>
            </p:nvCxnSpPr>
            <p:spPr>
              <a:xfrm rot="5400000" flipV="1">
                <a:off x="11260728" y="1291744"/>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62E70F9-600B-4D09-B7D5-0EC065276E8F}"/>
                  </a:ext>
                </a:extLst>
              </p:cNvPr>
              <p:cNvCxnSpPr/>
              <p:nvPr/>
            </p:nvCxnSpPr>
            <p:spPr>
              <a:xfrm rot="5400000" flipV="1">
                <a:off x="11312080" y="1289691"/>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09166141-AB3E-4D5B-AA68-2BBF16A645CC}"/>
                  </a:ext>
                </a:extLst>
              </p:cNvPr>
              <p:cNvSpPr/>
              <p:nvPr/>
            </p:nvSpPr>
            <p:spPr bwMode="gray">
              <a:xfrm rot="5400000">
                <a:off x="11312312" y="130309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grpSp>
            <p:nvGrpSpPr>
              <p:cNvPr id="37" name="Group 36">
                <a:extLst>
                  <a:ext uri="{FF2B5EF4-FFF2-40B4-BE49-F238E27FC236}">
                    <a16:creationId xmlns:a16="http://schemas.microsoft.com/office/drawing/2014/main" id="{9BEED8F4-7043-47D2-8661-FDB7E744E4BD}"/>
                  </a:ext>
                </a:extLst>
              </p:cNvPr>
              <p:cNvGrpSpPr/>
              <p:nvPr/>
            </p:nvGrpSpPr>
            <p:grpSpPr>
              <a:xfrm rot="10800000">
                <a:off x="11234325" y="1361994"/>
                <a:ext cx="105491" cy="26825"/>
                <a:chOff x="1476522" y="2083779"/>
                <a:chExt cx="206012" cy="52386"/>
              </a:xfrm>
            </p:grpSpPr>
            <p:cxnSp>
              <p:nvCxnSpPr>
                <p:cNvPr id="38" name="Straight Connector 37">
                  <a:extLst>
                    <a:ext uri="{FF2B5EF4-FFF2-40B4-BE49-F238E27FC236}">
                      <a16:creationId xmlns:a16="http://schemas.microsoft.com/office/drawing/2014/main" id="{06B7BD1A-DB5D-4B9D-8BA1-AA03BC8F9A38}"/>
                    </a:ext>
                  </a:extLst>
                </p:cNvPr>
                <p:cNvCxnSpPr>
                  <a:stCxn id="40" idx="1"/>
                  <a:endCxn id="39"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C8CC50D9-776A-4AA3-8F74-18B2AD017CB7}"/>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grpSp>
        </p:grpSp>
        <p:sp>
          <p:nvSpPr>
            <p:cNvPr id="28" name="Rectangle 27">
              <a:extLst>
                <a:ext uri="{FF2B5EF4-FFF2-40B4-BE49-F238E27FC236}">
                  <a16:creationId xmlns:a16="http://schemas.microsoft.com/office/drawing/2014/main" id="{590455F3-6695-49B6-B5F6-BAEB32DB922E}"/>
                </a:ext>
              </a:extLst>
            </p:cNvPr>
            <p:cNvSpPr/>
            <p:nvPr/>
          </p:nvSpPr>
          <p:spPr>
            <a:xfrm>
              <a:off x="608012" y="1142078"/>
              <a:ext cx="4947921" cy="341282"/>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AT" sz="1600" b="1" i="0" u="none" strike="noStrike" kern="0" cap="none" spc="0" normalizeH="0" baseline="0" noProof="0" dirty="0">
                  <a:ln>
                    <a:noFill/>
                  </a:ln>
                  <a:solidFill>
                    <a:srgbClr val="2E2E38"/>
                  </a:solidFill>
                  <a:effectLst/>
                  <a:uLnTx/>
                  <a:uFillTx/>
                </a:rPr>
                <a:t>Smart Legal Contract</a:t>
              </a:r>
            </a:p>
          </p:txBody>
        </p:sp>
      </p:grpSp>
      <p:grpSp>
        <p:nvGrpSpPr>
          <p:cNvPr id="43" name="Group 42">
            <a:extLst>
              <a:ext uri="{FF2B5EF4-FFF2-40B4-BE49-F238E27FC236}">
                <a16:creationId xmlns:a16="http://schemas.microsoft.com/office/drawing/2014/main" id="{1CD41B1A-B334-40FC-8D73-3FC6D6A4801B}"/>
              </a:ext>
            </a:extLst>
          </p:cNvPr>
          <p:cNvGrpSpPr/>
          <p:nvPr/>
        </p:nvGrpSpPr>
        <p:grpSpPr>
          <a:xfrm>
            <a:off x="6502110" y="1142078"/>
            <a:ext cx="5091417" cy="341282"/>
            <a:chOff x="608012" y="1142078"/>
            <a:chExt cx="5091417" cy="341282"/>
          </a:xfrm>
        </p:grpSpPr>
        <p:grpSp>
          <p:nvGrpSpPr>
            <p:cNvPr id="44" name="Group 43">
              <a:extLst>
                <a:ext uri="{FF2B5EF4-FFF2-40B4-BE49-F238E27FC236}">
                  <a16:creationId xmlns:a16="http://schemas.microsoft.com/office/drawing/2014/main" id="{D9335E5B-6E63-4383-9BA2-B07CFFBDD30F}"/>
                </a:ext>
              </a:extLst>
            </p:cNvPr>
            <p:cNvGrpSpPr/>
            <p:nvPr/>
          </p:nvGrpSpPr>
          <p:grpSpPr>
            <a:xfrm>
              <a:off x="5553088" y="1192829"/>
              <a:ext cx="146341" cy="239780"/>
              <a:chOff x="11193475" y="1154420"/>
              <a:chExt cx="146341" cy="239780"/>
            </a:xfrm>
          </p:grpSpPr>
          <p:grpSp>
            <p:nvGrpSpPr>
              <p:cNvPr id="46" name="Group 45">
                <a:extLst>
                  <a:ext uri="{FF2B5EF4-FFF2-40B4-BE49-F238E27FC236}">
                    <a16:creationId xmlns:a16="http://schemas.microsoft.com/office/drawing/2014/main" id="{B3453965-FBA7-4985-A5A1-48130DAC4CFE}"/>
                  </a:ext>
                </a:extLst>
              </p:cNvPr>
              <p:cNvGrpSpPr/>
              <p:nvPr/>
            </p:nvGrpSpPr>
            <p:grpSpPr>
              <a:xfrm rot="10800000">
                <a:off x="11193475" y="1186122"/>
                <a:ext cx="40849" cy="208078"/>
                <a:chOff x="906170" y="2076504"/>
                <a:chExt cx="79774" cy="406348"/>
              </a:xfrm>
              <a:solidFill>
                <a:srgbClr val="747480"/>
              </a:solidFill>
            </p:grpSpPr>
            <p:sp>
              <p:nvSpPr>
                <p:cNvPr id="57" name="Rectangle 56">
                  <a:extLst>
                    <a:ext uri="{FF2B5EF4-FFF2-40B4-BE49-F238E27FC236}">
                      <a16:creationId xmlns:a16="http://schemas.microsoft.com/office/drawing/2014/main" id="{5249F679-135B-40E8-A889-C5D5AAD03A75}"/>
                    </a:ext>
                  </a:extLst>
                </p:cNvPr>
                <p:cNvSpPr/>
                <p:nvPr/>
              </p:nvSpPr>
              <p:spPr bwMode="gray">
                <a:xfrm>
                  <a:off x="906170" y="2076504"/>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sp>
              <p:nvSpPr>
                <p:cNvPr id="58" name="Rectangle 57">
                  <a:extLst>
                    <a:ext uri="{FF2B5EF4-FFF2-40B4-BE49-F238E27FC236}">
                      <a16:creationId xmlns:a16="http://schemas.microsoft.com/office/drawing/2014/main" id="{78BCD56A-0054-4A67-9B57-41A6E80D6B00}"/>
                    </a:ext>
                  </a:extLst>
                </p:cNvPr>
                <p:cNvSpPr/>
                <p:nvPr/>
              </p:nvSpPr>
              <p:spPr bwMode="gray">
                <a:xfrm>
                  <a:off x="906170" y="2242977"/>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sp>
              <p:nvSpPr>
                <p:cNvPr id="59" name="Rectangle 58">
                  <a:extLst>
                    <a:ext uri="{FF2B5EF4-FFF2-40B4-BE49-F238E27FC236}">
                      <a16:creationId xmlns:a16="http://schemas.microsoft.com/office/drawing/2014/main" id="{6CD62699-BC79-4214-90C7-2188E35DCC93}"/>
                    </a:ext>
                  </a:extLst>
                </p:cNvPr>
                <p:cNvSpPr/>
                <p:nvPr/>
              </p:nvSpPr>
              <p:spPr bwMode="gray">
                <a:xfrm>
                  <a:off x="906170" y="2409451"/>
                  <a:ext cx="79774" cy="73401"/>
                </a:xfrm>
                <a:prstGeom prst="rect">
                  <a:avLst/>
                </a:prstGeom>
                <a:grpFill/>
                <a:ln w="0" algn="ctr">
                  <a:noFill/>
                  <a:miter lim="800000"/>
                  <a:headEnd/>
                  <a:tailEnd/>
                </a:ln>
                <a:extLst>
                  <a:ext uri="{91240B29-F687-4F45-9708-019B960494DF}">
                    <a14:hiddenLine xmlns:a14="http://schemas.microsoft.com/office/drawing/2010/main" w="0" algn="ctr">
                      <a:solidFill>
                        <a:schemeClr val="tx1"/>
                      </a:solidFill>
                      <a:miter lim="800000"/>
                      <a:headEnd/>
                      <a:tailEnd/>
                    </a14:hiddenLine>
                  </a:ext>
                </a:extLst>
              </p:spPr>
              <p:txBody>
                <a:bodyPr wrap="square" lIns="80646" tIns="80646" rIns="80646" bIns="80646" rtlCol="0" anchor="ctr"/>
                <a:lstStyle/>
                <a:p>
                  <a:pPr algn="ctr" defTabSz="714403">
                    <a:lnSpc>
                      <a:spcPct val="106000"/>
                    </a:lnSpc>
                  </a:pPr>
                  <a:endParaRPr lang="en-GB" sz="1600" b="1" dirty="0">
                    <a:solidFill>
                      <a:srgbClr val="2E2E38"/>
                    </a:solidFill>
                  </a:endParaRPr>
                </a:p>
              </p:txBody>
            </p:sp>
          </p:grpSp>
          <p:cxnSp>
            <p:nvCxnSpPr>
              <p:cNvPr id="47" name="Straight Connector 46">
                <a:extLst>
                  <a:ext uri="{FF2B5EF4-FFF2-40B4-BE49-F238E27FC236}">
                    <a16:creationId xmlns:a16="http://schemas.microsoft.com/office/drawing/2014/main" id="{5D397020-0101-46B6-9816-8D18EA222759}"/>
                  </a:ext>
                </a:extLst>
              </p:cNvPr>
              <p:cNvCxnSpPr>
                <a:stCxn id="59" idx="1"/>
              </p:cNvCxnSpPr>
              <p:nvPr/>
            </p:nvCxnSpPr>
            <p:spPr>
              <a:xfrm rot="5400000" flipH="1" flipV="1">
                <a:off x="11255704" y="1182710"/>
                <a:ext cx="828" cy="43586"/>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BFC3E8C-8504-4139-9909-8FC80DBEAB30}"/>
                  </a:ext>
                </a:extLst>
              </p:cNvPr>
              <p:cNvCxnSpPr/>
              <p:nvPr/>
            </p:nvCxnSpPr>
            <p:spPr>
              <a:xfrm rot="5400000" flipH="1" flipV="1">
                <a:off x="11276329" y="1179809"/>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AC760EE4-C53C-4BC2-A5FB-B7A129A6A6D3}"/>
                  </a:ext>
                </a:extLst>
              </p:cNvPr>
              <p:cNvSpPr/>
              <p:nvPr/>
            </p:nvSpPr>
            <p:spPr bwMode="gray">
              <a:xfrm rot="5400000">
                <a:off x="11300608" y="1154420"/>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cxnSp>
            <p:nvCxnSpPr>
              <p:cNvPr id="50" name="Straight Connector 49">
                <a:extLst>
                  <a:ext uri="{FF2B5EF4-FFF2-40B4-BE49-F238E27FC236}">
                    <a16:creationId xmlns:a16="http://schemas.microsoft.com/office/drawing/2014/main" id="{C77F2D4F-D52B-4102-829C-7ADB37B7C909}"/>
                  </a:ext>
                </a:extLst>
              </p:cNvPr>
              <p:cNvCxnSpPr/>
              <p:nvPr/>
            </p:nvCxnSpPr>
            <p:spPr>
              <a:xfrm rot="5400000" flipV="1">
                <a:off x="11248686" y="1278102"/>
                <a:ext cx="0" cy="2872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68B958B-4C57-4C0F-A5FB-B27C2AF55E11}"/>
                  </a:ext>
                </a:extLst>
              </p:cNvPr>
              <p:cNvCxnSpPr/>
              <p:nvPr/>
            </p:nvCxnSpPr>
            <p:spPr>
              <a:xfrm rot="5400000" flipV="1">
                <a:off x="11260728" y="1291744"/>
                <a:ext cx="25860" cy="22697"/>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F39B7A4-3C24-40D6-B2D1-DBE1FB4CF7CE}"/>
                  </a:ext>
                </a:extLst>
              </p:cNvPr>
              <p:cNvCxnSpPr/>
              <p:nvPr/>
            </p:nvCxnSpPr>
            <p:spPr>
              <a:xfrm rot="5400000" flipV="1">
                <a:off x="11312080" y="1289691"/>
                <a:ext cx="0" cy="52661"/>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EC3BAC79-C2CA-4468-98B5-F5FE5929B1C9}"/>
                  </a:ext>
                </a:extLst>
              </p:cNvPr>
              <p:cNvSpPr/>
              <p:nvPr/>
            </p:nvSpPr>
            <p:spPr bwMode="gray">
              <a:xfrm rot="5400000">
                <a:off x="11312312" y="1303091"/>
                <a:ext cx="26825" cy="26825"/>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grpSp>
            <p:nvGrpSpPr>
              <p:cNvPr id="54" name="Group 53">
                <a:extLst>
                  <a:ext uri="{FF2B5EF4-FFF2-40B4-BE49-F238E27FC236}">
                    <a16:creationId xmlns:a16="http://schemas.microsoft.com/office/drawing/2014/main" id="{D0930D47-D813-440D-A878-A0FD73061341}"/>
                  </a:ext>
                </a:extLst>
              </p:cNvPr>
              <p:cNvGrpSpPr/>
              <p:nvPr/>
            </p:nvGrpSpPr>
            <p:grpSpPr>
              <a:xfrm rot="10800000">
                <a:off x="11234325" y="1361994"/>
                <a:ext cx="105491" cy="26825"/>
                <a:chOff x="1476522" y="2083779"/>
                <a:chExt cx="206012" cy="52386"/>
              </a:xfrm>
            </p:grpSpPr>
            <p:cxnSp>
              <p:nvCxnSpPr>
                <p:cNvPr id="55" name="Straight Connector 54">
                  <a:extLst>
                    <a:ext uri="{FF2B5EF4-FFF2-40B4-BE49-F238E27FC236}">
                      <a16:creationId xmlns:a16="http://schemas.microsoft.com/office/drawing/2014/main" id="{D9446C48-7CC1-4DBF-85C6-EE18AEB7A8E0}"/>
                    </a:ext>
                  </a:extLst>
                </p:cNvPr>
                <p:cNvCxnSpPr>
                  <a:stCxn id="57" idx="1"/>
                  <a:endCxn id="56" idx="6"/>
                </p:cNvCxnSpPr>
                <p:nvPr/>
              </p:nvCxnSpPr>
              <p:spPr>
                <a:xfrm rot="16200000" flipV="1">
                  <a:off x="1605721" y="2033160"/>
                  <a:ext cx="0" cy="153624"/>
                </a:xfrm>
                <a:prstGeom prst="line">
                  <a:avLst/>
                </a:prstGeom>
                <a:ln w="3175">
                  <a:solidFill>
                    <a:srgbClr val="747480"/>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E568E66B-E3F1-4FAB-9A34-44138F78B825}"/>
                    </a:ext>
                  </a:extLst>
                </p:cNvPr>
                <p:cNvSpPr/>
                <p:nvPr/>
              </p:nvSpPr>
              <p:spPr bwMode="gray">
                <a:xfrm>
                  <a:off x="1476522" y="2083779"/>
                  <a:ext cx="52386" cy="52386"/>
                </a:xfrm>
                <a:prstGeom prst="ellipse">
                  <a:avLst/>
                </a:prstGeom>
                <a:solidFill>
                  <a:schemeClr val="bg1"/>
                </a:solidFill>
                <a:ln w="3175" algn="ctr">
                  <a:solidFill>
                    <a:srgbClr val="747480"/>
                  </a:solidFill>
                  <a:miter lim="800000"/>
                  <a:headEnd/>
                  <a:tailEnd/>
                </a:ln>
              </p:spPr>
              <p:txBody>
                <a:bodyPr wrap="square" lIns="80646" tIns="80646" rIns="80646" bIns="80646" rtlCol="0" anchor="ctr"/>
                <a:lstStyle/>
                <a:p>
                  <a:pPr algn="ctr" defTabSz="714403">
                    <a:lnSpc>
                      <a:spcPct val="106000"/>
                    </a:lnSpc>
                  </a:pPr>
                  <a:endParaRPr lang="en-GB" sz="1600" b="1" dirty="0">
                    <a:solidFill>
                      <a:prstClr val="white"/>
                    </a:solidFill>
                  </a:endParaRPr>
                </a:p>
              </p:txBody>
            </p:sp>
          </p:grpSp>
        </p:grpSp>
        <p:sp>
          <p:nvSpPr>
            <p:cNvPr id="45" name="Rectangle 44">
              <a:extLst>
                <a:ext uri="{FF2B5EF4-FFF2-40B4-BE49-F238E27FC236}">
                  <a16:creationId xmlns:a16="http://schemas.microsoft.com/office/drawing/2014/main" id="{13A37AA6-3A4F-446F-89DD-CD7F15B82AC8}"/>
                </a:ext>
              </a:extLst>
            </p:cNvPr>
            <p:cNvSpPr/>
            <p:nvPr/>
          </p:nvSpPr>
          <p:spPr>
            <a:xfrm>
              <a:off x="608012" y="1142078"/>
              <a:ext cx="4947921" cy="341282"/>
            </a:xfrm>
            <a:prstGeom prst="rect">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AT" sz="1600" b="1" i="0" u="none" strike="noStrike" kern="0" cap="none" spc="0" normalizeH="0" baseline="0" noProof="0" dirty="0">
                  <a:ln>
                    <a:noFill/>
                  </a:ln>
                  <a:solidFill>
                    <a:srgbClr val="2E2E38"/>
                  </a:solidFill>
                  <a:effectLst/>
                  <a:uLnTx/>
                  <a:uFillTx/>
                </a:rPr>
                <a:t>Transacting Smart Contracts</a:t>
              </a:r>
            </a:p>
          </p:txBody>
        </p:sp>
      </p:grpSp>
    </p:spTree>
    <p:extLst>
      <p:ext uri="{BB962C8B-B14F-4D97-AF65-F5344CB8AC3E}">
        <p14:creationId xmlns:p14="http://schemas.microsoft.com/office/powerpoint/2010/main" val="4271294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Xx0wAZ3DzpjyteibOxg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16x9_2019.pptx" id="{8880E63F-2DF8-4F33-8F47-72573E172C16}" vid="{495F3D27-BD37-42F3-A0F4-DCBDA05E00C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0c908b1-f277-4340-90a9-4611d0b0f078" xsi:nil="true"/>
    <ChatLookup xmlns="5619724f-5f93-477b-859b-aed7ddde4803">40270</ChatLookup>
    <UserType xmlns="5619724f-5f93-477b-859b-aed7ddde4803" xsi:nil="true"/>
    <lcf76f155ced4ddcb4097134ff3c332f xmlns="5619724f-5f93-477b-859b-aed7ddde4803">
      <Terms xmlns="http://schemas.microsoft.com/office/infopath/2007/PartnerControls"/>
    </lcf76f155ced4ddcb4097134ff3c332f>
    <RequestListName xmlns="b7a206ae-3a38-4e75-b2fd-86bae59e1962">Orders</RequestListName>
    <SendNotification xmlns="5619724f-5f93-477b-859b-aed7ddde4803">false</SendNotification>
    <Periodfrom xmlns="5619724f-5f93-477b-859b-aed7ddde4803" xsi:nil="true"/>
    <Perioduntil xmlns="5619724f-5f93-477b-859b-aed7ddde4803" xsi:nil="true"/>
    <Status xmlns="5619724f-5f93-477b-859b-aed7ddde4803" xsi:nil="true"/>
    <ChooseDocumentType xmlns="5619724f-5f93-477b-859b-aed7ddde4803" xsi:nil="true"/>
    <UniqueColumn xmlns="b7a206ae-3a38-4e75-b2fd-86bae59e1962" xsi:nil="true"/>
  </documentManagement>
</p:properties>
</file>

<file path=customXml/item2.xml><?xml version="1.0" encoding="utf-8"?>
<DcR_SlideID>160fa9cc-2f42-4763-b6d2-6b6c3601ed47</DcR_SlideID>
</file>

<file path=customXml/item3.xml><?xml version="1.0" encoding="utf-8"?>
<ct:contentTypeSchema xmlns:ct="http://schemas.microsoft.com/office/2006/metadata/contentType" xmlns:ma="http://schemas.microsoft.com/office/2006/metadata/properties/metaAttributes" ct:_="" ma:_="" ma:contentTypeName="Document" ma:contentTypeID="0x0101007C8F5A71504BB54DB49208686A10DBD3" ma:contentTypeVersion="32" ma:contentTypeDescription="Create a new document." ma:contentTypeScope="" ma:versionID="a850717de20a0c500bdc28ea9c4d542c">
  <xsd:schema xmlns:xsd="http://www.w3.org/2001/XMLSchema" xmlns:xs="http://www.w3.org/2001/XMLSchema" xmlns:p="http://schemas.microsoft.com/office/2006/metadata/properties" xmlns:ns2="5619724f-5f93-477b-859b-aed7ddde4803" xmlns:ns3="b7a206ae-3a38-4e75-b2fd-86bae59e1962" xmlns:ns4="50c908b1-f277-4340-90a9-4611d0b0f078" targetNamespace="http://schemas.microsoft.com/office/2006/metadata/properties" ma:root="true" ma:fieldsID="78fa935046517b145515e50a6a2ffbf4" ns2:_="" ns3:_="" ns4:_="">
    <xsd:import namespace="5619724f-5f93-477b-859b-aed7ddde4803"/>
    <xsd:import namespace="b7a206ae-3a38-4e75-b2fd-86bae59e1962"/>
    <xsd:import namespace="50c908b1-f277-4340-90a9-4611d0b0f078"/>
    <xsd:element name="properties">
      <xsd:complexType>
        <xsd:sequence>
          <xsd:element name="documentManagement">
            <xsd:complexType>
              <xsd:all>
                <xsd:element ref="ns2:ChatLookup" minOccurs="0"/>
                <xsd:element ref="ns2:SendNotification" minOccurs="0"/>
                <xsd:element ref="ns2:UserType" minOccurs="0"/>
                <xsd:element ref="ns2:Status" minOccurs="0"/>
                <xsd:element ref="ns2:ChooseDocumentType" minOccurs="0"/>
                <xsd:element ref="ns2:Periodfrom" minOccurs="0"/>
                <xsd:element ref="ns2:Perioduntil" minOccurs="0"/>
                <xsd:element ref="ns3:RequestListName" minOccurs="0"/>
                <xsd:element ref="ns3:UniqueColumn" minOccurs="0"/>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19724f-5f93-477b-859b-aed7ddde4803" elementFormDefault="qualified">
    <xsd:import namespace="http://schemas.microsoft.com/office/2006/documentManagement/types"/>
    <xsd:import namespace="http://schemas.microsoft.com/office/infopath/2007/PartnerControls"/>
    <xsd:element name="ChatLookup" ma:index="2" nillable="true" ma:displayName="ChatLookup" ma:list="{e17e5c28-f7e3-4f4d-85a8-98f9134c9570}" ma:internalName="ChatLookup" ma:readOnly="false" ma:showField="ID">
      <xsd:simpleType>
        <xsd:restriction base="dms:Lookup"/>
      </xsd:simpleType>
    </xsd:element>
    <xsd:element name="SendNotification" ma:index="3" nillable="true" ma:displayName="SendNotification" ma:default="0" ma:internalName="SendNotification" ma:readOnly="false">
      <xsd:simpleType>
        <xsd:restriction base="dms:Boolean"/>
      </xsd:simpleType>
    </xsd:element>
    <xsd:element name="UserType" ma:index="4" nillable="true" ma:displayName="UserType" ma:format="Dropdown" ma:internalName="UserType" ma:readOnly="false">
      <xsd:simpleType>
        <xsd:restriction base="dms:Choice">
          <xsd:enumeration value="Admin"/>
          <xsd:enumeration value="GDS"/>
          <xsd:enumeration value="Client"/>
        </xsd:restriction>
      </xsd:simpleType>
    </xsd:element>
    <xsd:element name="Status" ma:index="5" nillable="true" ma:displayName="Status" ma:description="Required in EMSChatUploads, hence to maintain consistency for easy list loading" ma:format="Dropdown" ma:internalName="Status" ma:readOnly="false">
      <xsd:simpleType>
        <xsd:restriction base="dms:Choice">
          <xsd:enumeration value="Enter Choice #1"/>
        </xsd:restriction>
      </xsd:simpleType>
    </xsd:element>
    <xsd:element name="ChooseDocumentType" ma:index="6" nillable="true" ma:displayName="Choose document type" ma:description="Required in EMSChatUploads, hence to maintain consistency for easy list loading" ma:format="Dropdown" ma:internalName="ChooseDocumentType" ma:readOnly="false">
      <xsd:simpleType>
        <xsd:restriction base="dms:Choice">
          <xsd:enumeration value="Enter Choice #1"/>
        </xsd:restriction>
      </xsd:simpleType>
    </xsd:element>
    <xsd:element name="Periodfrom" ma:index="7" nillable="true" ma:displayName="Period (from)" ma:description="Required in EMSChatUploads, hence to maintain consistency for easy list loading" ma:format="DateOnly" ma:internalName="Periodfrom" ma:readOnly="false">
      <xsd:simpleType>
        <xsd:restriction base="dms:DateTime"/>
      </xsd:simpleType>
    </xsd:element>
    <xsd:element name="Perioduntil" ma:index="8" nillable="true" ma:displayName="Period (until)" ma:description="Required in EMSChatUploads, hence to maintain consistency for easy list loading" ma:format="DateOnly" ma:internalName="Perioduntil" ma:readOnly="false">
      <xsd:simpleType>
        <xsd:restriction base="dms:DateTime"/>
      </xsd:simpleType>
    </xsd:element>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DateTaken" ma:index="19" nillable="true" ma:displayName="MediaServiceDateTaken" ma:hidden="true" ma:internalName="MediaServiceDateTaken" ma:readOnly="true">
      <xsd:simpleType>
        <xsd:restriction base="dms:Text"/>
      </xsd:simpleType>
    </xsd:element>
    <xsd:element name="MediaServiceAutoTags" ma:index="20" nillable="true" ma:displayName="Tags" ma:internalName="MediaServiceAutoTag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element name="MediaLengthInSeconds" ma:index="26" nillable="true" ma:displayName="Length (seconds)" ma:internalName="MediaLengthInSeconds" ma:readOnly="true">
      <xsd:simpleType>
        <xsd:restriction base="dms:Unknown"/>
      </xsd:simpleType>
    </xsd:element>
    <xsd:element name="MediaServiceLocation" ma:index="27" nillable="true" ma:displayName="Location" ma:internalName="MediaServiceLocation" ma:readOnly="true">
      <xsd:simpleType>
        <xsd:restriction base="dms:Text"/>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7a206ae-3a38-4e75-b2fd-86bae59e1962" elementFormDefault="qualified">
    <xsd:import namespace="http://schemas.microsoft.com/office/2006/documentManagement/types"/>
    <xsd:import namespace="http://schemas.microsoft.com/office/infopath/2007/PartnerControls"/>
    <xsd:element name="RequestListName" ma:index="15" nillable="true" ma:displayName="RequestListName" ma:indexed="true" ma:internalName="RequestListName" ma:readOnly="false">
      <xsd:simpleType>
        <xsd:restriction base="dms:Text">
          <xsd:maxLength value="255"/>
        </xsd:restriction>
      </xsd:simpleType>
    </xsd:element>
    <xsd:element name="UniqueColumn" ma:index="16" nillable="true" ma:displayName="UniqueColumn" ma:indexed="true" ma:internalName="UniqueColum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30" nillable="true" ma:displayName="Taxonomy Catch All Column" ma:hidden="true" ma:list="{c4dd0810-8159-4965-9af5-156ed0d5f51f}" ma:internalName="TaxCatchAll" ma:showField="CatchAllData" ma:web="b7a206ae-3a38-4e75-b2fd-86bae59e19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EEBDBC-793A-4457-91A0-6A0FC47E469A}">
  <ds:schemaRefs>
    <ds:schemaRef ds:uri="http://schemas.microsoft.com/office/2006/metadata/properties"/>
    <ds:schemaRef ds:uri="http://schemas.microsoft.com/office/infopath/2007/PartnerControls"/>
    <ds:schemaRef ds:uri="50c908b1-f277-4340-90a9-4611d0b0f078"/>
    <ds:schemaRef ds:uri="5619724f-5f93-477b-859b-aed7ddde4803"/>
    <ds:schemaRef ds:uri="b7a206ae-3a38-4e75-b2fd-86bae59e1962"/>
  </ds:schemaRefs>
</ds:datastoreItem>
</file>

<file path=customXml/itemProps2.xml><?xml version="1.0" encoding="utf-8"?>
<ds:datastoreItem xmlns:ds="http://schemas.openxmlformats.org/officeDocument/2006/customXml" ds:itemID="{53FCC5BE-4D0E-4FAA-AF17-4534DD0A53F5}">
  <ds:schemaRefs/>
</ds:datastoreItem>
</file>

<file path=customXml/itemProps3.xml><?xml version="1.0" encoding="utf-8"?>
<ds:datastoreItem xmlns:ds="http://schemas.openxmlformats.org/officeDocument/2006/customXml" ds:itemID="{41BE4084-4C50-47F4-B8DC-58AB6748A6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19724f-5f93-477b-859b-aed7ddde4803"/>
    <ds:schemaRef ds:uri="b7a206ae-3a38-4e75-b2fd-86bae59e1962"/>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FD82C2D-9825-4AEB-8517-E5D6854E0570}">
  <ds:schemaRefs>
    <ds:schemaRef ds:uri="http://schemas.microsoft.com/sharepoint/v3/contenttype/forms"/>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5608955</vt:lpwstr>
  </property>
  <property fmtid="{D5CDD505-2E9C-101B-9397-08002B2CF9AE}" pid="4" name="OptimizationTime">
    <vt:lpwstr>20221023_2011</vt:lpwstr>
  </property>
</Properties>
</file>

<file path=docProps/app.xml><?xml version="1.0" encoding="utf-8"?>
<Properties xmlns="http://schemas.openxmlformats.org/officeDocument/2006/extended-properties" xmlns:vt="http://schemas.openxmlformats.org/officeDocument/2006/docPropsVTypes">
  <Template>EY_AT_presentation_16x9_2019</Template>
  <TotalTime>0</TotalTime>
  <Words>1336</Words>
  <Application>Microsoft Office PowerPoint</Application>
  <PresentationFormat>Custom</PresentationFormat>
  <Paragraphs>186</Paragraphs>
  <Slides>18</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2-10-23T18:13:00Z</dcterms:created>
  <dcterms:modified xsi:type="dcterms:W3CDTF">2022-10-23T18:13:00Z</dcterms:modified>
  <cp:contentStatus/>
</cp:coreProperties>
</file>